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drawings/drawing2.xml" ContentType="application/vnd.openxmlformats-officedocument.drawingml.chartshape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notesSlides/notesSlide5.xml" ContentType="application/vnd.openxmlformats-officedocument.presentationml.notesSlide+xml"/>
  <Override PartName="/ppt/tags/tag2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9" r:id="rId1"/>
  </p:sldMasterIdLst>
  <p:notesMasterIdLst>
    <p:notesMasterId r:id="rId18"/>
  </p:notesMasterIdLst>
  <p:sldIdLst>
    <p:sldId id="257" r:id="rId2"/>
    <p:sldId id="286" r:id="rId3"/>
    <p:sldId id="364" r:id="rId4"/>
    <p:sldId id="365" r:id="rId5"/>
    <p:sldId id="383" r:id="rId6"/>
    <p:sldId id="367" r:id="rId7"/>
    <p:sldId id="351" r:id="rId8"/>
    <p:sldId id="360" r:id="rId9"/>
    <p:sldId id="374" r:id="rId10"/>
    <p:sldId id="376" r:id="rId11"/>
    <p:sldId id="377" r:id="rId12"/>
    <p:sldId id="366" r:id="rId13"/>
    <p:sldId id="378" r:id="rId14"/>
    <p:sldId id="381" r:id="rId15"/>
    <p:sldId id="380" r:id="rId16"/>
    <p:sldId id="275" r:id="rId17"/>
  </p:sldIdLst>
  <p:sldSz cx="9144000" cy="6858000" type="screen4x3"/>
  <p:notesSz cx="6858000" cy="9144000"/>
  <p:defaultTextStyle>
    <a:defPPr>
      <a:defRPr lang="cs-CZ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0000"/>
    <a:srgbClr val="EAEA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879" autoAdjust="0"/>
    <p:restoredTop sz="94660"/>
  </p:normalViewPr>
  <p:slideViewPr>
    <p:cSldViewPr>
      <p:cViewPr>
        <p:scale>
          <a:sx n="80" d="100"/>
          <a:sy n="80" d="100"/>
        </p:scale>
        <p:origin x="-666" y="-7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file:///\\BHDFILE2\users$\vrba\Vrba_dokumenty\Prezentace\FVE\P&#345;ehled%20&#382;&#225;dosti_prosinec2010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aplikace_Microsoft_Excel1.xlsx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List_aplikace_Microsoft_Excel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9860801983300265E-2"/>
          <c:y val="2.5818786486017882E-2"/>
          <c:w val="0.88095794367074687"/>
          <c:h val="0.901256715203687"/>
        </c:manualLayout>
      </c:layout>
      <c:lineChart>
        <c:grouping val="standard"/>
        <c:varyColors val="0"/>
        <c:ser>
          <c:idx val="0"/>
          <c:order val="0"/>
          <c:tx>
            <c:strRef>
              <c:f>Přehled!$L$7</c:f>
              <c:strCache>
                <c:ptCount val="1"/>
                <c:pt idx="0">
                  <c:v>FVE</c:v>
                </c:pt>
              </c:strCache>
            </c:strRef>
          </c:tx>
          <c:spPr>
            <a:ln w="50800">
              <a:solidFill>
                <a:srgbClr val="FFC000"/>
              </a:solidFill>
            </a:ln>
          </c:spPr>
          <c:marker>
            <c:symbol val="none"/>
          </c:marker>
          <c:cat>
            <c:numRef>
              <c:f>Přehled!$K$8:$K$20</c:f>
              <c:numCache>
                <c:formatCode>General</c:formatCode>
                <c:ptCount val="13"/>
                <c:pt idx="0" formatCode="#,##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</c:numCache>
            </c:numRef>
          </c:cat>
          <c:val>
            <c:numRef>
              <c:f>Přehled!$L$8:$L$20</c:f>
              <c:numCache>
                <c:formatCode>#,##0</c:formatCode>
                <c:ptCount val="13"/>
                <c:pt idx="0" formatCode="General">
                  <c:v>465</c:v>
                </c:pt>
                <c:pt idx="1">
                  <c:v>487</c:v>
                </c:pt>
                <c:pt idx="2" formatCode="General">
                  <c:v>489</c:v>
                </c:pt>
                <c:pt idx="3">
                  <c:v>500</c:v>
                </c:pt>
                <c:pt idx="4">
                  <c:v>514.33999999999946</c:v>
                </c:pt>
                <c:pt idx="5">
                  <c:v>544.86668199999758</c:v>
                </c:pt>
                <c:pt idx="6">
                  <c:v>578.76380700000095</c:v>
                </c:pt>
                <c:pt idx="7">
                  <c:v>607.22598199999993</c:v>
                </c:pt>
                <c:pt idx="8">
                  <c:v>696.63290699999698</c:v>
                </c:pt>
                <c:pt idx="9">
                  <c:v>739.9</c:v>
                </c:pt>
                <c:pt idx="10">
                  <c:v>867.43131499999743</c:v>
                </c:pt>
                <c:pt idx="11">
                  <c:v>1136.4749999999999</c:v>
                </c:pt>
                <c:pt idx="12">
                  <c:v>1727.4470000000001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Přehled!$M$7</c:f>
              <c:strCache>
                <c:ptCount val="1"/>
                <c:pt idx="0">
                  <c:v>VtE</c:v>
                </c:pt>
              </c:strCache>
            </c:strRef>
          </c:tx>
          <c:spPr>
            <a:ln w="50800">
              <a:solidFill>
                <a:schemeClr val="accent6"/>
              </a:solidFill>
            </a:ln>
          </c:spPr>
          <c:marker>
            <c:symbol val="none"/>
          </c:marker>
          <c:cat>
            <c:numRef>
              <c:f>Přehled!$K$8:$K$20</c:f>
              <c:numCache>
                <c:formatCode>General</c:formatCode>
                <c:ptCount val="13"/>
                <c:pt idx="0" formatCode="#,##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</c:numCache>
            </c:numRef>
          </c:cat>
          <c:val>
            <c:numRef>
              <c:f>Přehled!$M$8:$M$20</c:f>
              <c:numCache>
                <c:formatCode>#,##0</c:formatCode>
                <c:ptCount val="13"/>
                <c:pt idx="0" formatCode="General">
                  <c:v>193</c:v>
                </c:pt>
                <c:pt idx="1">
                  <c:v>185</c:v>
                </c:pt>
                <c:pt idx="2" formatCode="General">
                  <c:v>185</c:v>
                </c:pt>
                <c:pt idx="3">
                  <c:v>186</c:v>
                </c:pt>
                <c:pt idx="4">
                  <c:v>186.1</c:v>
                </c:pt>
                <c:pt idx="5">
                  <c:v>186.10850000000002</c:v>
                </c:pt>
                <c:pt idx="6">
                  <c:v>186.10850000000002</c:v>
                </c:pt>
                <c:pt idx="7">
                  <c:v>191.9</c:v>
                </c:pt>
                <c:pt idx="8">
                  <c:v>192.2585</c:v>
                </c:pt>
                <c:pt idx="9">
                  <c:v>197.05850000000004</c:v>
                </c:pt>
                <c:pt idx="10">
                  <c:v>197.1585</c:v>
                </c:pt>
                <c:pt idx="11">
                  <c:v>195.2</c:v>
                </c:pt>
                <c:pt idx="12">
                  <c:v>21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5139072"/>
        <c:axId val="65140608"/>
      </c:lineChart>
      <c:catAx>
        <c:axId val="65139072"/>
        <c:scaling>
          <c:orientation val="minMax"/>
        </c:scaling>
        <c:delete val="0"/>
        <c:axPos val="b"/>
        <c:numFmt formatCode="#,##0" sourceLinked="1"/>
        <c:majorTickMark val="none"/>
        <c:minorTickMark val="none"/>
        <c:tickLblPos val="nextTo"/>
        <c:crossAx val="65140608"/>
        <c:crosses val="autoZero"/>
        <c:auto val="1"/>
        <c:lblAlgn val="ctr"/>
        <c:lblOffset val="100"/>
        <c:noMultiLvlLbl val="0"/>
      </c:catAx>
      <c:valAx>
        <c:axId val="65140608"/>
        <c:scaling>
          <c:orientation val="minMax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/>
                </a:pPr>
                <a:r>
                  <a:rPr lang="cs-CZ"/>
                  <a:t>MW</a:t>
                </a:r>
              </a:p>
            </c:rich>
          </c:tx>
          <c:layout/>
          <c:overlay val="0"/>
        </c:title>
        <c:numFmt formatCode="General" sourceLinked="1"/>
        <c:majorTickMark val="none"/>
        <c:minorTickMark val="none"/>
        <c:tickLblPos val="nextTo"/>
        <c:crossAx val="65139072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0936908202930333E-2"/>
          <c:y val="5.3566870948273011E-2"/>
          <c:w val="0.92205612194470488"/>
          <c:h val="0.81511494969027465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List1!$C$1</c:f>
              <c:strCache>
                <c:ptCount val="1"/>
                <c:pt idx="0">
                  <c:v>měsíční vyrobená energie</c:v>
                </c:pt>
              </c:strCache>
            </c:strRef>
          </c:tx>
          <c:spPr>
            <a:solidFill>
              <a:srgbClr val="FFFF00"/>
            </a:solidFill>
          </c:spPr>
          <c:invertIfNegative val="0"/>
          <c:cat>
            <c:multiLvlStrRef>
              <c:f>List1!$A$2:$B$26</c:f>
              <c:multiLvlStrCache>
                <c:ptCount val="25"/>
                <c:lvl>
                  <c:pt idx="0">
                    <c:v>1</c:v>
                  </c:pt>
                  <c:pt idx="1">
                    <c:v>2</c:v>
                  </c:pt>
                  <c:pt idx="2">
                    <c:v>3</c:v>
                  </c:pt>
                  <c:pt idx="3">
                    <c:v>4</c:v>
                  </c:pt>
                  <c:pt idx="4">
                    <c:v>5</c:v>
                  </c:pt>
                  <c:pt idx="5">
                    <c:v>6</c:v>
                  </c:pt>
                  <c:pt idx="6">
                    <c:v>7</c:v>
                  </c:pt>
                  <c:pt idx="7">
                    <c:v>8</c:v>
                  </c:pt>
                  <c:pt idx="8">
                    <c:v>9</c:v>
                  </c:pt>
                  <c:pt idx="9">
                    <c:v>10</c:v>
                  </c:pt>
                  <c:pt idx="10">
                    <c:v>11</c:v>
                  </c:pt>
                  <c:pt idx="11">
                    <c:v>12</c:v>
                  </c:pt>
                  <c:pt idx="12">
                    <c:v>1</c:v>
                  </c:pt>
                  <c:pt idx="13">
                    <c:v>2</c:v>
                  </c:pt>
                  <c:pt idx="14">
                    <c:v>3</c:v>
                  </c:pt>
                  <c:pt idx="15">
                    <c:v>4</c:v>
                  </c:pt>
                  <c:pt idx="16">
                    <c:v>5</c:v>
                  </c:pt>
                  <c:pt idx="17">
                    <c:v>6</c:v>
                  </c:pt>
                  <c:pt idx="18">
                    <c:v>7</c:v>
                  </c:pt>
                  <c:pt idx="19">
                    <c:v>8</c:v>
                  </c:pt>
                  <c:pt idx="20">
                    <c:v>9</c:v>
                  </c:pt>
                  <c:pt idx="21">
                    <c:v>10</c:v>
                  </c:pt>
                  <c:pt idx="22">
                    <c:v>11</c:v>
                  </c:pt>
                  <c:pt idx="23">
                    <c:v>12</c:v>
                  </c:pt>
                  <c:pt idx="24">
                    <c:v>1</c:v>
                  </c:pt>
                </c:lvl>
                <c:lvl>
                  <c:pt idx="0">
                    <c:v>2010</c:v>
                  </c:pt>
                  <c:pt idx="1">
                    <c:v>2010</c:v>
                  </c:pt>
                  <c:pt idx="2">
                    <c:v>2010</c:v>
                  </c:pt>
                  <c:pt idx="3">
                    <c:v>2010</c:v>
                  </c:pt>
                  <c:pt idx="4">
                    <c:v>2010</c:v>
                  </c:pt>
                  <c:pt idx="5">
                    <c:v>2010</c:v>
                  </c:pt>
                  <c:pt idx="6">
                    <c:v>2010</c:v>
                  </c:pt>
                  <c:pt idx="7">
                    <c:v>2010</c:v>
                  </c:pt>
                  <c:pt idx="8">
                    <c:v>2010</c:v>
                  </c:pt>
                  <c:pt idx="9">
                    <c:v>2010</c:v>
                  </c:pt>
                  <c:pt idx="10">
                    <c:v>2010</c:v>
                  </c:pt>
                  <c:pt idx="11">
                    <c:v>2010</c:v>
                  </c:pt>
                  <c:pt idx="12">
                    <c:v>2011</c:v>
                  </c:pt>
                  <c:pt idx="13">
                    <c:v>2011</c:v>
                  </c:pt>
                  <c:pt idx="14">
                    <c:v>2011</c:v>
                  </c:pt>
                  <c:pt idx="15">
                    <c:v>2011</c:v>
                  </c:pt>
                  <c:pt idx="16">
                    <c:v>2011</c:v>
                  </c:pt>
                  <c:pt idx="17">
                    <c:v>2011</c:v>
                  </c:pt>
                  <c:pt idx="18">
                    <c:v>2011</c:v>
                  </c:pt>
                  <c:pt idx="19">
                    <c:v>2011</c:v>
                  </c:pt>
                  <c:pt idx="20">
                    <c:v>2011</c:v>
                  </c:pt>
                  <c:pt idx="21">
                    <c:v>2011</c:v>
                  </c:pt>
                  <c:pt idx="22">
                    <c:v>2011</c:v>
                  </c:pt>
                  <c:pt idx="23">
                    <c:v>2011</c:v>
                  </c:pt>
                  <c:pt idx="24">
                    <c:v>2012</c:v>
                  </c:pt>
                </c:lvl>
              </c:multiLvlStrCache>
            </c:multiLvlStrRef>
          </c:cat>
          <c:val>
            <c:numRef>
              <c:f>List1!$C$2:$C$26</c:f>
              <c:numCache>
                <c:formatCode>General</c:formatCode>
                <c:ptCount val="25"/>
                <c:pt idx="0">
                  <c:v>5.9029999999999996</c:v>
                </c:pt>
                <c:pt idx="1">
                  <c:v>15.36</c:v>
                </c:pt>
                <c:pt idx="2">
                  <c:v>55.122</c:v>
                </c:pt>
                <c:pt idx="3">
                  <c:v>87.370999999999995</c:v>
                </c:pt>
                <c:pt idx="4">
                  <c:v>68.906000000000006</c:v>
                </c:pt>
                <c:pt idx="5">
                  <c:v>72.733000000000004</c:v>
                </c:pt>
                <c:pt idx="6">
                  <c:v>79.978999999999999</c:v>
                </c:pt>
                <c:pt idx="7">
                  <c:v>74.027000000000001</c:v>
                </c:pt>
                <c:pt idx="8">
                  <c:v>64.272999999999996</c:v>
                </c:pt>
                <c:pt idx="9">
                  <c:v>60.167999999999999</c:v>
                </c:pt>
                <c:pt idx="10">
                  <c:v>27.091000000000001</c:v>
                </c:pt>
                <c:pt idx="11">
                  <c:v>16.254999999999999</c:v>
                </c:pt>
                <c:pt idx="12">
                  <c:v>38.281999999999996</c:v>
                </c:pt>
                <c:pt idx="13">
                  <c:v>103.48099999999999</c:v>
                </c:pt>
                <c:pt idx="14">
                  <c:v>204.98</c:v>
                </c:pt>
                <c:pt idx="15">
                  <c:v>244.07</c:v>
                </c:pt>
                <c:pt idx="16">
                  <c:v>296.298</c:v>
                </c:pt>
                <c:pt idx="17">
                  <c:v>254.71799999999999</c:v>
                </c:pt>
                <c:pt idx="18">
                  <c:v>219.322</c:v>
                </c:pt>
                <c:pt idx="19">
                  <c:v>248.995</c:v>
                </c:pt>
                <c:pt idx="20">
                  <c:v>215.999</c:v>
                </c:pt>
                <c:pt idx="21">
                  <c:v>136.339</c:v>
                </c:pt>
                <c:pt idx="22">
                  <c:v>67.111999999999995</c:v>
                </c:pt>
                <c:pt idx="23">
                  <c:v>37.390999999999998</c:v>
                </c:pt>
                <c:pt idx="24">
                  <c:v>5.706000000000000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66622208"/>
        <c:axId val="66623744"/>
      </c:barChart>
      <c:lineChart>
        <c:grouping val="standard"/>
        <c:varyColors val="0"/>
        <c:ser>
          <c:idx val="2"/>
          <c:order val="1"/>
          <c:tx>
            <c:strRef>
              <c:f>List1!$D$1</c:f>
              <c:strCache>
                <c:ptCount val="1"/>
                <c:pt idx="0">
                  <c:v>maximum výroby čtvrthodiny</c:v>
                </c:pt>
              </c:strCache>
            </c:strRef>
          </c:tx>
          <c:spPr>
            <a:ln>
              <a:solidFill>
                <a:srgbClr val="FFC000"/>
              </a:solidFill>
            </a:ln>
          </c:spPr>
          <c:marker>
            <c:symbol val="none"/>
          </c:marker>
          <c:cat>
            <c:multiLvlStrRef>
              <c:f>List1!$A$2:$B$26</c:f>
              <c:multiLvlStrCache>
                <c:ptCount val="25"/>
                <c:lvl>
                  <c:pt idx="0">
                    <c:v>1</c:v>
                  </c:pt>
                  <c:pt idx="1">
                    <c:v>2</c:v>
                  </c:pt>
                  <c:pt idx="2">
                    <c:v>3</c:v>
                  </c:pt>
                  <c:pt idx="3">
                    <c:v>4</c:v>
                  </c:pt>
                  <c:pt idx="4">
                    <c:v>5</c:v>
                  </c:pt>
                  <c:pt idx="5">
                    <c:v>6</c:v>
                  </c:pt>
                  <c:pt idx="6">
                    <c:v>7</c:v>
                  </c:pt>
                  <c:pt idx="7">
                    <c:v>8</c:v>
                  </c:pt>
                  <c:pt idx="8">
                    <c:v>9</c:v>
                  </c:pt>
                  <c:pt idx="9">
                    <c:v>10</c:v>
                  </c:pt>
                  <c:pt idx="10">
                    <c:v>11</c:v>
                  </c:pt>
                  <c:pt idx="11">
                    <c:v>12</c:v>
                  </c:pt>
                  <c:pt idx="12">
                    <c:v>1</c:v>
                  </c:pt>
                  <c:pt idx="13">
                    <c:v>2</c:v>
                  </c:pt>
                  <c:pt idx="14">
                    <c:v>3</c:v>
                  </c:pt>
                  <c:pt idx="15">
                    <c:v>4</c:v>
                  </c:pt>
                  <c:pt idx="16">
                    <c:v>5</c:v>
                  </c:pt>
                  <c:pt idx="17">
                    <c:v>6</c:v>
                  </c:pt>
                  <c:pt idx="18">
                    <c:v>7</c:v>
                  </c:pt>
                  <c:pt idx="19">
                    <c:v>8</c:v>
                  </c:pt>
                  <c:pt idx="20">
                    <c:v>9</c:v>
                  </c:pt>
                  <c:pt idx="21">
                    <c:v>10</c:v>
                  </c:pt>
                  <c:pt idx="22">
                    <c:v>11</c:v>
                  </c:pt>
                  <c:pt idx="23">
                    <c:v>12</c:v>
                  </c:pt>
                  <c:pt idx="24">
                    <c:v>1</c:v>
                  </c:pt>
                </c:lvl>
                <c:lvl>
                  <c:pt idx="0">
                    <c:v>2010</c:v>
                  </c:pt>
                  <c:pt idx="1">
                    <c:v>2010</c:v>
                  </c:pt>
                  <c:pt idx="2">
                    <c:v>2010</c:v>
                  </c:pt>
                  <c:pt idx="3">
                    <c:v>2010</c:v>
                  </c:pt>
                  <c:pt idx="4">
                    <c:v>2010</c:v>
                  </c:pt>
                  <c:pt idx="5">
                    <c:v>2010</c:v>
                  </c:pt>
                  <c:pt idx="6">
                    <c:v>2010</c:v>
                  </c:pt>
                  <c:pt idx="7">
                    <c:v>2010</c:v>
                  </c:pt>
                  <c:pt idx="8">
                    <c:v>2010</c:v>
                  </c:pt>
                  <c:pt idx="9">
                    <c:v>2010</c:v>
                  </c:pt>
                  <c:pt idx="10">
                    <c:v>2010</c:v>
                  </c:pt>
                  <c:pt idx="11">
                    <c:v>2010</c:v>
                  </c:pt>
                  <c:pt idx="12">
                    <c:v>2011</c:v>
                  </c:pt>
                  <c:pt idx="13">
                    <c:v>2011</c:v>
                  </c:pt>
                  <c:pt idx="14">
                    <c:v>2011</c:v>
                  </c:pt>
                  <c:pt idx="15">
                    <c:v>2011</c:v>
                  </c:pt>
                  <c:pt idx="16">
                    <c:v>2011</c:v>
                  </c:pt>
                  <c:pt idx="17">
                    <c:v>2011</c:v>
                  </c:pt>
                  <c:pt idx="18">
                    <c:v>2011</c:v>
                  </c:pt>
                  <c:pt idx="19">
                    <c:v>2011</c:v>
                  </c:pt>
                  <c:pt idx="20">
                    <c:v>2011</c:v>
                  </c:pt>
                  <c:pt idx="21">
                    <c:v>2011</c:v>
                  </c:pt>
                  <c:pt idx="22">
                    <c:v>2011</c:v>
                  </c:pt>
                  <c:pt idx="23">
                    <c:v>2011</c:v>
                  </c:pt>
                  <c:pt idx="24">
                    <c:v>2012</c:v>
                  </c:pt>
                </c:lvl>
              </c:multiLvlStrCache>
            </c:multiLvlStrRef>
          </c:cat>
          <c:val>
            <c:numRef>
              <c:f>List1!$D$2:$D$26</c:f>
              <c:numCache>
                <c:formatCode>General</c:formatCode>
                <c:ptCount val="25"/>
                <c:pt idx="0">
                  <c:v>100</c:v>
                </c:pt>
                <c:pt idx="1">
                  <c:v>287</c:v>
                </c:pt>
                <c:pt idx="2">
                  <c:v>442</c:v>
                </c:pt>
                <c:pt idx="3">
                  <c:v>547</c:v>
                </c:pt>
                <c:pt idx="4">
                  <c:v>462</c:v>
                </c:pt>
                <c:pt idx="5">
                  <c:v>430</c:v>
                </c:pt>
                <c:pt idx="6">
                  <c:v>417</c:v>
                </c:pt>
                <c:pt idx="7">
                  <c:v>433</c:v>
                </c:pt>
                <c:pt idx="8">
                  <c:v>505</c:v>
                </c:pt>
                <c:pt idx="9">
                  <c:v>558</c:v>
                </c:pt>
                <c:pt idx="10">
                  <c:v>472</c:v>
                </c:pt>
                <c:pt idx="11">
                  <c:v>428</c:v>
                </c:pt>
                <c:pt idx="12">
                  <c:v>818</c:v>
                </c:pt>
                <c:pt idx="13">
                  <c:v>1295</c:v>
                </c:pt>
                <c:pt idx="14">
                  <c:v>1491</c:v>
                </c:pt>
                <c:pt idx="15">
                  <c:v>1589</c:v>
                </c:pt>
                <c:pt idx="16">
                  <c:v>1542</c:v>
                </c:pt>
                <c:pt idx="17">
                  <c:v>1464</c:v>
                </c:pt>
                <c:pt idx="18">
                  <c:v>1358</c:v>
                </c:pt>
                <c:pt idx="19">
                  <c:v>1457</c:v>
                </c:pt>
                <c:pt idx="20">
                  <c:v>1373</c:v>
                </c:pt>
                <c:pt idx="21">
                  <c:v>1344</c:v>
                </c:pt>
                <c:pt idx="22">
                  <c:v>992</c:v>
                </c:pt>
                <c:pt idx="23">
                  <c:v>779</c:v>
                </c:pt>
                <c:pt idx="24">
                  <c:v>73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6627840"/>
        <c:axId val="66625920"/>
      </c:lineChart>
      <c:catAx>
        <c:axId val="6662220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600" baseline="0"/>
            </a:pPr>
            <a:endParaRPr lang="cs-CZ"/>
          </a:p>
        </c:txPr>
        <c:crossAx val="66623744"/>
        <c:crosses val="autoZero"/>
        <c:auto val="1"/>
        <c:lblAlgn val="ctr"/>
        <c:lblOffset val="100"/>
        <c:noMultiLvlLbl val="0"/>
      </c:catAx>
      <c:valAx>
        <c:axId val="66623744"/>
        <c:scaling>
          <c:orientation val="minMax"/>
          <c:max val="300"/>
        </c:scaling>
        <c:delete val="0"/>
        <c:axPos val="l"/>
        <c:majorGridlines/>
        <c:title>
          <c:tx>
            <c:rich>
              <a:bodyPr rot="0" vert="horz"/>
              <a:lstStyle/>
              <a:p>
                <a:pPr>
                  <a:defRPr sz="900"/>
                </a:pPr>
                <a:r>
                  <a:rPr lang="cs-CZ" sz="900" dirty="0" err="1" smtClean="0"/>
                  <a:t>GWh</a:t>
                </a:r>
                <a:endParaRPr lang="cs-CZ" sz="900" dirty="0"/>
              </a:p>
            </c:rich>
          </c:tx>
          <c:layout>
            <c:manualLayout>
              <c:xMode val="edge"/>
              <c:yMode val="edge"/>
              <c:x val="5.7060653391453234E-2"/>
              <c:y val="5.6483040345944466E-2"/>
            </c:manualLayout>
          </c:layout>
          <c:overlay val="0"/>
        </c:title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900"/>
            </a:pPr>
            <a:endParaRPr lang="cs-CZ"/>
          </a:p>
        </c:txPr>
        <c:crossAx val="66622208"/>
        <c:crosses val="autoZero"/>
        <c:crossBetween val="between"/>
        <c:majorUnit val="50"/>
      </c:valAx>
      <c:valAx>
        <c:axId val="66625920"/>
        <c:scaling>
          <c:orientation val="minMax"/>
        </c:scaling>
        <c:delete val="0"/>
        <c:axPos val="r"/>
        <c:title>
          <c:tx>
            <c:rich>
              <a:bodyPr rot="0" vert="horz"/>
              <a:lstStyle/>
              <a:p>
                <a:pPr>
                  <a:defRPr sz="900"/>
                </a:pPr>
                <a:r>
                  <a:rPr lang="cs-CZ" sz="900" dirty="0" smtClean="0"/>
                  <a:t>MW</a:t>
                </a:r>
              </a:p>
            </c:rich>
          </c:tx>
          <c:layout>
            <c:manualLayout>
              <c:xMode val="edge"/>
              <c:yMode val="edge"/>
              <c:x val="0.85478063711875152"/>
              <c:y val="9.5007249906705529E-3"/>
            </c:manualLayout>
          </c:layout>
          <c:overlay val="0"/>
        </c:title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00"/>
            </a:pPr>
            <a:endParaRPr lang="cs-CZ"/>
          </a:p>
        </c:txPr>
        <c:crossAx val="66627840"/>
        <c:crosses val="max"/>
        <c:crossBetween val="between"/>
      </c:valAx>
      <c:catAx>
        <c:axId val="66627840"/>
        <c:scaling>
          <c:orientation val="minMax"/>
        </c:scaling>
        <c:delete val="1"/>
        <c:axPos val="b"/>
        <c:majorTickMark val="out"/>
        <c:minorTickMark val="none"/>
        <c:tickLblPos val="nextTo"/>
        <c:crossAx val="66625920"/>
        <c:crosses val="autoZero"/>
        <c:auto val="1"/>
        <c:lblAlgn val="ctr"/>
        <c:lblOffset val="100"/>
        <c:noMultiLvlLbl val="0"/>
      </c:catAx>
    </c:plotArea>
    <c:legend>
      <c:legendPos val="l"/>
      <c:layout>
        <c:manualLayout>
          <c:xMode val="edge"/>
          <c:yMode val="edge"/>
          <c:x val="5.9071729957805907E-2"/>
          <c:y val="0.20239699342715675"/>
          <c:w val="0.43892569943208926"/>
          <c:h val="0.26296650799483817"/>
        </c:manualLayout>
      </c:layout>
      <c:overlay val="0"/>
      <c:txPr>
        <a:bodyPr/>
        <a:lstStyle/>
        <a:p>
          <a:pPr>
            <a:defRPr sz="1100"/>
          </a:pPr>
          <a:endParaRPr lang="cs-CZ"/>
        </a:p>
      </c:txPr>
    </c:legend>
    <c:plotVisOnly val="1"/>
    <c:dispBlanksAs val="zero"/>
    <c:showDLblsOverMax val="0"/>
  </c:chart>
  <c:txPr>
    <a:bodyPr/>
    <a:lstStyle/>
    <a:p>
      <a:pPr>
        <a:defRPr sz="1800"/>
      </a:pPr>
      <a:endParaRPr lang="cs-CZ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0936908202930333E-2"/>
          <c:y val="5.3566870948273011E-2"/>
          <c:w val="0.92205612194470488"/>
          <c:h val="0.81511494969027465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List1!$C$1</c:f>
              <c:strCache>
                <c:ptCount val="1"/>
                <c:pt idx="0">
                  <c:v>měsíční vyrobená energie</c:v>
                </c:pt>
              </c:strCache>
            </c:strRef>
          </c:tx>
          <c:spPr>
            <a:solidFill>
              <a:srgbClr val="FFFF00"/>
            </a:solidFill>
          </c:spPr>
          <c:invertIfNegative val="0"/>
          <c:cat>
            <c:multiLvlStrRef>
              <c:f>List1!$A$2:$B$26</c:f>
              <c:multiLvlStrCache>
                <c:ptCount val="25"/>
                <c:lvl>
                  <c:pt idx="0">
                    <c:v>1</c:v>
                  </c:pt>
                  <c:pt idx="1">
                    <c:v>2</c:v>
                  </c:pt>
                  <c:pt idx="2">
                    <c:v>3</c:v>
                  </c:pt>
                  <c:pt idx="3">
                    <c:v>4</c:v>
                  </c:pt>
                  <c:pt idx="4">
                    <c:v>5</c:v>
                  </c:pt>
                  <c:pt idx="5">
                    <c:v>6</c:v>
                  </c:pt>
                  <c:pt idx="6">
                    <c:v>7</c:v>
                  </c:pt>
                  <c:pt idx="7">
                    <c:v>8</c:v>
                  </c:pt>
                  <c:pt idx="8">
                    <c:v>9</c:v>
                  </c:pt>
                  <c:pt idx="9">
                    <c:v>10</c:v>
                  </c:pt>
                  <c:pt idx="10">
                    <c:v>11</c:v>
                  </c:pt>
                  <c:pt idx="11">
                    <c:v>12</c:v>
                  </c:pt>
                  <c:pt idx="12">
                    <c:v>1</c:v>
                  </c:pt>
                  <c:pt idx="13">
                    <c:v>2</c:v>
                  </c:pt>
                  <c:pt idx="14">
                    <c:v>3</c:v>
                  </c:pt>
                  <c:pt idx="15">
                    <c:v>4</c:v>
                  </c:pt>
                  <c:pt idx="16">
                    <c:v>5</c:v>
                  </c:pt>
                  <c:pt idx="17">
                    <c:v>6</c:v>
                  </c:pt>
                  <c:pt idx="18">
                    <c:v>7</c:v>
                  </c:pt>
                  <c:pt idx="19">
                    <c:v>8</c:v>
                  </c:pt>
                  <c:pt idx="20">
                    <c:v>9</c:v>
                  </c:pt>
                  <c:pt idx="21">
                    <c:v>10</c:v>
                  </c:pt>
                  <c:pt idx="22">
                    <c:v>11</c:v>
                  </c:pt>
                  <c:pt idx="23">
                    <c:v>12</c:v>
                  </c:pt>
                  <c:pt idx="24">
                    <c:v>1</c:v>
                  </c:pt>
                </c:lvl>
                <c:lvl>
                  <c:pt idx="0">
                    <c:v>2010</c:v>
                  </c:pt>
                  <c:pt idx="1">
                    <c:v>2010</c:v>
                  </c:pt>
                  <c:pt idx="2">
                    <c:v>2010</c:v>
                  </c:pt>
                  <c:pt idx="3">
                    <c:v>2010</c:v>
                  </c:pt>
                  <c:pt idx="4">
                    <c:v>2010</c:v>
                  </c:pt>
                  <c:pt idx="5">
                    <c:v>2010</c:v>
                  </c:pt>
                  <c:pt idx="6">
                    <c:v>2010</c:v>
                  </c:pt>
                  <c:pt idx="7">
                    <c:v>2010</c:v>
                  </c:pt>
                  <c:pt idx="8">
                    <c:v>2010</c:v>
                  </c:pt>
                  <c:pt idx="9">
                    <c:v>2010</c:v>
                  </c:pt>
                  <c:pt idx="10">
                    <c:v>2010</c:v>
                  </c:pt>
                  <c:pt idx="11">
                    <c:v>2010</c:v>
                  </c:pt>
                  <c:pt idx="12">
                    <c:v>2011</c:v>
                  </c:pt>
                  <c:pt idx="13">
                    <c:v>2011</c:v>
                  </c:pt>
                  <c:pt idx="14">
                    <c:v>2011</c:v>
                  </c:pt>
                  <c:pt idx="15">
                    <c:v>2011</c:v>
                  </c:pt>
                  <c:pt idx="16">
                    <c:v>2011</c:v>
                  </c:pt>
                  <c:pt idx="17">
                    <c:v>2011</c:v>
                  </c:pt>
                  <c:pt idx="18">
                    <c:v>2011</c:v>
                  </c:pt>
                  <c:pt idx="19">
                    <c:v>2011</c:v>
                  </c:pt>
                  <c:pt idx="20">
                    <c:v>2011</c:v>
                  </c:pt>
                  <c:pt idx="21">
                    <c:v>2011</c:v>
                  </c:pt>
                  <c:pt idx="22">
                    <c:v>2011</c:v>
                  </c:pt>
                  <c:pt idx="23">
                    <c:v>2011</c:v>
                  </c:pt>
                  <c:pt idx="24">
                    <c:v>2012</c:v>
                  </c:pt>
                </c:lvl>
              </c:multiLvlStrCache>
            </c:multiLvlStrRef>
          </c:cat>
          <c:val>
            <c:numRef>
              <c:f>List1!$C$2:$C$26</c:f>
              <c:numCache>
                <c:formatCode>General</c:formatCode>
                <c:ptCount val="25"/>
                <c:pt idx="0">
                  <c:v>5.9029999999999996</c:v>
                </c:pt>
                <c:pt idx="1">
                  <c:v>15.36</c:v>
                </c:pt>
                <c:pt idx="2">
                  <c:v>55.122</c:v>
                </c:pt>
                <c:pt idx="3">
                  <c:v>87.370999999999995</c:v>
                </c:pt>
                <c:pt idx="4">
                  <c:v>68.906000000000006</c:v>
                </c:pt>
                <c:pt idx="5">
                  <c:v>72.733000000000004</c:v>
                </c:pt>
                <c:pt idx="6">
                  <c:v>79.978999999999999</c:v>
                </c:pt>
                <c:pt idx="7">
                  <c:v>74.027000000000001</c:v>
                </c:pt>
                <c:pt idx="8">
                  <c:v>64.272999999999996</c:v>
                </c:pt>
                <c:pt idx="9">
                  <c:v>60.167999999999999</c:v>
                </c:pt>
                <c:pt idx="10">
                  <c:v>27.091000000000001</c:v>
                </c:pt>
                <c:pt idx="11">
                  <c:v>16.254999999999999</c:v>
                </c:pt>
                <c:pt idx="12">
                  <c:v>38.281999999999996</c:v>
                </c:pt>
                <c:pt idx="13">
                  <c:v>103.48099999999999</c:v>
                </c:pt>
                <c:pt idx="14">
                  <c:v>204.98</c:v>
                </c:pt>
                <c:pt idx="15">
                  <c:v>244.07</c:v>
                </c:pt>
                <c:pt idx="16">
                  <c:v>296.298</c:v>
                </c:pt>
                <c:pt idx="17">
                  <c:v>254.71799999999999</c:v>
                </c:pt>
                <c:pt idx="18">
                  <c:v>219.322</c:v>
                </c:pt>
                <c:pt idx="19">
                  <c:v>248.995</c:v>
                </c:pt>
                <c:pt idx="20">
                  <c:v>215.999</c:v>
                </c:pt>
                <c:pt idx="21">
                  <c:v>136.339</c:v>
                </c:pt>
                <c:pt idx="22">
                  <c:v>67.111999999999995</c:v>
                </c:pt>
                <c:pt idx="23">
                  <c:v>37.390999999999998</c:v>
                </c:pt>
                <c:pt idx="24">
                  <c:v>5.706000000000000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959040"/>
        <c:axId val="21960576"/>
      </c:barChart>
      <c:lineChart>
        <c:grouping val="standard"/>
        <c:varyColors val="0"/>
        <c:ser>
          <c:idx val="2"/>
          <c:order val="1"/>
          <c:tx>
            <c:strRef>
              <c:f>List1!$D$1</c:f>
              <c:strCache>
                <c:ptCount val="1"/>
                <c:pt idx="0">
                  <c:v>maximum výroby čtvrthodiny</c:v>
                </c:pt>
              </c:strCache>
            </c:strRef>
          </c:tx>
          <c:spPr>
            <a:ln>
              <a:solidFill>
                <a:srgbClr val="FFC000"/>
              </a:solidFill>
            </a:ln>
          </c:spPr>
          <c:marker>
            <c:symbol val="none"/>
          </c:marker>
          <c:cat>
            <c:multiLvlStrRef>
              <c:f>List1!$A$2:$B$26</c:f>
              <c:multiLvlStrCache>
                <c:ptCount val="25"/>
                <c:lvl>
                  <c:pt idx="0">
                    <c:v>1</c:v>
                  </c:pt>
                  <c:pt idx="1">
                    <c:v>2</c:v>
                  </c:pt>
                  <c:pt idx="2">
                    <c:v>3</c:v>
                  </c:pt>
                  <c:pt idx="3">
                    <c:v>4</c:v>
                  </c:pt>
                  <c:pt idx="4">
                    <c:v>5</c:v>
                  </c:pt>
                  <c:pt idx="5">
                    <c:v>6</c:v>
                  </c:pt>
                  <c:pt idx="6">
                    <c:v>7</c:v>
                  </c:pt>
                  <c:pt idx="7">
                    <c:v>8</c:v>
                  </c:pt>
                  <c:pt idx="8">
                    <c:v>9</c:v>
                  </c:pt>
                  <c:pt idx="9">
                    <c:v>10</c:v>
                  </c:pt>
                  <c:pt idx="10">
                    <c:v>11</c:v>
                  </c:pt>
                  <c:pt idx="11">
                    <c:v>12</c:v>
                  </c:pt>
                  <c:pt idx="12">
                    <c:v>1</c:v>
                  </c:pt>
                  <c:pt idx="13">
                    <c:v>2</c:v>
                  </c:pt>
                  <c:pt idx="14">
                    <c:v>3</c:v>
                  </c:pt>
                  <c:pt idx="15">
                    <c:v>4</c:v>
                  </c:pt>
                  <c:pt idx="16">
                    <c:v>5</c:v>
                  </c:pt>
                  <c:pt idx="17">
                    <c:v>6</c:v>
                  </c:pt>
                  <c:pt idx="18">
                    <c:v>7</c:v>
                  </c:pt>
                  <c:pt idx="19">
                    <c:v>8</c:v>
                  </c:pt>
                  <c:pt idx="20">
                    <c:v>9</c:v>
                  </c:pt>
                  <c:pt idx="21">
                    <c:v>10</c:v>
                  </c:pt>
                  <c:pt idx="22">
                    <c:v>11</c:v>
                  </c:pt>
                  <c:pt idx="23">
                    <c:v>12</c:v>
                  </c:pt>
                  <c:pt idx="24">
                    <c:v>1</c:v>
                  </c:pt>
                </c:lvl>
                <c:lvl>
                  <c:pt idx="0">
                    <c:v>2010</c:v>
                  </c:pt>
                  <c:pt idx="1">
                    <c:v>2010</c:v>
                  </c:pt>
                  <c:pt idx="2">
                    <c:v>2010</c:v>
                  </c:pt>
                  <c:pt idx="3">
                    <c:v>2010</c:v>
                  </c:pt>
                  <c:pt idx="4">
                    <c:v>2010</c:v>
                  </c:pt>
                  <c:pt idx="5">
                    <c:v>2010</c:v>
                  </c:pt>
                  <c:pt idx="6">
                    <c:v>2010</c:v>
                  </c:pt>
                  <c:pt idx="7">
                    <c:v>2010</c:v>
                  </c:pt>
                  <c:pt idx="8">
                    <c:v>2010</c:v>
                  </c:pt>
                  <c:pt idx="9">
                    <c:v>2010</c:v>
                  </c:pt>
                  <c:pt idx="10">
                    <c:v>2010</c:v>
                  </c:pt>
                  <c:pt idx="11">
                    <c:v>2010</c:v>
                  </c:pt>
                  <c:pt idx="12">
                    <c:v>2011</c:v>
                  </c:pt>
                  <c:pt idx="13">
                    <c:v>2011</c:v>
                  </c:pt>
                  <c:pt idx="14">
                    <c:v>2011</c:v>
                  </c:pt>
                  <c:pt idx="15">
                    <c:v>2011</c:v>
                  </c:pt>
                  <c:pt idx="16">
                    <c:v>2011</c:v>
                  </c:pt>
                  <c:pt idx="17">
                    <c:v>2011</c:v>
                  </c:pt>
                  <c:pt idx="18">
                    <c:v>2011</c:v>
                  </c:pt>
                  <c:pt idx="19">
                    <c:v>2011</c:v>
                  </c:pt>
                  <c:pt idx="20">
                    <c:v>2011</c:v>
                  </c:pt>
                  <c:pt idx="21">
                    <c:v>2011</c:v>
                  </c:pt>
                  <c:pt idx="22">
                    <c:v>2011</c:v>
                  </c:pt>
                  <c:pt idx="23">
                    <c:v>2011</c:v>
                  </c:pt>
                  <c:pt idx="24">
                    <c:v>2012</c:v>
                  </c:pt>
                </c:lvl>
              </c:multiLvlStrCache>
            </c:multiLvlStrRef>
          </c:cat>
          <c:val>
            <c:numRef>
              <c:f>List1!$D$2:$D$26</c:f>
              <c:numCache>
                <c:formatCode>General</c:formatCode>
                <c:ptCount val="25"/>
                <c:pt idx="0">
                  <c:v>100</c:v>
                </c:pt>
                <c:pt idx="1">
                  <c:v>287</c:v>
                </c:pt>
                <c:pt idx="2">
                  <c:v>442</c:v>
                </c:pt>
                <c:pt idx="3">
                  <c:v>547</c:v>
                </c:pt>
                <c:pt idx="4">
                  <c:v>462</c:v>
                </c:pt>
                <c:pt idx="5">
                  <c:v>430</c:v>
                </c:pt>
                <c:pt idx="6">
                  <c:v>417</c:v>
                </c:pt>
                <c:pt idx="7">
                  <c:v>433</c:v>
                </c:pt>
                <c:pt idx="8">
                  <c:v>505</c:v>
                </c:pt>
                <c:pt idx="9">
                  <c:v>558</c:v>
                </c:pt>
                <c:pt idx="10">
                  <c:v>472</c:v>
                </c:pt>
                <c:pt idx="11">
                  <c:v>428</c:v>
                </c:pt>
                <c:pt idx="12">
                  <c:v>818</c:v>
                </c:pt>
                <c:pt idx="13">
                  <c:v>1295</c:v>
                </c:pt>
                <c:pt idx="14">
                  <c:v>1491</c:v>
                </c:pt>
                <c:pt idx="15">
                  <c:v>1589</c:v>
                </c:pt>
                <c:pt idx="16">
                  <c:v>1542</c:v>
                </c:pt>
                <c:pt idx="17">
                  <c:v>1464</c:v>
                </c:pt>
                <c:pt idx="18">
                  <c:v>1358</c:v>
                </c:pt>
                <c:pt idx="19">
                  <c:v>1457</c:v>
                </c:pt>
                <c:pt idx="20">
                  <c:v>1373</c:v>
                </c:pt>
                <c:pt idx="21">
                  <c:v>1344</c:v>
                </c:pt>
                <c:pt idx="22">
                  <c:v>992</c:v>
                </c:pt>
                <c:pt idx="23">
                  <c:v>779</c:v>
                </c:pt>
                <c:pt idx="24">
                  <c:v>73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968768"/>
        <c:axId val="21966848"/>
      </c:lineChart>
      <c:catAx>
        <c:axId val="2195904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800"/>
            </a:pPr>
            <a:endParaRPr lang="cs-CZ"/>
          </a:p>
        </c:txPr>
        <c:crossAx val="21960576"/>
        <c:crosses val="autoZero"/>
        <c:auto val="1"/>
        <c:lblAlgn val="ctr"/>
        <c:lblOffset val="100"/>
        <c:noMultiLvlLbl val="0"/>
      </c:catAx>
      <c:valAx>
        <c:axId val="21960576"/>
        <c:scaling>
          <c:orientation val="minMax"/>
          <c:max val="300"/>
        </c:scaling>
        <c:delete val="0"/>
        <c:axPos val="l"/>
        <c:majorGridlines/>
        <c:title>
          <c:tx>
            <c:rich>
              <a:bodyPr rot="0" vert="horz"/>
              <a:lstStyle/>
              <a:p>
                <a:pPr>
                  <a:defRPr sz="900"/>
                </a:pPr>
                <a:r>
                  <a:rPr lang="cs-CZ" sz="900" dirty="0" err="1" smtClean="0"/>
                  <a:t>GWh</a:t>
                </a:r>
                <a:endParaRPr lang="cs-CZ" sz="900" dirty="0"/>
              </a:p>
            </c:rich>
          </c:tx>
          <c:layout>
            <c:manualLayout>
              <c:xMode val="edge"/>
              <c:yMode val="edge"/>
              <c:x val="0"/>
              <c:y val="2.2155499045109286E-3"/>
            </c:manualLayout>
          </c:layout>
          <c:overlay val="0"/>
        </c:title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900"/>
            </a:pPr>
            <a:endParaRPr lang="cs-CZ"/>
          </a:p>
        </c:txPr>
        <c:crossAx val="21959040"/>
        <c:crosses val="autoZero"/>
        <c:crossBetween val="between"/>
        <c:majorUnit val="50"/>
      </c:valAx>
      <c:valAx>
        <c:axId val="21966848"/>
        <c:scaling>
          <c:orientation val="minMax"/>
        </c:scaling>
        <c:delete val="0"/>
        <c:axPos val="r"/>
        <c:title>
          <c:tx>
            <c:rich>
              <a:bodyPr rot="0" vert="horz"/>
              <a:lstStyle/>
              <a:p>
                <a:pPr>
                  <a:defRPr sz="900"/>
                </a:pPr>
                <a:r>
                  <a:rPr lang="cs-CZ" sz="900" dirty="0" smtClean="0"/>
                  <a:t>MW</a:t>
                </a:r>
              </a:p>
            </c:rich>
          </c:tx>
          <c:layout>
            <c:manualLayout>
              <c:xMode val="edge"/>
              <c:yMode val="edge"/>
              <c:x val="0.95257383966244724"/>
              <c:y val="1.4023175507135425E-2"/>
            </c:manualLayout>
          </c:layout>
          <c:overlay val="0"/>
        </c:title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00"/>
            </a:pPr>
            <a:endParaRPr lang="cs-CZ"/>
          </a:p>
        </c:txPr>
        <c:crossAx val="21968768"/>
        <c:crosses val="max"/>
        <c:crossBetween val="between"/>
      </c:valAx>
      <c:catAx>
        <c:axId val="21968768"/>
        <c:scaling>
          <c:orientation val="minMax"/>
        </c:scaling>
        <c:delete val="1"/>
        <c:axPos val="b"/>
        <c:majorTickMark val="out"/>
        <c:minorTickMark val="none"/>
        <c:tickLblPos val="nextTo"/>
        <c:crossAx val="21966848"/>
        <c:crosses val="autoZero"/>
        <c:auto val="1"/>
        <c:lblAlgn val="ctr"/>
        <c:lblOffset val="100"/>
        <c:noMultiLvlLbl val="0"/>
      </c:catAx>
    </c:plotArea>
    <c:legend>
      <c:legendPos val="l"/>
      <c:layout>
        <c:manualLayout>
          <c:xMode val="edge"/>
          <c:yMode val="edge"/>
          <c:x val="5.9071729957805907E-2"/>
          <c:y val="0.20239699342715675"/>
          <c:w val="0.28589946509850828"/>
          <c:h val="8.65973600530872E-2"/>
        </c:manualLayout>
      </c:layout>
      <c:overlay val="0"/>
      <c:txPr>
        <a:bodyPr/>
        <a:lstStyle/>
        <a:p>
          <a:pPr>
            <a:defRPr sz="1100"/>
          </a:pPr>
          <a:endParaRPr lang="cs-CZ"/>
        </a:p>
      </c:txPr>
    </c:legend>
    <c:plotVisOnly val="1"/>
    <c:dispBlanksAs val="zero"/>
    <c:showDLblsOverMax val="0"/>
  </c:chart>
  <c:txPr>
    <a:bodyPr/>
    <a:lstStyle/>
    <a:p>
      <a:pPr>
        <a:defRPr sz="1800"/>
      </a:pPr>
      <a:endParaRPr lang="cs-CZ"/>
    </a:p>
  </c:txPr>
  <c:externalData r:id="rId1">
    <c:autoUpdate val="0"/>
  </c:externalData>
  <c:userShapes r:id="rId2"/>
</c:chartSpace>
</file>

<file path=ppt/drawings/_rels/vmlDrawing1.v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image" Target="../media/image14.emf"/><Relationship Id="rId1" Type="http://schemas.openxmlformats.org/officeDocument/2006/relationships/image" Target="../media/image1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1348</cdr:x>
      <cdr:y>0.55837</cdr:y>
    </cdr:from>
    <cdr:to>
      <cdr:x>0.43897</cdr:x>
      <cdr:y>0.64523</cdr:y>
    </cdr:to>
    <cdr:sp macro="" textlink="">
      <cdr:nvSpPr>
        <cdr:cNvPr id="2" name="TextovéPole 1"/>
        <cdr:cNvSpPr txBox="1"/>
      </cdr:nvSpPr>
      <cdr:spPr>
        <a:xfrm xmlns:a="http://schemas.openxmlformats.org/drawingml/2006/main">
          <a:off x="1368152" y="1800201"/>
          <a:ext cx="1445101" cy="28002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 rtl="0"/>
          <a:r>
            <a:rPr lang="cs-CZ" sz="1600" b="1" dirty="0" smtClean="0"/>
            <a:t>PV</a:t>
          </a:r>
          <a:r>
            <a:rPr lang="cs-CZ" sz="1600" b="1" baseline="0" dirty="0" smtClean="0"/>
            <a:t> </a:t>
          </a:r>
          <a:r>
            <a:rPr lang="en-US" sz="1600" b="1" dirty="0" smtClean="0"/>
            <a:t>1 727</a:t>
          </a:r>
          <a:r>
            <a:rPr lang="cs-CZ" sz="1600" b="1" dirty="0" smtClean="0"/>
            <a:t> MW</a:t>
          </a:r>
          <a:endParaRPr lang="en-US" sz="1600" b="1" dirty="0" smtClean="0"/>
        </a:p>
        <a:p xmlns:a="http://schemas.openxmlformats.org/drawingml/2006/main">
          <a:endParaRPr lang="cs-CZ" sz="1100" dirty="0"/>
        </a:p>
      </cdr:txBody>
    </cdr:sp>
  </cdr:relSizeAnchor>
  <cdr:relSizeAnchor xmlns:cdr="http://schemas.openxmlformats.org/drawingml/2006/chartDrawing">
    <cdr:from>
      <cdr:x>0.19101</cdr:x>
      <cdr:y>3.10173E-7</cdr:y>
    </cdr:from>
    <cdr:to>
      <cdr:x>0.77528</cdr:x>
      <cdr:y>0.15262</cdr:y>
    </cdr:to>
    <cdr:sp macro="" textlink="">
      <cdr:nvSpPr>
        <cdr:cNvPr id="3" name="TextovéPole 2"/>
        <cdr:cNvSpPr txBox="1"/>
      </cdr:nvSpPr>
      <cdr:spPr>
        <a:xfrm xmlns:a="http://schemas.openxmlformats.org/drawingml/2006/main">
          <a:off x="1224136" y="1"/>
          <a:ext cx="3744415" cy="49206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 rtl="0"/>
          <a:r>
            <a:rPr lang="cs-CZ" sz="2000" b="1" dirty="0" smtClean="0"/>
            <a:t>ČR </a:t>
          </a:r>
          <a:r>
            <a:rPr lang="en-US" sz="2000" b="1" dirty="0" smtClean="0"/>
            <a:t>2010</a:t>
          </a:r>
        </a:p>
        <a:p xmlns:a="http://schemas.openxmlformats.org/drawingml/2006/main">
          <a:endParaRPr lang="cs-CZ" sz="1100" dirty="0"/>
        </a:p>
      </cdr:txBody>
    </cdr:sp>
  </cdr:relSizeAnchor>
  <cdr:relSizeAnchor xmlns:cdr="http://schemas.openxmlformats.org/drawingml/2006/chartDrawing">
    <cdr:from>
      <cdr:x>0.52809</cdr:x>
      <cdr:y>0.73705</cdr:y>
    </cdr:from>
    <cdr:to>
      <cdr:x>0.78652</cdr:x>
      <cdr:y>0.82391</cdr:y>
    </cdr:to>
    <cdr:sp macro="" textlink="">
      <cdr:nvSpPr>
        <cdr:cNvPr id="4" name="TextovéPole 3"/>
        <cdr:cNvSpPr txBox="1"/>
      </cdr:nvSpPr>
      <cdr:spPr>
        <a:xfrm xmlns:a="http://schemas.openxmlformats.org/drawingml/2006/main">
          <a:off x="3384376" y="2376265"/>
          <a:ext cx="1656184" cy="28002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 rtl="0"/>
          <a:r>
            <a:rPr lang="cs-CZ" sz="1600" dirty="0" err="1" smtClean="0"/>
            <a:t>Wind</a:t>
          </a:r>
          <a:r>
            <a:rPr lang="cs-CZ" sz="1600" baseline="0" dirty="0" smtClean="0"/>
            <a:t> </a:t>
          </a:r>
          <a:r>
            <a:rPr lang="en-US" sz="1600" dirty="0" smtClean="0"/>
            <a:t> 213</a:t>
          </a:r>
          <a:r>
            <a:rPr lang="cs-CZ" sz="1600" dirty="0" smtClean="0"/>
            <a:t>  MW</a:t>
          </a:r>
          <a:endParaRPr lang="en-US" sz="1600" dirty="0" smtClean="0"/>
        </a:p>
        <a:p xmlns:a="http://schemas.openxmlformats.org/drawingml/2006/main">
          <a:endParaRPr lang="cs-CZ" sz="1100" dirty="0"/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24881</cdr:x>
      <cdr:y>0.05405</cdr:y>
    </cdr:from>
    <cdr:to>
      <cdr:x>0.47847</cdr:x>
      <cdr:y>0.13625</cdr:y>
    </cdr:to>
    <cdr:sp macro="" textlink="">
      <cdr:nvSpPr>
        <cdr:cNvPr id="2" name="Obdélníkový popisek 1"/>
        <cdr:cNvSpPr/>
      </cdr:nvSpPr>
      <cdr:spPr bwMode="auto">
        <a:xfrm xmlns:a="http://schemas.openxmlformats.org/drawingml/2006/main">
          <a:off x="1872208" y="288032"/>
          <a:ext cx="1728192" cy="437966"/>
        </a:xfrm>
        <a:prstGeom xmlns:a="http://schemas.openxmlformats.org/drawingml/2006/main" prst="wedgeRectCallout">
          <a:avLst>
            <a:gd name="adj1" fmla="val 101092"/>
            <a:gd name="adj2" fmla="val 57031"/>
          </a:avLst>
        </a:prstGeom>
        <a:solidFill xmlns:a="http://schemas.openxmlformats.org/drawingml/2006/main">
          <a:srgbClr val="FFFF00"/>
        </a:solidFill>
        <a:ln xmlns:a="http://schemas.openxmlformats.org/drawingml/2006/main" w="1587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 xmlns:a="http://schemas.openxmlformats.org/drawingml/2006/main"/>
      </cdr:spPr>
      <cdr:txBody>
        <a:bodyPr xmlns:a="http://schemas.openxmlformats.org/drawingml/2006/main" vertOverflow="clip" vert="horz" wrap="square" lIns="91440" tIns="45720" rIns="91440" bIns="45720" numCol="1" anchor="t" anchorCtr="0" compatLnSpc="1">
          <a:prstTxWarp prst="textNoShape">
            <a:avLst/>
          </a:prstTxWarp>
        </a:bodyPr>
        <a:lstStyle xmlns:a="http://schemas.openxmlformats.org/drawingml/2006/main"/>
        <a:p xmlns:a="http://schemas.openxmlformats.org/drawingml/2006/main">
          <a:r>
            <a:rPr lang="cs-CZ" dirty="0" smtClean="0"/>
            <a:t>Maximum 1586 MW 10.4.2011 ve 12:30 hod.</a:t>
          </a:r>
          <a:endParaRPr lang="cs-CZ" dirty="0"/>
        </a:p>
      </cdr:txBody>
    </cdr:sp>
  </cdr:relSizeAnchor>
  <cdr:relSizeAnchor xmlns:cdr="http://schemas.openxmlformats.org/drawingml/2006/chartDrawing">
    <cdr:from>
      <cdr:x>0.51675</cdr:x>
      <cdr:y>0.01351</cdr:y>
    </cdr:from>
    <cdr:to>
      <cdr:x>0.93781</cdr:x>
      <cdr:y>0.05405</cdr:y>
    </cdr:to>
    <cdr:sp macro="" textlink="">
      <cdr:nvSpPr>
        <cdr:cNvPr id="3" name="TextovéPole 2"/>
        <cdr:cNvSpPr txBox="1"/>
      </cdr:nvSpPr>
      <cdr:spPr>
        <a:xfrm xmlns:a="http://schemas.openxmlformats.org/drawingml/2006/main">
          <a:off x="3888432" y="72008"/>
          <a:ext cx="3168352" cy="21602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l-GR" sz="1100" b="1" dirty="0" smtClean="0"/>
            <a:t>Σ</a:t>
          </a:r>
          <a:r>
            <a:rPr lang="cs-CZ" sz="1100" b="1" dirty="0" smtClean="0"/>
            <a:t> výroby FVE za rok 2011 2073 </a:t>
          </a:r>
          <a:r>
            <a:rPr lang="cs-CZ" sz="1100" b="1" dirty="0" err="1" smtClean="0"/>
            <a:t>GWh</a:t>
          </a:r>
          <a:endParaRPr lang="cs-CZ" sz="1100" b="1" dirty="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4301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1843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301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cs-CZ" noProof="0" smtClean="0"/>
              <a:t>Klepnutím lze upravit styly předlohy textu.</a:t>
            </a:r>
          </a:p>
          <a:p>
            <a:pPr lvl="1"/>
            <a:r>
              <a:rPr lang="cs-CZ" noProof="0" smtClean="0"/>
              <a:t>Druhá úroveň</a:t>
            </a:r>
          </a:p>
          <a:p>
            <a:pPr lvl="2"/>
            <a:r>
              <a:rPr lang="cs-CZ" noProof="0" smtClean="0"/>
              <a:t>Třetí úroveň</a:t>
            </a:r>
          </a:p>
          <a:p>
            <a:pPr lvl="3"/>
            <a:r>
              <a:rPr lang="cs-CZ" noProof="0" smtClean="0"/>
              <a:t>Čtvrtá úroveň</a:t>
            </a:r>
          </a:p>
          <a:p>
            <a:pPr lvl="4"/>
            <a:r>
              <a:rPr lang="cs-CZ" noProof="0" smtClean="0"/>
              <a:t>Pátá úroveň</a:t>
            </a:r>
          </a:p>
        </p:txBody>
      </p:sp>
      <p:sp>
        <p:nvSpPr>
          <p:cNvPr id="4301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4301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48947217-B646-4567-83D1-26FCFB73C9D8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2552822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>
          <a:xfrm>
            <a:off x="1700213" y="107950"/>
            <a:ext cx="3903662" cy="2927350"/>
          </a:xfrm>
        </p:spPr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fld id="{7C461F3A-F1FC-4F97-AEAD-34FF678E9B90}" type="slidenum">
              <a:rPr lang="cs-CZ" smtClean="0"/>
              <a:pPr/>
              <a:t>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544837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>
          <a:xfrm>
            <a:off x="1700213" y="107950"/>
            <a:ext cx="3903662" cy="2927350"/>
          </a:xfrm>
        </p:spPr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>
            <a:noAutofit/>
          </a:bodyPr>
          <a:lstStyle/>
          <a:p>
            <a:r>
              <a:rPr lang="en-US" sz="1800" dirty="0" smtClean="0"/>
              <a:t>After disaster in Japan in March  and nuclear catastrophe  in Fukushima Nuclear power plant Germany announced a 3-months lasting Moratorium for 7+1 older Nuclear Power Plants .</a:t>
            </a:r>
          </a:p>
          <a:p>
            <a:r>
              <a:rPr lang="en-US" sz="1800" dirty="0" smtClean="0"/>
              <a:t> Before the end of the Moratorium in June the permanent decommission of all 7+1 NPPs was decided.</a:t>
            </a:r>
          </a:p>
          <a:p>
            <a:r>
              <a:rPr lang="en-US" sz="1800" dirty="0" smtClean="0"/>
              <a:t>In June the German Politics also has decided the complete and stepwise Nuclear Phase-Out of Germany. 9 remaining NPPs with installed power 12 GW are affected by this decision.</a:t>
            </a:r>
          </a:p>
          <a:p>
            <a:r>
              <a:rPr lang="en-US" sz="1800" dirty="0" smtClean="0"/>
              <a:t>The Phase-Out will be finished in 2022 will run according to.</a:t>
            </a:r>
          </a:p>
          <a:p>
            <a:r>
              <a:rPr lang="en-US" sz="1800" dirty="0" smtClean="0"/>
              <a:t>Of course it is a big challenges for secure operation of the German Transmission Grid:</a:t>
            </a:r>
          </a:p>
          <a:p>
            <a:r>
              <a:rPr lang="en-US" sz="1800" dirty="0" smtClean="0"/>
              <a:t> </a:t>
            </a:r>
            <a:r>
              <a:rPr lang="en-US" sz="1800" b="1" dirty="0" smtClean="0"/>
              <a:t>To ensure a secure transmission </a:t>
            </a:r>
            <a:r>
              <a:rPr lang="en-US" sz="1800" dirty="0" smtClean="0"/>
              <a:t>from North to South especially in times of high Wind</a:t>
            </a:r>
          </a:p>
          <a:p>
            <a:r>
              <a:rPr lang="en-US" sz="1800" dirty="0" smtClean="0"/>
              <a:t>generation  in Northern part</a:t>
            </a:r>
          </a:p>
          <a:p>
            <a:r>
              <a:rPr lang="en-US" sz="1800" dirty="0" smtClean="0"/>
              <a:t> </a:t>
            </a:r>
            <a:r>
              <a:rPr lang="en-US" sz="1800" b="1" dirty="0" smtClean="0"/>
              <a:t>To maintain the voltage stability – </a:t>
            </a:r>
            <a:r>
              <a:rPr lang="en-US" sz="1800" dirty="0" smtClean="0"/>
              <a:t>substantial Reactive Power production are lost from NPP…</a:t>
            </a:r>
          </a:p>
          <a:p>
            <a:r>
              <a:rPr lang="en-US" sz="1800" dirty="0" smtClean="0"/>
              <a:t> </a:t>
            </a:r>
            <a:r>
              <a:rPr lang="en-US" sz="1800" b="1" dirty="0" smtClean="0"/>
              <a:t>Maintain of the Load/Generation Balance :</a:t>
            </a:r>
            <a:r>
              <a:rPr lang="en-US" sz="1800" dirty="0" smtClean="0"/>
              <a:t> Interesting remark: this task was not in responsibility of the German TSOs in the past, but now it is according to the new German Energy Act from August 2011</a:t>
            </a:r>
          </a:p>
        </p:txBody>
      </p:sp>
    </p:spTree>
    <p:extLst>
      <p:ext uri="{BB962C8B-B14F-4D97-AF65-F5344CB8AC3E}">
        <p14:creationId xmlns:p14="http://schemas.microsoft.com/office/powerpoint/2010/main" val="248085617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2771" name="Notizenplatzhalt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de-DE" smtClean="0"/>
          </a:p>
        </p:txBody>
      </p:sp>
      <p:sp>
        <p:nvSpPr>
          <p:cNvPr id="32772" name="Foliennummernplatzhalt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873391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685817" indent="-263776" defTabSz="873391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055103" indent="-211021" defTabSz="873391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477145" indent="-211021" defTabSz="873391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1899186" indent="-211021" defTabSz="873391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321227" indent="-211021" defTabSz="87339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743269" indent="-211021" defTabSz="87339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165310" indent="-211021" defTabSz="87339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587351" indent="-211021" defTabSz="87339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77B648B2-A448-4263-8126-1CEC2549C1D7}" type="slidenum">
              <a:rPr lang="en-US" smtClean="0"/>
              <a:pPr eaLnBrk="1" hangingPunct="1"/>
              <a:t>10</a:t>
            </a:fld>
            <a:endParaRPr lang="en-US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fld id="{7C461F3A-F1FC-4F97-AEAD-34FF678E9B90}" type="slidenum">
              <a:rPr lang="cs-CZ" smtClean="0"/>
              <a:pPr/>
              <a:t>1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5568630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5059" name="Notizenplatzhalt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de-DE" smtClean="0"/>
          </a:p>
        </p:txBody>
      </p:sp>
      <p:sp>
        <p:nvSpPr>
          <p:cNvPr id="45060" name="Foliennummernplatzhalt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873391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685817" indent="-263776" defTabSz="873391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055103" indent="-211021" defTabSz="873391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477145" indent="-211021" defTabSz="873391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1899186" indent="-211021" defTabSz="873391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321227" indent="-211021" defTabSz="87339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743269" indent="-211021" defTabSz="87339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165310" indent="-211021" defTabSz="87339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587351" indent="-211021" defTabSz="87339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491D83B4-87F1-465E-86C7-416422A946D6}" type="slidenum">
              <a:rPr lang="en-US" smtClean="0"/>
              <a:pPr eaLnBrk="1" hangingPunct="1"/>
              <a:t>13</a:t>
            </a:fld>
            <a:endParaRPr lang="en-US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5059" name="Notizenplatzhalt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de-DE" smtClean="0"/>
          </a:p>
        </p:txBody>
      </p:sp>
      <p:sp>
        <p:nvSpPr>
          <p:cNvPr id="45060" name="Foliennummernplatzhalt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873391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685817" indent="-263776" defTabSz="873391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055103" indent="-211021" defTabSz="873391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477145" indent="-211021" defTabSz="873391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1899186" indent="-211021" defTabSz="873391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321227" indent="-211021" defTabSz="87339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743269" indent="-211021" defTabSz="87339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165310" indent="-211021" defTabSz="87339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587351" indent="-211021" defTabSz="87339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491D83B4-87F1-465E-86C7-416422A946D6}" type="slidenum">
              <a:rPr lang="en-US" smtClean="0"/>
              <a:pPr eaLnBrk="1" hangingPunct="1"/>
              <a:t>14</a:t>
            </a:fld>
            <a:endParaRPr lang="en-US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cs-CZ" smtClean="0"/>
              <a:t>Klepnutím lze upravit styl předlohy podnadpisů.</a:t>
            </a:r>
            <a:endParaRPr lang="cs-CZ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/>
          <p:cNvSpPr>
            <a:spLocks noGrp="1"/>
          </p:cNvSpPr>
          <p:nvPr>
            <p:ph type="title" orient="vert"/>
          </p:nvPr>
        </p:nvSpPr>
        <p:spPr>
          <a:xfrm>
            <a:off x="5689600" y="260350"/>
            <a:ext cx="1835150" cy="6264275"/>
          </a:xfrm>
        </p:spPr>
        <p:txBody>
          <a:bodyPr vert="eaVert"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>
          <a:xfrm>
            <a:off x="179388" y="260350"/>
            <a:ext cx="5357812" cy="6264275"/>
          </a:xfrm>
        </p:spPr>
        <p:txBody>
          <a:bodyPr vert="eaVert"/>
          <a:lstStyle/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Nadpis a gra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79388" y="260350"/>
            <a:ext cx="7345362" cy="1143000"/>
          </a:xfrm>
        </p:spPr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graf 2"/>
          <p:cNvSpPr>
            <a:spLocks noGrp="1"/>
          </p:cNvSpPr>
          <p:nvPr>
            <p:ph type="chart" idx="1"/>
          </p:nvPr>
        </p:nvSpPr>
        <p:spPr>
          <a:xfrm>
            <a:off x="179388" y="1628775"/>
            <a:ext cx="7345362" cy="4895850"/>
          </a:xfrm>
        </p:spPr>
        <p:txBody>
          <a:bodyPr/>
          <a:lstStyle/>
          <a:p>
            <a:pPr lvl="0"/>
            <a:endParaRPr lang="cs-CZ" noProof="0"/>
          </a:p>
        </p:txBody>
      </p:sp>
    </p:spTree>
    <p:extLst>
      <p:ext uri="{BB962C8B-B14F-4D97-AF65-F5344CB8AC3E}">
        <p14:creationId xmlns:p14="http://schemas.microsoft.com/office/powerpoint/2010/main" val="3296565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sz="half" idx="1"/>
          </p:nvPr>
        </p:nvSpPr>
        <p:spPr>
          <a:xfrm>
            <a:off x="179388" y="1628775"/>
            <a:ext cx="3595687" cy="48958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3927475" y="1628775"/>
            <a:ext cx="3597275" cy="48958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5" name="Zástupný symbol pro text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  <p:sp>
        <p:nvSpPr>
          <p:cNvPr id="6" name="Zástupný symbol pro obsah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obrázek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cs-CZ" noProof="0" smtClean="0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79388" y="260350"/>
            <a:ext cx="7345362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cs-CZ" smtClean="0"/>
              <a:t>Klepnutím lze upravit styl předlohy nadpisů.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79388" y="1628775"/>
            <a:ext cx="7345362" cy="4895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2" r:id="rId3"/>
    <p:sldLayoutId id="2147483653" r:id="rId4"/>
    <p:sldLayoutId id="2147483654" r:id="rId5"/>
    <p:sldLayoutId id="2147483655" r:id="rId6"/>
    <p:sldLayoutId id="2147483656" r:id="rId7"/>
    <p:sldLayoutId id="2147483657" r:id="rId8"/>
    <p:sldLayoutId id="2147483658" r:id="rId9"/>
    <p:sldLayoutId id="2147483659" r:id="rId10"/>
    <p:sldLayoutId id="2147483660" r:id="rId11"/>
    <p:sldLayoutId id="2147483661" r:id="rId12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C0C0C0"/>
        </a:buClr>
        <a:buFont typeface="Wingdings" pitchFamily="2" charset="2"/>
        <a:buChar char="§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C0C0C0"/>
        </a:buClr>
        <a:buFont typeface="Arial" charset="0"/>
        <a:buChar char="–"/>
        <a:defRPr sz="22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emf"/><Relationship Id="rId13" Type="http://schemas.openxmlformats.org/officeDocument/2006/relationships/oleObject" Target="../embeddings/oleObject5.bin"/><Relationship Id="rId3" Type="http://schemas.openxmlformats.org/officeDocument/2006/relationships/slideLayout" Target="../slideLayouts/slideLayout6.xml"/><Relationship Id="rId7" Type="http://schemas.openxmlformats.org/officeDocument/2006/relationships/oleObject" Target="../embeddings/oleObject1.bin"/><Relationship Id="rId12" Type="http://schemas.openxmlformats.org/officeDocument/2006/relationships/oleObject" Target="../embeddings/oleObject4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5.png"/><Relationship Id="rId11" Type="http://schemas.openxmlformats.org/officeDocument/2006/relationships/oleObject" Target="../embeddings/oleObject3.bin"/><Relationship Id="rId5" Type="http://schemas.openxmlformats.org/officeDocument/2006/relationships/image" Target="../media/image10.emf"/><Relationship Id="rId15" Type="http://schemas.openxmlformats.org/officeDocument/2006/relationships/oleObject" Target="../embeddings/oleObject7.bin"/><Relationship Id="rId10" Type="http://schemas.openxmlformats.org/officeDocument/2006/relationships/image" Target="../media/image14.emf"/><Relationship Id="rId4" Type="http://schemas.openxmlformats.org/officeDocument/2006/relationships/notesSlide" Target="../notesSlides/notesSlide5.xml"/><Relationship Id="rId9" Type="http://schemas.openxmlformats.org/officeDocument/2006/relationships/oleObject" Target="../embeddings/oleObject2.bin"/><Relationship Id="rId14" Type="http://schemas.openxmlformats.org/officeDocument/2006/relationships/oleObject" Target="../embeddings/oleObject6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6.png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mailto:belyus@ceps.cz" TargetMode="External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214438" y="2214563"/>
            <a:ext cx="7272337" cy="1470025"/>
          </a:xfrm>
        </p:spPr>
        <p:txBody>
          <a:bodyPr/>
          <a:lstStyle/>
          <a:p>
            <a:pPr algn="ctr" eaLnBrk="1" hangingPunct="1"/>
            <a:r>
              <a:rPr lang="cs-CZ" dirty="0" smtClean="0">
                <a:solidFill>
                  <a:schemeClr val="tx1"/>
                </a:solidFill>
              </a:rPr>
              <a:t>Inteligentní </a:t>
            </a:r>
            <a:r>
              <a:rPr lang="cs-CZ" dirty="0" smtClean="0"/>
              <a:t>přenosová soustava</a:t>
            </a:r>
            <a:br>
              <a:rPr lang="cs-CZ" dirty="0" smtClean="0"/>
            </a:br>
            <a:r>
              <a:rPr lang="cs-CZ" sz="1600" dirty="0" smtClean="0"/>
              <a:t/>
            </a:r>
            <a:br>
              <a:rPr lang="cs-CZ" sz="1600" dirty="0" smtClean="0"/>
            </a:br>
            <a:r>
              <a:rPr lang="cs-CZ" dirty="0" smtClean="0"/>
              <a:t/>
            </a:r>
            <a:br>
              <a:rPr lang="cs-CZ" dirty="0" smtClean="0"/>
            </a:br>
            <a:endParaRPr lang="cs-CZ" dirty="0" smtClean="0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39552" y="4293096"/>
            <a:ext cx="8208912" cy="1752600"/>
          </a:xfrm>
        </p:spPr>
        <p:txBody>
          <a:bodyPr/>
          <a:lstStyle/>
          <a:p>
            <a:pPr lvl="3" algn="l"/>
            <a:r>
              <a:rPr lang="cs-CZ" sz="1600" b="1" dirty="0" smtClean="0"/>
              <a:t>Marián Belyuš				18. dubna 2012</a:t>
            </a:r>
          </a:p>
          <a:p>
            <a:pPr lvl="3" algn="l"/>
            <a:r>
              <a:rPr lang="cs-CZ" sz="1600" b="1" dirty="0" smtClean="0"/>
              <a:t>R</a:t>
            </a:r>
            <a:r>
              <a:rPr lang="en-US" sz="1600" b="1" dirty="0" smtClean="0"/>
              <a:t>&amp;</a:t>
            </a:r>
            <a:r>
              <a:rPr lang="cs-CZ" sz="1600" b="1" dirty="0" smtClean="0"/>
              <a:t>D					    </a:t>
            </a:r>
            <a:r>
              <a:rPr lang="cs-CZ" sz="1600" dirty="0" smtClean="0"/>
              <a:t>Konference </a:t>
            </a:r>
            <a:r>
              <a:rPr lang="cs-CZ" sz="1600" dirty="0"/>
              <a:t>ČEZ měření </a:t>
            </a:r>
            <a:endParaRPr lang="cs-CZ" sz="1600" b="1" dirty="0" smtClean="0"/>
          </a:p>
          <a:p>
            <a:pPr lvl="3" algn="l"/>
            <a:r>
              <a:rPr lang="cs-CZ" sz="1600" b="1" dirty="0" smtClean="0"/>
              <a:t>ČEPS, a.s.</a:t>
            </a:r>
            <a:endParaRPr lang="cs-CZ" sz="16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6"/>
          <p:cNvSpPr>
            <a:spLocks noGrp="1" noChangeArrowheads="1"/>
          </p:cNvSpPr>
          <p:nvPr>
            <p:ph type="sldNum" sz="quarter" idx="4294967295"/>
          </p:nvPr>
        </p:nvSpPr>
        <p:spPr>
          <a:xfrm>
            <a:off x="6626225" y="6535738"/>
            <a:ext cx="1828800" cy="2286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de-DE" dirty="0" smtClean="0">
              <a:latin typeface="Verdana" pitchFamily="34" charset="0"/>
            </a:endParaRPr>
          </a:p>
        </p:txBody>
      </p:sp>
      <p:sp>
        <p:nvSpPr>
          <p:cNvPr id="7171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179388" y="260350"/>
            <a:ext cx="7345362" cy="1392238"/>
          </a:xfrm>
        </p:spPr>
        <p:txBody>
          <a:bodyPr/>
          <a:lstStyle/>
          <a:p>
            <a:pPr eaLnBrk="1" hangingPunct="1"/>
            <a:r>
              <a:rPr lang="cs-CZ" dirty="0" smtClean="0">
                <a:latin typeface="Verdana" pitchFamily="34" charset="0"/>
              </a:rPr>
              <a:t> TSC - </a:t>
            </a:r>
            <a:r>
              <a:rPr lang="cs-CZ" sz="2400" dirty="0" smtClean="0">
                <a:solidFill>
                  <a:schemeClr val="tx1"/>
                </a:solidFill>
                <a:latin typeface="Verdana" pitchFamily="34" charset="0"/>
              </a:rPr>
              <a:t>společná kontrola bezpečnosti provozu PS v regionu, koordinace</a:t>
            </a:r>
            <a:br>
              <a:rPr lang="cs-CZ" sz="2400" dirty="0" smtClean="0">
                <a:solidFill>
                  <a:schemeClr val="tx1"/>
                </a:solidFill>
                <a:latin typeface="Verdana" pitchFamily="34" charset="0"/>
              </a:rPr>
            </a:br>
            <a:r>
              <a:rPr lang="cs-CZ" sz="2400" dirty="0" smtClean="0">
                <a:solidFill>
                  <a:schemeClr val="tx1"/>
                </a:solidFill>
                <a:latin typeface="Verdana" pitchFamily="34" charset="0"/>
              </a:rPr>
              <a:t>nápravných opatření </a:t>
            </a:r>
            <a:endParaRPr lang="en-US" dirty="0" smtClean="0">
              <a:solidFill>
                <a:schemeClr val="tx1"/>
              </a:solidFill>
              <a:latin typeface="Verdana" pitchFamily="34" charset="0"/>
            </a:endParaRPr>
          </a:p>
        </p:txBody>
      </p:sp>
      <p:sp>
        <p:nvSpPr>
          <p:cNvPr id="7172" name="Rectangle 4"/>
          <p:cNvSpPr txBox="1">
            <a:spLocks noChangeArrowheads="1"/>
          </p:cNvSpPr>
          <p:nvPr/>
        </p:nvSpPr>
        <p:spPr bwMode="auto">
          <a:xfrm>
            <a:off x="339725" y="2062163"/>
            <a:ext cx="3656013" cy="4138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342900" indent="-34290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285750" indent="-282575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lvl="2" eaLnBrk="1" hangingPunct="1">
              <a:lnSpc>
                <a:spcPts val="2000"/>
              </a:lnSpc>
              <a:buClr>
                <a:schemeClr val="tx2"/>
              </a:buClr>
              <a:buSzPct val="120000"/>
              <a:buFont typeface="Verdana" pitchFamily="34" charset="0"/>
              <a:buChar char="•"/>
            </a:pPr>
            <a:r>
              <a:rPr lang="en-US" sz="1400" dirty="0">
                <a:latin typeface="Verdana" pitchFamily="34" charset="0"/>
              </a:rPr>
              <a:t>50Hertz Transmission (Germany)</a:t>
            </a:r>
          </a:p>
          <a:p>
            <a:pPr lvl="2" eaLnBrk="1" hangingPunct="1">
              <a:lnSpc>
                <a:spcPts val="2000"/>
              </a:lnSpc>
              <a:buClr>
                <a:schemeClr val="tx2"/>
              </a:buClr>
              <a:buSzPct val="120000"/>
              <a:buFont typeface="Verdana" pitchFamily="34" charset="0"/>
              <a:buChar char="•"/>
            </a:pPr>
            <a:r>
              <a:rPr lang="en-US" sz="1400" dirty="0" err="1">
                <a:latin typeface="Verdana" pitchFamily="34" charset="0"/>
              </a:rPr>
              <a:t>Amprion</a:t>
            </a:r>
            <a:r>
              <a:rPr lang="en-US" sz="1400" dirty="0">
                <a:latin typeface="Verdana" pitchFamily="34" charset="0"/>
              </a:rPr>
              <a:t> (Germany)</a:t>
            </a:r>
          </a:p>
          <a:p>
            <a:pPr lvl="2" eaLnBrk="1" hangingPunct="1">
              <a:lnSpc>
                <a:spcPts val="2000"/>
              </a:lnSpc>
              <a:buClr>
                <a:schemeClr val="tx2"/>
              </a:buClr>
              <a:buSzPct val="120000"/>
              <a:buFont typeface="Verdana" pitchFamily="34" charset="0"/>
              <a:buChar char="•"/>
            </a:pPr>
            <a:r>
              <a:rPr lang="en-US" sz="1400" dirty="0">
                <a:latin typeface="Verdana" pitchFamily="34" charset="0"/>
              </a:rPr>
              <a:t>APG (Austria)</a:t>
            </a:r>
          </a:p>
          <a:p>
            <a:pPr lvl="2" eaLnBrk="1" hangingPunct="1">
              <a:lnSpc>
                <a:spcPts val="2000"/>
              </a:lnSpc>
              <a:buClr>
                <a:schemeClr val="tx2"/>
              </a:buClr>
              <a:buSzPct val="120000"/>
              <a:buFont typeface="Verdana" pitchFamily="34" charset="0"/>
              <a:buChar char="•"/>
            </a:pPr>
            <a:r>
              <a:rPr lang="en-US" sz="1400" dirty="0">
                <a:latin typeface="Verdana" pitchFamily="34" charset="0"/>
              </a:rPr>
              <a:t>ČEPS (</a:t>
            </a:r>
            <a:r>
              <a:rPr lang="cs-CZ" sz="1400" dirty="0">
                <a:latin typeface="Verdana" pitchFamily="34" charset="0"/>
              </a:rPr>
              <a:t>Česká</a:t>
            </a:r>
            <a:r>
              <a:rPr lang="en-US" sz="1400" dirty="0">
                <a:latin typeface="Verdana" pitchFamily="34" charset="0"/>
              </a:rPr>
              <a:t> </a:t>
            </a:r>
            <a:r>
              <a:rPr lang="en-US" sz="1400" dirty="0" err="1">
                <a:latin typeface="Verdana" pitchFamily="34" charset="0"/>
              </a:rPr>
              <a:t>Republi</a:t>
            </a:r>
            <a:r>
              <a:rPr lang="cs-CZ" sz="1400" dirty="0" err="1">
                <a:latin typeface="Verdana" pitchFamily="34" charset="0"/>
              </a:rPr>
              <a:t>ka</a:t>
            </a:r>
            <a:r>
              <a:rPr lang="en-US" sz="1400" dirty="0">
                <a:latin typeface="Verdana" pitchFamily="34" charset="0"/>
              </a:rPr>
              <a:t>)</a:t>
            </a:r>
          </a:p>
          <a:p>
            <a:pPr lvl="2" eaLnBrk="1" hangingPunct="1">
              <a:lnSpc>
                <a:spcPts val="2000"/>
              </a:lnSpc>
              <a:buClr>
                <a:schemeClr val="tx2"/>
              </a:buClr>
              <a:buSzPct val="120000"/>
              <a:buFont typeface="Verdana" pitchFamily="34" charset="0"/>
              <a:buChar char="•"/>
            </a:pPr>
            <a:r>
              <a:rPr lang="en-US" sz="1400" dirty="0">
                <a:latin typeface="Verdana" pitchFamily="34" charset="0"/>
              </a:rPr>
              <a:t>ELES (Slovenia )</a:t>
            </a:r>
          </a:p>
          <a:p>
            <a:pPr lvl="2" eaLnBrk="1" hangingPunct="1">
              <a:lnSpc>
                <a:spcPts val="2000"/>
              </a:lnSpc>
              <a:buClr>
                <a:schemeClr val="tx2"/>
              </a:buClr>
              <a:buSzPct val="120000"/>
              <a:buFont typeface="Verdana" pitchFamily="34" charset="0"/>
              <a:buChar char="•"/>
            </a:pPr>
            <a:r>
              <a:rPr lang="en-US" sz="1400" dirty="0" err="1">
                <a:latin typeface="Verdana" pitchFamily="34" charset="0"/>
              </a:rPr>
              <a:t>EnBW</a:t>
            </a:r>
            <a:r>
              <a:rPr lang="en-US" sz="1400" dirty="0">
                <a:latin typeface="Verdana" pitchFamily="34" charset="0"/>
              </a:rPr>
              <a:t> </a:t>
            </a:r>
            <a:r>
              <a:rPr lang="en-US" sz="1400" dirty="0" err="1">
                <a:latin typeface="Verdana" pitchFamily="34" charset="0"/>
              </a:rPr>
              <a:t>Transportnetze</a:t>
            </a:r>
            <a:r>
              <a:rPr lang="en-US" sz="1400" dirty="0">
                <a:latin typeface="Verdana" pitchFamily="34" charset="0"/>
              </a:rPr>
              <a:t> (Germany)</a:t>
            </a:r>
          </a:p>
          <a:p>
            <a:pPr lvl="2" eaLnBrk="1" hangingPunct="1">
              <a:lnSpc>
                <a:spcPts val="2000"/>
              </a:lnSpc>
              <a:buClr>
                <a:schemeClr val="tx2"/>
              </a:buClr>
              <a:buSzPct val="120000"/>
              <a:buFont typeface="Verdana" pitchFamily="34" charset="0"/>
              <a:buChar char="•"/>
            </a:pPr>
            <a:r>
              <a:rPr lang="en-US" sz="1400" dirty="0">
                <a:latin typeface="Verdana" pitchFamily="34" charset="0"/>
              </a:rPr>
              <a:t>PSE Operator (Poland)</a:t>
            </a:r>
          </a:p>
          <a:p>
            <a:pPr lvl="2" eaLnBrk="1" hangingPunct="1">
              <a:lnSpc>
                <a:spcPts val="2000"/>
              </a:lnSpc>
              <a:buClr>
                <a:schemeClr val="tx2"/>
              </a:buClr>
              <a:buSzPct val="120000"/>
              <a:buFont typeface="Verdana" pitchFamily="34" charset="0"/>
              <a:buChar char="•"/>
            </a:pPr>
            <a:r>
              <a:rPr lang="en-US" sz="1400" dirty="0" err="1">
                <a:latin typeface="Verdana" pitchFamily="34" charset="0"/>
              </a:rPr>
              <a:t>swissgrid</a:t>
            </a:r>
            <a:r>
              <a:rPr lang="en-US" sz="1400" dirty="0">
                <a:latin typeface="Verdana" pitchFamily="34" charset="0"/>
              </a:rPr>
              <a:t> (Switzerland)</a:t>
            </a:r>
          </a:p>
          <a:p>
            <a:pPr lvl="2" eaLnBrk="1" hangingPunct="1">
              <a:lnSpc>
                <a:spcPts val="2000"/>
              </a:lnSpc>
              <a:buClr>
                <a:schemeClr val="tx2"/>
              </a:buClr>
              <a:buSzPct val="120000"/>
              <a:buFont typeface="Verdana" pitchFamily="34" charset="0"/>
              <a:buChar char="•"/>
            </a:pPr>
            <a:r>
              <a:rPr lang="en-US" sz="1400" dirty="0" err="1">
                <a:latin typeface="Verdana" pitchFamily="34" charset="0"/>
              </a:rPr>
              <a:t>TenneT</a:t>
            </a:r>
            <a:r>
              <a:rPr lang="en-US" sz="1400" dirty="0">
                <a:latin typeface="Verdana" pitchFamily="34" charset="0"/>
              </a:rPr>
              <a:t> TSO (Netherlands)</a:t>
            </a:r>
          </a:p>
          <a:p>
            <a:pPr lvl="2" eaLnBrk="1" hangingPunct="1">
              <a:lnSpc>
                <a:spcPts val="2000"/>
              </a:lnSpc>
              <a:buClr>
                <a:schemeClr val="tx2"/>
              </a:buClr>
              <a:buSzPct val="120000"/>
              <a:buFont typeface="Verdana" pitchFamily="34" charset="0"/>
              <a:buChar char="•"/>
            </a:pPr>
            <a:r>
              <a:rPr lang="en-US" sz="1400" dirty="0" err="1">
                <a:latin typeface="Verdana" pitchFamily="34" charset="0"/>
              </a:rPr>
              <a:t>TenneT</a:t>
            </a:r>
            <a:r>
              <a:rPr lang="en-US" sz="1400" dirty="0">
                <a:latin typeface="Verdana" pitchFamily="34" charset="0"/>
              </a:rPr>
              <a:t> TSO (Germany)</a:t>
            </a:r>
          </a:p>
          <a:p>
            <a:pPr lvl="2" eaLnBrk="1" hangingPunct="1">
              <a:lnSpc>
                <a:spcPts val="2000"/>
              </a:lnSpc>
              <a:buClr>
                <a:schemeClr val="tx2"/>
              </a:buClr>
              <a:buSzPct val="120000"/>
              <a:buFont typeface="Verdana" pitchFamily="34" charset="0"/>
              <a:buChar char="•"/>
            </a:pPr>
            <a:r>
              <a:rPr lang="en-US" sz="1400" dirty="0">
                <a:latin typeface="Verdana" pitchFamily="34" charset="0"/>
              </a:rPr>
              <a:t>VKW-</a:t>
            </a:r>
            <a:r>
              <a:rPr lang="en-US" sz="1400" dirty="0" err="1">
                <a:latin typeface="Verdana" pitchFamily="34" charset="0"/>
              </a:rPr>
              <a:t>Netz</a:t>
            </a:r>
            <a:r>
              <a:rPr lang="en-US" sz="1400" dirty="0">
                <a:latin typeface="Verdana" pitchFamily="34" charset="0"/>
              </a:rPr>
              <a:t> (Austria)</a:t>
            </a:r>
            <a:endParaRPr lang="cs-CZ" sz="1400" dirty="0">
              <a:latin typeface="Verdana" pitchFamily="34" charset="0"/>
            </a:endParaRPr>
          </a:p>
          <a:p>
            <a:pPr lvl="2" eaLnBrk="1" hangingPunct="1">
              <a:lnSpc>
                <a:spcPts val="2000"/>
              </a:lnSpc>
              <a:buClr>
                <a:schemeClr val="tx2"/>
              </a:buClr>
              <a:buSzPct val="120000"/>
              <a:buFont typeface="Verdana" pitchFamily="34" charset="0"/>
              <a:buChar char="•"/>
            </a:pPr>
            <a:r>
              <a:rPr lang="cs-CZ" sz="1400" dirty="0">
                <a:latin typeface="Verdana" pitchFamily="34" charset="0"/>
              </a:rPr>
              <a:t>HEP (Chorvatsko</a:t>
            </a:r>
            <a:r>
              <a:rPr lang="cs-CZ" sz="1400" dirty="0" smtClean="0">
                <a:latin typeface="Verdana" pitchFamily="34" charset="0"/>
              </a:rPr>
              <a:t>)</a:t>
            </a:r>
            <a:endParaRPr lang="en-US" sz="1400" i="1" dirty="0">
              <a:latin typeface="Verdana" pitchFamily="34" charset="0"/>
            </a:endParaRPr>
          </a:p>
          <a:p>
            <a:pPr lvl="2" eaLnBrk="1" hangingPunct="1">
              <a:lnSpc>
                <a:spcPts val="2000"/>
              </a:lnSpc>
              <a:buClr>
                <a:schemeClr val="tx2"/>
              </a:buClr>
              <a:buSzPct val="120000"/>
              <a:buFont typeface="Verdana" pitchFamily="34" charset="0"/>
              <a:buChar char="•"/>
            </a:pPr>
            <a:endParaRPr lang="cs-CZ" sz="1400" dirty="0">
              <a:latin typeface="Verdana" pitchFamily="34" charset="0"/>
            </a:endParaRPr>
          </a:p>
          <a:p>
            <a:pPr lvl="2" eaLnBrk="1" hangingPunct="1">
              <a:lnSpc>
                <a:spcPts val="2000"/>
              </a:lnSpc>
              <a:buClr>
                <a:schemeClr val="tx2"/>
              </a:buClr>
              <a:buSzPct val="120000"/>
              <a:buFont typeface="Verdana" pitchFamily="34" charset="0"/>
              <a:buChar char="•"/>
            </a:pPr>
            <a:r>
              <a:rPr lang="cs-CZ" sz="1400" dirty="0">
                <a:latin typeface="Verdana" pitchFamily="34" charset="0"/>
              </a:rPr>
              <a:t>MAVIR (Maďarsko</a:t>
            </a:r>
            <a:r>
              <a:rPr lang="cs-CZ" sz="1400" dirty="0" smtClean="0">
                <a:latin typeface="Verdana" pitchFamily="34" charset="0"/>
              </a:rPr>
              <a:t>)</a:t>
            </a:r>
            <a:endParaRPr lang="cs-CZ" sz="1400" dirty="0">
              <a:latin typeface="Verdana" pitchFamily="34" charset="0"/>
            </a:endParaRPr>
          </a:p>
        </p:txBody>
      </p:sp>
      <p:sp>
        <p:nvSpPr>
          <p:cNvPr id="7173" name="Rectangle 8"/>
          <p:cNvSpPr>
            <a:spLocks noChangeArrowheads="1"/>
          </p:cNvSpPr>
          <p:nvPr/>
        </p:nvSpPr>
        <p:spPr bwMode="auto">
          <a:xfrm>
            <a:off x="2788443" y="5164660"/>
            <a:ext cx="7769225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marL="1588" lvl="1">
              <a:lnSpc>
                <a:spcPts val="2200"/>
              </a:lnSpc>
            </a:pPr>
            <a:r>
              <a:rPr lang="cs-CZ" sz="1400" b="1" dirty="0">
                <a:solidFill>
                  <a:srgbClr val="003E66"/>
                </a:solidFill>
                <a:latin typeface="Verdana" pitchFamily="34" charset="0"/>
              </a:rPr>
              <a:t>Iniciativa zahrnuje území s více než </a:t>
            </a:r>
            <a:r>
              <a:rPr lang="de-DE" sz="1400" b="1" dirty="0">
                <a:solidFill>
                  <a:srgbClr val="003E66"/>
                </a:solidFill>
                <a:latin typeface="Verdana" pitchFamily="34" charset="0"/>
              </a:rPr>
              <a:t>165 </a:t>
            </a:r>
            <a:r>
              <a:rPr lang="de-DE" sz="1400" b="1" dirty="0" err="1">
                <a:solidFill>
                  <a:srgbClr val="003E66"/>
                </a:solidFill>
                <a:latin typeface="Verdana" pitchFamily="34" charset="0"/>
              </a:rPr>
              <a:t>mili</a:t>
            </a:r>
            <a:r>
              <a:rPr lang="cs-CZ" sz="1400" b="1" dirty="0">
                <a:solidFill>
                  <a:srgbClr val="003E66"/>
                </a:solidFill>
                <a:latin typeface="Verdana" pitchFamily="34" charset="0"/>
              </a:rPr>
              <a:t>ó</a:t>
            </a:r>
            <a:r>
              <a:rPr lang="de-DE" sz="1400" b="1" dirty="0">
                <a:solidFill>
                  <a:srgbClr val="003E66"/>
                </a:solidFill>
                <a:latin typeface="Verdana" pitchFamily="34" charset="0"/>
              </a:rPr>
              <a:t>n</a:t>
            </a:r>
            <a:r>
              <a:rPr lang="cs-CZ" sz="1400" b="1" dirty="0">
                <a:solidFill>
                  <a:srgbClr val="003E66"/>
                </a:solidFill>
                <a:latin typeface="Verdana" pitchFamily="34" charset="0"/>
              </a:rPr>
              <a:t>y </a:t>
            </a:r>
          </a:p>
          <a:p>
            <a:pPr marL="1588" lvl="1">
              <a:lnSpc>
                <a:spcPts val="2200"/>
              </a:lnSpc>
            </a:pPr>
            <a:r>
              <a:rPr lang="cs-CZ" sz="1400" b="1" dirty="0">
                <a:solidFill>
                  <a:srgbClr val="003E66"/>
                </a:solidFill>
                <a:latin typeface="Verdana" pitchFamily="34" charset="0"/>
              </a:rPr>
              <a:t>obyvatel ve</a:t>
            </a:r>
            <a:r>
              <a:rPr lang="de-DE" sz="1400" b="1" dirty="0">
                <a:solidFill>
                  <a:srgbClr val="003E66"/>
                </a:solidFill>
                <a:latin typeface="Verdana" pitchFamily="34" charset="0"/>
              </a:rPr>
              <a:t> </a:t>
            </a:r>
            <a:r>
              <a:rPr lang="cs-CZ" sz="1400" b="1" dirty="0">
                <a:solidFill>
                  <a:srgbClr val="003E66"/>
                </a:solidFill>
                <a:latin typeface="Verdana" pitchFamily="34" charset="0"/>
              </a:rPr>
              <a:t>střední </a:t>
            </a:r>
            <a:r>
              <a:rPr lang="de-DE" sz="1400" b="1" dirty="0">
                <a:solidFill>
                  <a:srgbClr val="003E66"/>
                </a:solidFill>
                <a:latin typeface="Verdana" pitchFamily="34" charset="0"/>
              </a:rPr>
              <a:t>E</a:t>
            </a:r>
            <a:r>
              <a:rPr lang="cs-CZ" sz="1400" b="1" dirty="0">
                <a:solidFill>
                  <a:srgbClr val="003E66"/>
                </a:solidFill>
                <a:latin typeface="Verdana" pitchFamily="34" charset="0"/>
              </a:rPr>
              <a:t>v</a:t>
            </a:r>
            <a:r>
              <a:rPr lang="de-DE" sz="1400" b="1" dirty="0" err="1">
                <a:solidFill>
                  <a:srgbClr val="003E66"/>
                </a:solidFill>
                <a:latin typeface="Verdana" pitchFamily="34" charset="0"/>
              </a:rPr>
              <a:t>rop</a:t>
            </a:r>
            <a:r>
              <a:rPr lang="cs-CZ" sz="1400" b="1" dirty="0">
                <a:solidFill>
                  <a:srgbClr val="003E66"/>
                </a:solidFill>
                <a:latin typeface="Verdana" pitchFamily="34" charset="0"/>
              </a:rPr>
              <a:t>ě</a:t>
            </a:r>
            <a:r>
              <a:rPr lang="de-DE" sz="1400" dirty="0">
                <a:solidFill>
                  <a:srgbClr val="003E66"/>
                </a:solidFill>
                <a:latin typeface="Verdana" pitchFamily="34" charset="0"/>
              </a:rPr>
              <a:t> </a:t>
            </a:r>
            <a:endParaRPr lang="en-US" sz="1400" dirty="0">
              <a:solidFill>
                <a:srgbClr val="003E66"/>
              </a:solidFill>
              <a:latin typeface="Verdana" pitchFamily="34" charset="0"/>
            </a:endParaRPr>
          </a:p>
        </p:txBody>
      </p:sp>
      <p:sp>
        <p:nvSpPr>
          <p:cNvPr id="7174" name="AutoShape 143"/>
          <p:cNvSpPr>
            <a:spLocks noChangeAspect="1" noChangeArrowheads="1" noTextEdit="1"/>
          </p:cNvSpPr>
          <p:nvPr/>
        </p:nvSpPr>
        <p:spPr bwMode="auto">
          <a:xfrm>
            <a:off x="5219700" y="981075"/>
            <a:ext cx="5538788" cy="406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cs-CZ"/>
          </a:p>
        </p:txBody>
      </p:sp>
      <p:grpSp>
        <p:nvGrpSpPr>
          <p:cNvPr id="7175" name="Group 141"/>
          <p:cNvGrpSpPr>
            <a:grpSpLocks/>
          </p:cNvGrpSpPr>
          <p:nvPr/>
        </p:nvGrpSpPr>
        <p:grpSpPr bwMode="auto">
          <a:xfrm>
            <a:off x="5760872" y="5915736"/>
            <a:ext cx="1860550" cy="595313"/>
            <a:chOff x="2072" y="2140"/>
            <a:chExt cx="909" cy="375"/>
          </a:xfrm>
        </p:grpSpPr>
        <p:sp>
          <p:nvSpPr>
            <p:cNvPr id="7302" name="Rectangle 269"/>
            <p:cNvSpPr>
              <a:spLocks noChangeArrowheads="1"/>
            </p:cNvSpPr>
            <p:nvPr/>
          </p:nvSpPr>
          <p:spPr bwMode="auto">
            <a:xfrm>
              <a:off x="2072" y="2140"/>
              <a:ext cx="171" cy="106"/>
            </a:xfrm>
            <a:prstGeom prst="rect">
              <a:avLst/>
            </a:prstGeom>
            <a:solidFill>
              <a:srgbClr val="FFC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7303" name="Rectangle 270"/>
            <p:cNvSpPr>
              <a:spLocks noChangeArrowheads="1"/>
            </p:cNvSpPr>
            <p:nvPr/>
          </p:nvSpPr>
          <p:spPr bwMode="auto">
            <a:xfrm>
              <a:off x="2284" y="2143"/>
              <a:ext cx="281" cy="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cs-CZ" sz="800">
                  <a:solidFill>
                    <a:srgbClr val="000000"/>
                  </a:solidFill>
                </a:rPr>
                <a:t>Člen </a:t>
              </a:r>
              <a:r>
                <a:rPr lang="de-DE" sz="800">
                  <a:solidFill>
                    <a:srgbClr val="000000"/>
                  </a:solidFill>
                </a:rPr>
                <a:t>TSC</a:t>
              </a:r>
              <a:endParaRPr lang="de-DE" sz="1600"/>
            </a:p>
          </p:txBody>
        </p:sp>
        <p:sp>
          <p:nvSpPr>
            <p:cNvPr id="7304" name="Rectangle 271"/>
            <p:cNvSpPr>
              <a:spLocks noChangeArrowheads="1"/>
            </p:cNvSpPr>
            <p:nvPr/>
          </p:nvSpPr>
          <p:spPr bwMode="auto">
            <a:xfrm>
              <a:off x="2072" y="2409"/>
              <a:ext cx="171" cy="106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7305" name="Rectangle 272"/>
            <p:cNvSpPr>
              <a:spLocks noChangeArrowheads="1"/>
            </p:cNvSpPr>
            <p:nvPr/>
          </p:nvSpPr>
          <p:spPr bwMode="auto">
            <a:xfrm>
              <a:off x="2284" y="2416"/>
              <a:ext cx="559" cy="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cs-CZ" sz="800">
                  <a:solidFill>
                    <a:srgbClr val="000000"/>
                  </a:solidFill>
                </a:rPr>
                <a:t>Bývalý rozsah sítě </a:t>
              </a:r>
              <a:r>
                <a:rPr lang="de-DE" sz="800">
                  <a:solidFill>
                    <a:srgbClr val="000000"/>
                  </a:solidFill>
                </a:rPr>
                <a:t>UCTE</a:t>
              </a:r>
              <a:endParaRPr lang="de-DE" sz="1600"/>
            </a:p>
          </p:txBody>
        </p:sp>
        <p:sp>
          <p:nvSpPr>
            <p:cNvPr id="7306" name="Rectangle 273"/>
            <p:cNvSpPr>
              <a:spLocks noChangeArrowheads="1"/>
            </p:cNvSpPr>
            <p:nvPr/>
          </p:nvSpPr>
          <p:spPr bwMode="auto">
            <a:xfrm>
              <a:off x="2075" y="2275"/>
              <a:ext cx="171" cy="105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7307" name="Rectangle 274"/>
            <p:cNvSpPr>
              <a:spLocks noChangeArrowheads="1"/>
            </p:cNvSpPr>
            <p:nvPr/>
          </p:nvSpPr>
          <p:spPr bwMode="auto">
            <a:xfrm>
              <a:off x="2286" y="2278"/>
              <a:ext cx="695" cy="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cs-CZ" sz="800">
                  <a:solidFill>
                    <a:srgbClr val="000000"/>
                  </a:solidFill>
                </a:rPr>
                <a:t>TSO se s</a:t>
              </a:r>
              <a:r>
                <a:rPr lang="de-DE" sz="800">
                  <a:solidFill>
                    <a:srgbClr val="000000"/>
                  </a:solidFill>
                </a:rPr>
                <a:t>tatu</a:t>
              </a:r>
              <a:r>
                <a:rPr lang="cs-CZ" sz="800">
                  <a:solidFill>
                    <a:srgbClr val="000000"/>
                  </a:solidFill>
                </a:rPr>
                <a:t>tem pozorovatele</a:t>
              </a:r>
              <a:r>
                <a:rPr lang="de-DE" sz="800">
                  <a:solidFill>
                    <a:srgbClr val="000000"/>
                  </a:solidFill>
                </a:rPr>
                <a:t> </a:t>
              </a:r>
              <a:endParaRPr lang="de-DE" sz="1600"/>
            </a:p>
          </p:txBody>
        </p:sp>
      </p:grpSp>
      <p:grpSp>
        <p:nvGrpSpPr>
          <p:cNvPr id="7176" name="Group 143"/>
          <p:cNvGrpSpPr>
            <a:grpSpLocks/>
          </p:cNvGrpSpPr>
          <p:nvPr/>
        </p:nvGrpSpPr>
        <p:grpSpPr bwMode="auto">
          <a:xfrm>
            <a:off x="3132138" y="998390"/>
            <a:ext cx="4725987" cy="4227513"/>
            <a:chOff x="2289" y="602"/>
            <a:chExt cx="2977" cy="2663"/>
          </a:xfrm>
        </p:grpSpPr>
        <p:sp>
          <p:nvSpPr>
            <p:cNvPr id="7178" name="Rectangle 145"/>
            <p:cNvSpPr>
              <a:spLocks noChangeArrowheads="1"/>
            </p:cNvSpPr>
            <p:nvPr/>
          </p:nvSpPr>
          <p:spPr bwMode="auto">
            <a:xfrm>
              <a:off x="3699" y="945"/>
              <a:ext cx="696" cy="6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7179" name="Rectangle 146"/>
            <p:cNvSpPr>
              <a:spLocks noChangeArrowheads="1"/>
            </p:cNvSpPr>
            <p:nvPr/>
          </p:nvSpPr>
          <p:spPr bwMode="auto">
            <a:xfrm>
              <a:off x="3730" y="861"/>
              <a:ext cx="608" cy="5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7180" name="Freeform 147"/>
            <p:cNvSpPr>
              <a:spLocks/>
            </p:cNvSpPr>
            <p:nvPr/>
          </p:nvSpPr>
          <p:spPr bwMode="auto">
            <a:xfrm>
              <a:off x="3994" y="2273"/>
              <a:ext cx="374" cy="222"/>
            </a:xfrm>
            <a:custGeom>
              <a:avLst/>
              <a:gdLst>
                <a:gd name="T0" fmla="*/ 330 w 356"/>
                <a:gd name="T1" fmla="*/ 338 h 211"/>
                <a:gd name="T2" fmla="*/ 370 w 356"/>
                <a:gd name="T3" fmla="*/ 321 h 211"/>
                <a:gd name="T4" fmla="*/ 429 w 356"/>
                <a:gd name="T5" fmla="*/ 321 h 211"/>
                <a:gd name="T6" fmla="*/ 463 w 356"/>
                <a:gd name="T7" fmla="*/ 305 h 211"/>
                <a:gd name="T8" fmla="*/ 497 w 356"/>
                <a:gd name="T9" fmla="*/ 287 h 211"/>
                <a:gd name="T10" fmla="*/ 510 w 356"/>
                <a:gd name="T11" fmla="*/ 278 h 211"/>
                <a:gd name="T12" fmla="*/ 523 w 356"/>
                <a:gd name="T13" fmla="*/ 237 h 211"/>
                <a:gd name="T14" fmla="*/ 529 w 356"/>
                <a:gd name="T15" fmla="*/ 211 h 211"/>
                <a:gd name="T16" fmla="*/ 559 w 356"/>
                <a:gd name="T17" fmla="*/ 177 h 211"/>
                <a:gd name="T18" fmla="*/ 586 w 356"/>
                <a:gd name="T19" fmla="*/ 116 h 211"/>
                <a:gd name="T20" fmla="*/ 616 w 356"/>
                <a:gd name="T21" fmla="*/ 74 h 211"/>
                <a:gd name="T22" fmla="*/ 643 w 356"/>
                <a:gd name="T23" fmla="*/ 52 h 211"/>
                <a:gd name="T24" fmla="*/ 616 w 356"/>
                <a:gd name="T25" fmla="*/ 26 h 211"/>
                <a:gd name="T26" fmla="*/ 580 w 356"/>
                <a:gd name="T27" fmla="*/ 0 h 211"/>
                <a:gd name="T28" fmla="*/ 529 w 356"/>
                <a:gd name="T29" fmla="*/ 5 h 211"/>
                <a:gd name="T30" fmla="*/ 503 w 356"/>
                <a:gd name="T31" fmla="*/ 0 h 211"/>
                <a:gd name="T32" fmla="*/ 456 w 356"/>
                <a:gd name="T33" fmla="*/ 5 h 211"/>
                <a:gd name="T34" fmla="*/ 418 w 356"/>
                <a:gd name="T35" fmla="*/ 5 h 211"/>
                <a:gd name="T36" fmla="*/ 370 w 356"/>
                <a:gd name="T37" fmla="*/ 60 h 211"/>
                <a:gd name="T38" fmla="*/ 320 w 356"/>
                <a:gd name="T39" fmla="*/ 52 h 211"/>
                <a:gd name="T40" fmla="*/ 313 w 356"/>
                <a:gd name="T41" fmla="*/ 67 h 211"/>
                <a:gd name="T42" fmla="*/ 257 w 356"/>
                <a:gd name="T43" fmla="*/ 85 h 211"/>
                <a:gd name="T44" fmla="*/ 257 w 356"/>
                <a:gd name="T45" fmla="*/ 116 h 211"/>
                <a:gd name="T46" fmla="*/ 123 w 356"/>
                <a:gd name="T47" fmla="*/ 134 h 211"/>
                <a:gd name="T48" fmla="*/ 96 w 356"/>
                <a:gd name="T49" fmla="*/ 116 h 211"/>
                <a:gd name="T50" fmla="*/ 75 w 356"/>
                <a:gd name="T51" fmla="*/ 109 h 211"/>
                <a:gd name="T52" fmla="*/ 75 w 356"/>
                <a:gd name="T53" fmla="*/ 134 h 211"/>
                <a:gd name="T54" fmla="*/ 28 w 356"/>
                <a:gd name="T55" fmla="*/ 154 h 211"/>
                <a:gd name="T56" fmla="*/ 28 w 356"/>
                <a:gd name="T57" fmla="*/ 193 h 211"/>
                <a:gd name="T58" fmla="*/ 23 w 356"/>
                <a:gd name="T59" fmla="*/ 237 h 211"/>
                <a:gd name="T60" fmla="*/ 0 w 356"/>
                <a:gd name="T61" fmla="*/ 254 h 211"/>
                <a:gd name="T62" fmla="*/ 48 w 356"/>
                <a:gd name="T63" fmla="*/ 305 h 211"/>
                <a:gd name="T64" fmla="*/ 36 w 356"/>
                <a:gd name="T65" fmla="*/ 312 h 211"/>
                <a:gd name="T66" fmla="*/ 75 w 356"/>
                <a:gd name="T67" fmla="*/ 328 h 211"/>
                <a:gd name="T68" fmla="*/ 105 w 356"/>
                <a:gd name="T69" fmla="*/ 356 h 211"/>
                <a:gd name="T70" fmla="*/ 133 w 356"/>
                <a:gd name="T71" fmla="*/ 374 h 211"/>
                <a:gd name="T72" fmla="*/ 170 w 356"/>
                <a:gd name="T73" fmla="*/ 362 h 211"/>
                <a:gd name="T74" fmla="*/ 180 w 356"/>
                <a:gd name="T75" fmla="*/ 389 h 211"/>
                <a:gd name="T76" fmla="*/ 219 w 356"/>
                <a:gd name="T77" fmla="*/ 389 h 211"/>
                <a:gd name="T78" fmla="*/ 284 w 356"/>
                <a:gd name="T79" fmla="*/ 362 h 211"/>
                <a:gd name="T80" fmla="*/ 296 w 356"/>
                <a:gd name="T81" fmla="*/ 362 h 211"/>
                <a:gd name="T82" fmla="*/ 303 w 356"/>
                <a:gd name="T83" fmla="*/ 338 h 211"/>
                <a:gd name="T84" fmla="*/ 330 w 356"/>
                <a:gd name="T85" fmla="*/ 338 h 21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356"/>
                <a:gd name="T130" fmla="*/ 0 h 211"/>
                <a:gd name="T131" fmla="*/ 356 w 356"/>
                <a:gd name="T132" fmla="*/ 211 h 211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356" h="211">
                  <a:moveTo>
                    <a:pt x="183" y="183"/>
                  </a:moveTo>
                  <a:lnTo>
                    <a:pt x="205" y="174"/>
                  </a:lnTo>
                  <a:lnTo>
                    <a:pt x="236" y="174"/>
                  </a:lnTo>
                  <a:lnTo>
                    <a:pt x="257" y="165"/>
                  </a:lnTo>
                  <a:lnTo>
                    <a:pt x="273" y="156"/>
                  </a:lnTo>
                  <a:lnTo>
                    <a:pt x="283" y="151"/>
                  </a:lnTo>
                  <a:lnTo>
                    <a:pt x="288" y="128"/>
                  </a:lnTo>
                  <a:lnTo>
                    <a:pt x="293" y="115"/>
                  </a:lnTo>
                  <a:lnTo>
                    <a:pt x="310" y="96"/>
                  </a:lnTo>
                  <a:lnTo>
                    <a:pt x="325" y="64"/>
                  </a:lnTo>
                  <a:lnTo>
                    <a:pt x="341" y="41"/>
                  </a:lnTo>
                  <a:lnTo>
                    <a:pt x="356" y="28"/>
                  </a:lnTo>
                  <a:lnTo>
                    <a:pt x="341" y="14"/>
                  </a:lnTo>
                  <a:lnTo>
                    <a:pt x="320" y="0"/>
                  </a:lnTo>
                  <a:lnTo>
                    <a:pt x="293" y="5"/>
                  </a:lnTo>
                  <a:lnTo>
                    <a:pt x="278" y="0"/>
                  </a:lnTo>
                  <a:lnTo>
                    <a:pt x="252" y="5"/>
                  </a:lnTo>
                  <a:lnTo>
                    <a:pt x="231" y="5"/>
                  </a:lnTo>
                  <a:lnTo>
                    <a:pt x="205" y="32"/>
                  </a:lnTo>
                  <a:lnTo>
                    <a:pt x="178" y="28"/>
                  </a:lnTo>
                  <a:lnTo>
                    <a:pt x="173" y="37"/>
                  </a:lnTo>
                  <a:lnTo>
                    <a:pt x="142" y="46"/>
                  </a:lnTo>
                  <a:lnTo>
                    <a:pt x="142" y="64"/>
                  </a:lnTo>
                  <a:lnTo>
                    <a:pt x="68" y="73"/>
                  </a:lnTo>
                  <a:lnTo>
                    <a:pt x="53" y="64"/>
                  </a:lnTo>
                  <a:lnTo>
                    <a:pt x="42" y="60"/>
                  </a:lnTo>
                  <a:lnTo>
                    <a:pt x="42" y="73"/>
                  </a:lnTo>
                  <a:lnTo>
                    <a:pt x="16" y="83"/>
                  </a:lnTo>
                  <a:lnTo>
                    <a:pt x="16" y="105"/>
                  </a:lnTo>
                  <a:lnTo>
                    <a:pt x="11" y="128"/>
                  </a:lnTo>
                  <a:lnTo>
                    <a:pt x="0" y="138"/>
                  </a:lnTo>
                  <a:lnTo>
                    <a:pt x="27" y="165"/>
                  </a:lnTo>
                  <a:lnTo>
                    <a:pt x="21" y="170"/>
                  </a:lnTo>
                  <a:lnTo>
                    <a:pt x="42" y="179"/>
                  </a:lnTo>
                  <a:lnTo>
                    <a:pt x="58" y="193"/>
                  </a:lnTo>
                  <a:lnTo>
                    <a:pt x="73" y="202"/>
                  </a:lnTo>
                  <a:lnTo>
                    <a:pt x="94" y="197"/>
                  </a:lnTo>
                  <a:lnTo>
                    <a:pt x="100" y="211"/>
                  </a:lnTo>
                  <a:lnTo>
                    <a:pt x="121" y="211"/>
                  </a:lnTo>
                  <a:lnTo>
                    <a:pt x="157" y="197"/>
                  </a:lnTo>
                  <a:lnTo>
                    <a:pt x="163" y="197"/>
                  </a:lnTo>
                  <a:lnTo>
                    <a:pt x="168" y="183"/>
                  </a:lnTo>
                  <a:lnTo>
                    <a:pt x="183" y="183"/>
                  </a:lnTo>
                  <a:close/>
                </a:path>
              </a:pathLst>
            </a:custGeom>
            <a:solidFill>
              <a:srgbClr val="99C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cs-CZ"/>
            </a:p>
          </p:txBody>
        </p:sp>
        <p:sp>
          <p:nvSpPr>
            <p:cNvPr id="7181" name="Freeform 148"/>
            <p:cNvSpPr>
              <a:spLocks noEditPoints="1"/>
            </p:cNvSpPr>
            <p:nvPr/>
          </p:nvSpPr>
          <p:spPr bwMode="auto">
            <a:xfrm>
              <a:off x="3397" y="602"/>
              <a:ext cx="884" cy="1022"/>
            </a:xfrm>
            <a:custGeom>
              <a:avLst/>
              <a:gdLst>
                <a:gd name="T0" fmla="*/ 0 w 3696"/>
                <a:gd name="T1" fmla="*/ 0 h 4288"/>
                <a:gd name="T2" fmla="*/ 0 w 3696"/>
                <a:gd name="T3" fmla="*/ 0 h 4288"/>
                <a:gd name="T4" fmla="*/ 0 w 3696"/>
                <a:gd name="T5" fmla="*/ 0 h 4288"/>
                <a:gd name="T6" fmla="*/ 0 w 3696"/>
                <a:gd name="T7" fmla="*/ 0 h 4288"/>
                <a:gd name="T8" fmla="*/ 0 w 3696"/>
                <a:gd name="T9" fmla="*/ 0 h 4288"/>
                <a:gd name="T10" fmla="*/ 0 w 3696"/>
                <a:gd name="T11" fmla="*/ 0 h 4288"/>
                <a:gd name="T12" fmla="*/ 0 w 3696"/>
                <a:gd name="T13" fmla="*/ 0 h 4288"/>
                <a:gd name="T14" fmla="*/ 0 w 3696"/>
                <a:gd name="T15" fmla="*/ 0 h 4288"/>
                <a:gd name="T16" fmla="*/ 0 w 3696"/>
                <a:gd name="T17" fmla="*/ 0 h 4288"/>
                <a:gd name="T18" fmla="*/ 0 w 3696"/>
                <a:gd name="T19" fmla="*/ 0 h 4288"/>
                <a:gd name="T20" fmla="*/ 0 w 3696"/>
                <a:gd name="T21" fmla="*/ 0 h 4288"/>
                <a:gd name="T22" fmla="*/ 0 w 3696"/>
                <a:gd name="T23" fmla="*/ 0 h 4288"/>
                <a:gd name="T24" fmla="*/ 0 w 3696"/>
                <a:gd name="T25" fmla="*/ 0 h 4288"/>
                <a:gd name="T26" fmla="*/ 0 w 3696"/>
                <a:gd name="T27" fmla="*/ 0 h 4288"/>
                <a:gd name="T28" fmla="*/ 0 w 3696"/>
                <a:gd name="T29" fmla="*/ 0 h 4288"/>
                <a:gd name="T30" fmla="*/ 0 w 3696"/>
                <a:gd name="T31" fmla="*/ 0 h 4288"/>
                <a:gd name="T32" fmla="*/ 0 w 3696"/>
                <a:gd name="T33" fmla="*/ 0 h 4288"/>
                <a:gd name="T34" fmla="*/ 0 w 3696"/>
                <a:gd name="T35" fmla="*/ 0 h 4288"/>
                <a:gd name="T36" fmla="*/ 0 w 3696"/>
                <a:gd name="T37" fmla="*/ 0 h 4288"/>
                <a:gd name="T38" fmla="*/ 0 w 3696"/>
                <a:gd name="T39" fmla="*/ 0 h 4288"/>
                <a:gd name="T40" fmla="*/ 0 w 3696"/>
                <a:gd name="T41" fmla="*/ 0 h 4288"/>
                <a:gd name="T42" fmla="*/ 0 w 3696"/>
                <a:gd name="T43" fmla="*/ 0 h 4288"/>
                <a:gd name="T44" fmla="*/ 0 w 3696"/>
                <a:gd name="T45" fmla="*/ 0 h 4288"/>
                <a:gd name="T46" fmla="*/ 0 w 3696"/>
                <a:gd name="T47" fmla="*/ 0 h 4288"/>
                <a:gd name="T48" fmla="*/ 0 w 3696"/>
                <a:gd name="T49" fmla="*/ 0 h 4288"/>
                <a:gd name="T50" fmla="*/ 0 w 3696"/>
                <a:gd name="T51" fmla="*/ 0 h 4288"/>
                <a:gd name="T52" fmla="*/ 0 w 3696"/>
                <a:gd name="T53" fmla="*/ 0 h 4288"/>
                <a:gd name="T54" fmla="*/ 0 w 3696"/>
                <a:gd name="T55" fmla="*/ 0 h 4288"/>
                <a:gd name="T56" fmla="*/ 0 w 3696"/>
                <a:gd name="T57" fmla="*/ 0 h 4288"/>
                <a:gd name="T58" fmla="*/ 0 w 3696"/>
                <a:gd name="T59" fmla="*/ 0 h 4288"/>
                <a:gd name="T60" fmla="*/ 0 w 3696"/>
                <a:gd name="T61" fmla="*/ 0 h 4288"/>
                <a:gd name="T62" fmla="*/ 0 w 3696"/>
                <a:gd name="T63" fmla="*/ 0 h 4288"/>
                <a:gd name="T64" fmla="*/ 0 w 3696"/>
                <a:gd name="T65" fmla="*/ 0 h 4288"/>
                <a:gd name="T66" fmla="*/ 0 w 3696"/>
                <a:gd name="T67" fmla="*/ 0 h 4288"/>
                <a:gd name="T68" fmla="*/ 0 w 3696"/>
                <a:gd name="T69" fmla="*/ 0 h 4288"/>
                <a:gd name="T70" fmla="*/ 0 w 3696"/>
                <a:gd name="T71" fmla="*/ 0 h 4288"/>
                <a:gd name="T72" fmla="*/ 0 w 3696"/>
                <a:gd name="T73" fmla="*/ 0 h 4288"/>
                <a:gd name="T74" fmla="*/ 0 w 3696"/>
                <a:gd name="T75" fmla="*/ 0 h 4288"/>
                <a:gd name="T76" fmla="*/ 0 w 3696"/>
                <a:gd name="T77" fmla="*/ 0 h 4288"/>
                <a:gd name="T78" fmla="*/ 0 w 3696"/>
                <a:gd name="T79" fmla="*/ 0 h 4288"/>
                <a:gd name="T80" fmla="*/ 0 w 3696"/>
                <a:gd name="T81" fmla="*/ 0 h 4288"/>
                <a:gd name="T82" fmla="*/ 0 w 3696"/>
                <a:gd name="T83" fmla="*/ 0 h 4288"/>
                <a:gd name="T84" fmla="*/ 0 w 3696"/>
                <a:gd name="T85" fmla="*/ 0 h 4288"/>
                <a:gd name="T86" fmla="*/ 0 w 3696"/>
                <a:gd name="T87" fmla="*/ 0 h 4288"/>
                <a:gd name="T88" fmla="*/ 0 w 3696"/>
                <a:gd name="T89" fmla="*/ 0 h 4288"/>
                <a:gd name="T90" fmla="*/ 0 w 3696"/>
                <a:gd name="T91" fmla="*/ 0 h 4288"/>
                <a:gd name="T92" fmla="*/ 0 w 3696"/>
                <a:gd name="T93" fmla="*/ 0 h 4288"/>
                <a:gd name="T94" fmla="*/ 0 w 3696"/>
                <a:gd name="T95" fmla="*/ 0 h 4288"/>
                <a:gd name="T96" fmla="*/ 0 w 3696"/>
                <a:gd name="T97" fmla="*/ 0 h 4288"/>
                <a:gd name="T98" fmla="*/ 0 w 3696"/>
                <a:gd name="T99" fmla="*/ 0 h 4288"/>
                <a:gd name="T100" fmla="*/ 0 w 3696"/>
                <a:gd name="T101" fmla="*/ 0 h 4288"/>
                <a:gd name="T102" fmla="*/ 0 w 3696"/>
                <a:gd name="T103" fmla="*/ 0 h 4288"/>
                <a:gd name="T104" fmla="*/ 0 w 3696"/>
                <a:gd name="T105" fmla="*/ 0 h 4288"/>
                <a:gd name="T106" fmla="*/ 0 w 3696"/>
                <a:gd name="T107" fmla="*/ 0 h 4288"/>
                <a:gd name="T108" fmla="*/ 0 w 3696"/>
                <a:gd name="T109" fmla="*/ 0 h 4288"/>
                <a:gd name="T110" fmla="*/ 0 w 3696"/>
                <a:gd name="T111" fmla="*/ 0 h 4288"/>
                <a:gd name="T112" fmla="*/ 0 w 3696"/>
                <a:gd name="T113" fmla="*/ 0 h 4288"/>
                <a:gd name="T114" fmla="*/ 0 w 3696"/>
                <a:gd name="T115" fmla="*/ 0 h 4288"/>
                <a:gd name="T116" fmla="*/ 0 w 3696"/>
                <a:gd name="T117" fmla="*/ 0 h 428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3696"/>
                <a:gd name="T178" fmla="*/ 0 h 4288"/>
                <a:gd name="T179" fmla="*/ 3696 w 3696"/>
                <a:gd name="T180" fmla="*/ 4288 h 428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3696" h="4288">
                  <a:moveTo>
                    <a:pt x="3410" y="280"/>
                  </a:moveTo>
                  <a:cubicBezTo>
                    <a:pt x="3407" y="279"/>
                    <a:pt x="3404" y="276"/>
                    <a:pt x="3403" y="273"/>
                  </a:cubicBezTo>
                  <a:cubicBezTo>
                    <a:pt x="3403" y="270"/>
                    <a:pt x="3404" y="266"/>
                    <a:pt x="3407" y="265"/>
                  </a:cubicBezTo>
                  <a:lnTo>
                    <a:pt x="3523" y="204"/>
                  </a:lnTo>
                  <a:lnTo>
                    <a:pt x="3521" y="205"/>
                  </a:lnTo>
                  <a:lnTo>
                    <a:pt x="3636" y="104"/>
                  </a:lnTo>
                  <a:lnTo>
                    <a:pt x="3640" y="117"/>
                  </a:lnTo>
                  <a:lnTo>
                    <a:pt x="3409" y="57"/>
                  </a:lnTo>
                  <a:lnTo>
                    <a:pt x="3340" y="36"/>
                  </a:lnTo>
                  <a:lnTo>
                    <a:pt x="3349" y="33"/>
                  </a:lnTo>
                  <a:lnTo>
                    <a:pt x="3325" y="73"/>
                  </a:lnTo>
                  <a:cubicBezTo>
                    <a:pt x="3324" y="74"/>
                    <a:pt x="3324" y="74"/>
                    <a:pt x="3324" y="74"/>
                  </a:cubicBezTo>
                  <a:lnTo>
                    <a:pt x="3255" y="155"/>
                  </a:lnTo>
                  <a:cubicBezTo>
                    <a:pt x="3253" y="158"/>
                    <a:pt x="3250" y="159"/>
                    <a:pt x="3247" y="158"/>
                  </a:cubicBezTo>
                  <a:cubicBezTo>
                    <a:pt x="3244" y="157"/>
                    <a:pt x="3242" y="155"/>
                    <a:pt x="3241" y="152"/>
                  </a:cubicBezTo>
                  <a:lnTo>
                    <a:pt x="3219" y="51"/>
                  </a:lnTo>
                  <a:cubicBezTo>
                    <a:pt x="3219" y="50"/>
                    <a:pt x="3219" y="50"/>
                    <a:pt x="3219" y="49"/>
                  </a:cubicBezTo>
                  <a:lnTo>
                    <a:pt x="3219" y="8"/>
                  </a:lnTo>
                  <a:lnTo>
                    <a:pt x="3227" y="16"/>
                  </a:lnTo>
                  <a:lnTo>
                    <a:pt x="3156" y="16"/>
                  </a:lnTo>
                  <a:lnTo>
                    <a:pt x="3112" y="16"/>
                  </a:lnTo>
                  <a:lnTo>
                    <a:pt x="3120" y="8"/>
                  </a:lnTo>
                  <a:lnTo>
                    <a:pt x="3120" y="69"/>
                  </a:lnTo>
                  <a:lnTo>
                    <a:pt x="3120" y="170"/>
                  </a:lnTo>
                  <a:cubicBezTo>
                    <a:pt x="3120" y="174"/>
                    <a:pt x="3117" y="177"/>
                    <a:pt x="3114" y="178"/>
                  </a:cubicBezTo>
                  <a:cubicBezTo>
                    <a:pt x="3111" y="179"/>
                    <a:pt x="3107" y="178"/>
                    <a:pt x="3105" y="175"/>
                  </a:cubicBezTo>
                  <a:lnTo>
                    <a:pt x="3034" y="74"/>
                  </a:lnTo>
                  <a:lnTo>
                    <a:pt x="3048" y="72"/>
                  </a:lnTo>
                  <a:lnTo>
                    <a:pt x="2957" y="315"/>
                  </a:lnTo>
                  <a:cubicBezTo>
                    <a:pt x="2956" y="318"/>
                    <a:pt x="2952" y="321"/>
                    <a:pt x="2949" y="320"/>
                  </a:cubicBezTo>
                  <a:cubicBezTo>
                    <a:pt x="2945" y="320"/>
                    <a:pt x="2942" y="317"/>
                    <a:pt x="2942" y="313"/>
                  </a:cubicBezTo>
                  <a:lnTo>
                    <a:pt x="2917" y="131"/>
                  </a:lnTo>
                  <a:lnTo>
                    <a:pt x="2920" y="136"/>
                  </a:lnTo>
                  <a:lnTo>
                    <a:pt x="2851" y="75"/>
                  </a:lnTo>
                  <a:lnTo>
                    <a:pt x="2860" y="76"/>
                  </a:lnTo>
                  <a:lnTo>
                    <a:pt x="2792" y="117"/>
                  </a:lnTo>
                  <a:lnTo>
                    <a:pt x="2652" y="217"/>
                  </a:lnTo>
                  <a:lnTo>
                    <a:pt x="2655" y="213"/>
                  </a:lnTo>
                  <a:lnTo>
                    <a:pt x="2633" y="294"/>
                  </a:lnTo>
                  <a:lnTo>
                    <a:pt x="2633" y="289"/>
                  </a:lnTo>
                  <a:lnTo>
                    <a:pt x="2655" y="350"/>
                  </a:lnTo>
                  <a:cubicBezTo>
                    <a:pt x="2656" y="352"/>
                    <a:pt x="2656" y="355"/>
                    <a:pt x="2654" y="357"/>
                  </a:cubicBezTo>
                  <a:cubicBezTo>
                    <a:pt x="2653" y="359"/>
                    <a:pt x="2651" y="360"/>
                    <a:pt x="2649" y="361"/>
                  </a:cubicBezTo>
                  <a:lnTo>
                    <a:pt x="2487" y="381"/>
                  </a:lnTo>
                  <a:lnTo>
                    <a:pt x="2491" y="379"/>
                  </a:lnTo>
                  <a:lnTo>
                    <a:pt x="2444" y="419"/>
                  </a:lnTo>
                  <a:lnTo>
                    <a:pt x="2446" y="416"/>
                  </a:lnTo>
                  <a:lnTo>
                    <a:pt x="2424" y="477"/>
                  </a:lnTo>
                  <a:cubicBezTo>
                    <a:pt x="2424" y="479"/>
                    <a:pt x="2422" y="481"/>
                    <a:pt x="2419" y="482"/>
                  </a:cubicBezTo>
                  <a:lnTo>
                    <a:pt x="2348" y="502"/>
                  </a:lnTo>
                  <a:cubicBezTo>
                    <a:pt x="2347" y="502"/>
                    <a:pt x="2346" y="502"/>
                    <a:pt x="2346" y="502"/>
                  </a:cubicBezTo>
                  <a:lnTo>
                    <a:pt x="2277" y="502"/>
                  </a:lnTo>
                  <a:cubicBezTo>
                    <a:pt x="2275" y="502"/>
                    <a:pt x="2273" y="502"/>
                    <a:pt x="2272" y="500"/>
                  </a:cubicBezTo>
                  <a:lnTo>
                    <a:pt x="2225" y="460"/>
                  </a:lnTo>
                  <a:lnTo>
                    <a:pt x="2230" y="462"/>
                  </a:lnTo>
                  <a:lnTo>
                    <a:pt x="2162" y="462"/>
                  </a:lnTo>
                  <a:lnTo>
                    <a:pt x="2167" y="460"/>
                  </a:lnTo>
                  <a:lnTo>
                    <a:pt x="2073" y="541"/>
                  </a:lnTo>
                  <a:lnTo>
                    <a:pt x="1984" y="641"/>
                  </a:lnTo>
                  <a:lnTo>
                    <a:pt x="1891" y="762"/>
                  </a:lnTo>
                  <a:lnTo>
                    <a:pt x="1892" y="758"/>
                  </a:lnTo>
                  <a:lnTo>
                    <a:pt x="1892" y="818"/>
                  </a:lnTo>
                  <a:lnTo>
                    <a:pt x="1887" y="811"/>
                  </a:lnTo>
                  <a:lnTo>
                    <a:pt x="1934" y="831"/>
                  </a:lnTo>
                  <a:cubicBezTo>
                    <a:pt x="1936" y="832"/>
                    <a:pt x="1938" y="834"/>
                    <a:pt x="1939" y="837"/>
                  </a:cubicBezTo>
                  <a:cubicBezTo>
                    <a:pt x="1939" y="840"/>
                    <a:pt x="1938" y="842"/>
                    <a:pt x="1937" y="844"/>
                  </a:cubicBezTo>
                  <a:lnTo>
                    <a:pt x="1821" y="966"/>
                  </a:lnTo>
                  <a:cubicBezTo>
                    <a:pt x="1820" y="967"/>
                    <a:pt x="1817" y="968"/>
                    <a:pt x="1815" y="968"/>
                  </a:cubicBezTo>
                  <a:lnTo>
                    <a:pt x="1763" y="963"/>
                  </a:lnTo>
                  <a:lnTo>
                    <a:pt x="1771" y="954"/>
                  </a:lnTo>
                  <a:lnTo>
                    <a:pt x="1788" y="1075"/>
                  </a:lnTo>
                  <a:cubicBezTo>
                    <a:pt x="1788" y="1078"/>
                    <a:pt x="1787" y="1080"/>
                    <a:pt x="1786" y="1082"/>
                  </a:cubicBezTo>
                  <a:lnTo>
                    <a:pt x="1706" y="1168"/>
                  </a:lnTo>
                  <a:lnTo>
                    <a:pt x="1660" y="1228"/>
                  </a:lnTo>
                  <a:lnTo>
                    <a:pt x="1661" y="1226"/>
                  </a:lnTo>
                  <a:lnTo>
                    <a:pt x="1636" y="1287"/>
                  </a:lnTo>
                  <a:lnTo>
                    <a:pt x="1634" y="1278"/>
                  </a:lnTo>
                  <a:lnTo>
                    <a:pt x="1681" y="1318"/>
                  </a:lnTo>
                  <a:cubicBezTo>
                    <a:pt x="1683" y="1320"/>
                    <a:pt x="1684" y="1323"/>
                    <a:pt x="1683" y="1326"/>
                  </a:cubicBezTo>
                  <a:cubicBezTo>
                    <a:pt x="1683" y="1328"/>
                    <a:pt x="1681" y="1331"/>
                    <a:pt x="1679" y="1332"/>
                  </a:cubicBezTo>
                  <a:lnTo>
                    <a:pt x="1585" y="1372"/>
                  </a:lnTo>
                  <a:lnTo>
                    <a:pt x="1590" y="1368"/>
                  </a:lnTo>
                  <a:lnTo>
                    <a:pt x="1568" y="1428"/>
                  </a:lnTo>
                  <a:cubicBezTo>
                    <a:pt x="1567" y="1430"/>
                    <a:pt x="1566" y="1432"/>
                    <a:pt x="1564" y="1433"/>
                  </a:cubicBezTo>
                  <a:lnTo>
                    <a:pt x="1496" y="1473"/>
                  </a:lnTo>
                  <a:lnTo>
                    <a:pt x="1499" y="1469"/>
                  </a:lnTo>
                  <a:lnTo>
                    <a:pt x="1452" y="1591"/>
                  </a:lnTo>
                  <a:lnTo>
                    <a:pt x="1312" y="1895"/>
                  </a:lnTo>
                  <a:lnTo>
                    <a:pt x="1312" y="1893"/>
                  </a:lnTo>
                  <a:lnTo>
                    <a:pt x="1266" y="2076"/>
                  </a:lnTo>
                  <a:cubicBezTo>
                    <a:pt x="1266" y="2077"/>
                    <a:pt x="1265" y="2077"/>
                    <a:pt x="1265" y="2078"/>
                  </a:cubicBezTo>
                  <a:lnTo>
                    <a:pt x="1221" y="2139"/>
                  </a:lnTo>
                  <a:cubicBezTo>
                    <a:pt x="1219" y="2141"/>
                    <a:pt x="1217" y="2142"/>
                    <a:pt x="1215" y="2142"/>
                  </a:cubicBezTo>
                  <a:lnTo>
                    <a:pt x="1097" y="2162"/>
                  </a:lnTo>
                  <a:lnTo>
                    <a:pt x="1103" y="2152"/>
                  </a:lnTo>
                  <a:lnTo>
                    <a:pt x="1128" y="2212"/>
                  </a:lnTo>
                  <a:lnTo>
                    <a:pt x="1150" y="2252"/>
                  </a:lnTo>
                  <a:cubicBezTo>
                    <a:pt x="1151" y="2254"/>
                    <a:pt x="1151" y="2256"/>
                    <a:pt x="1150" y="2258"/>
                  </a:cubicBezTo>
                  <a:cubicBezTo>
                    <a:pt x="1150" y="2261"/>
                    <a:pt x="1148" y="2262"/>
                    <a:pt x="1146" y="2263"/>
                  </a:cubicBezTo>
                  <a:lnTo>
                    <a:pt x="1099" y="2283"/>
                  </a:lnTo>
                  <a:lnTo>
                    <a:pt x="1102" y="2282"/>
                  </a:lnTo>
                  <a:lnTo>
                    <a:pt x="964" y="2423"/>
                  </a:lnTo>
                  <a:lnTo>
                    <a:pt x="966" y="2421"/>
                  </a:lnTo>
                  <a:lnTo>
                    <a:pt x="897" y="2563"/>
                  </a:lnTo>
                  <a:cubicBezTo>
                    <a:pt x="897" y="2564"/>
                    <a:pt x="896" y="2565"/>
                    <a:pt x="895" y="2566"/>
                  </a:cubicBezTo>
                  <a:lnTo>
                    <a:pt x="849" y="2606"/>
                  </a:lnTo>
                  <a:lnTo>
                    <a:pt x="824" y="2626"/>
                  </a:lnTo>
                  <a:cubicBezTo>
                    <a:pt x="822" y="2628"/>
                    <a:pt x="819" y="2629"/>
                    <a:pt x="817" y="2628"/>
                  </a:cubicBezTo>
                  <a:lnTo>
                    <a:pt x="726" y="2608"/>
                  </a:lnTo>
                  <a:lnTo>
                    <a:pt x="730" y="2608"/>
                  </a:lnTo>
                  <a:lnTo>
                    <a:pt x="659" y="2628"/>
                  </a:lnTo>
                  <a:lnTo>
                    <a:pt x="662" y="2626"/>
                  </a:lnTo>
                  <a:lnTo>
                    <a:pt x="640" y="2646"/>
                  </a:lnTo>
                  <a:lnTo>
                    <a:pt x="642" y="2643"/>
                  </a:lnTo>
                  <a:lnTo>
                    <a:pt x="620" y="2704"/>
                  </a:lnTo>
                  <a:cubicBezTo>
                    <a:pt x="620" y="2706"/>
                    <a:pt x="618" y="2707"/>
                    <a:pt x="617" y="2708"/>
                  </a:cubicBezTo>
                  <a:lnTo>
                    <a:pt x="524" y="2769"/>
                  </a:lnTo>
                  <a:cubicBezTo>
                    <a:pt x="523" y="2769"/>
                    <a:pt x="523" y="2769"/>
                    <a:pt x="522" y="2769"/>
                  </a:cubicBezTo>
                  <a:lnTo>
                    <a:pt x="429" y="2810"/>
                  </a:lnTo>
                  <a:lnTo>
                    <a:pt x="431" y="2808"/>
                  </a:lnTo>
                  <a:lnTo>
                    <a:pt x="363" y="2869"/>
                  </a:lnTo>
                  <a:cubicBezTo>
                    <a:pt x="362" y="2870"/>
                    <a:pt x="361" y="2870"/>
                    <a:pt x="360" y="2871"/>
                  </a:cubicBezTo>
                  <a:lnTo>
                    <a:pt x="267" y="2911"/>
                  </a:lnTo>
                  <a:lnTo>
                    <a:pt x="269" y="2910"/>
                  </a:lnTo>
                  <a:lnTo>
                    <a:pt x="201" y="2970"/>
                  </a:lnTo>
                  <a:lnTo>
                    <a:pt x="202" y="2969"/>
                  </a:lnTo>
                  <a:lnTo>
                    <a:pt x="155" y="3030"/>
                  </a:lnTo>
                  <a:cubicBezTo>
                    <a:pt x="154" y="3031"/>
                    <a:pt x="152" y="3032"/>
                    <a:pt x="151" y="3033"/>
                  </a:cubicBezTo>
                  <a:lnTo>
                    <a:pt x="82" y="3053"/>
                  </a:lnTo>
                  <a:lnTo>
                    <a:pt x="85" y="3052"/>
                  </a:lnTo>
                  <a:lnTo>
                    <a:pt x="60" y="3072"/>
                  </a:lnTo>
                  <a:lnTo>
                    <a:pt x="63" y="3066"/>
                  </a:lnTo>
                  <a:lnTo>
                    <a:pt x="63" y="3167"/>
                  </a:lnTo>
                  <a:cubicBezTo>
                    <a:pt x="63" y="3168"/>
                    <a:pt x="63" y="3170"/>
                    <a:pt x="62" y="3171"/>
                  </a:cubicBezTo>
                  <a:lnTo>
                    <a:pt x="40" y="3211"/>
                  </a:lnTo>
                  <a:lnTo>
                    <a:pt x="39" y="3202"/>
                  </a:lnTo>
                  <a:lnTo>
                    <a:pt x="61" y="3222"/>
                  </a:lnTo>
                  <a:cubicBezTo>
                    <a:pt x="62" y="3223"/>
                    <a:pt x="63" y="3225"/>
                    <a:pt x="63" y="3228"/>
                  </a:cubicBezTo>
                  <a:lnTo>
                    <a:pt x="63" y="3268"/>
                  </a:lnTo>
                  <a:cubicBezTo>
                    <a:pt x="63" y="3269"/>
                    <a:pt x="63" y="3271"/>
                    <a:pt x="62" y="3272"/>
                  </a:cubicBezTo>
                  <a:lnTo>
                    <a:pt x="40" y="3312"/>
                  </a:lnTo>
                  <a:lnTo>
                    <a:pt x="39" y="3303"/>
                  </a:lnTo>
                  <a:lnTo>
                    <a:pt x="61" y="3323"/>
                  </a:lnTo>
                  <a:cubicBezTo>
                    <a:pt x="62" y="3325"/>
                    <a:pt x="63" y="3327"/>
                    <a:pt x="63" y="3329"/>
                  </a:cubicBezTo>
                  <a:lnTo>
                    <a:pt x="63" y="3369"/>
                  </a:lnTo>
                  <a:cubicBezTo>
                    <a:pt x="63" y="3371"/>
                    <a:pt x="63" y="3373"/>
                    <a:pt x="62" y="3374"/>
                  </a:cubicBezTo>
                  <a:lnTo>
                    <a:pt x="15" y="3435"/>
                  </a:lnTo>
                  <a:lnTo>
                    <a:pt x="15" y="3426"/>
                  </a:lnTo>
                  <a:lnTo>
                    <a:pt x="62" y="3507"/>
                  </a:lnTo>
                  <a:lnTo>
                    <a:pt x="60" y="3505"/>
                  </a:lnTo>
                  <a:lnTo>
                    <a:pt x="132" y="3566"/>
                  </a:lnTo>
                  <a:cubicBezTo>
                    <a:pt x="134" y="3568"/>
                    <a:pt x="135" y="3570"/>
                    <a:pt x="134" y="3573"/>
                  </a:cubicBezTo>
                  <a:cubicBezTo>
                    <a:pt x="134" y="3576"/>
                    <a:pt x="132" y="3578"/>
                    <a:pt x="130" y="3579"/>
                  </a:cubicBezTo>
                  <a:lnTo>
                    <a:pt x="36" y="3620"/>
                  </a:lnTo>
                  <a:lnTo>
                    <a:pt x="35" y="3605"/>
                  </a:lnTo>
                  <a:lnTo>
                    <a:pt x="104" y="3625"/>
                  </a:lnTo>
                  <a:cubicBezTo>
                    <a:pt x="106" y="3626"/>
                    <a:pt x="108" y="3627"/>
                    <a:pt x="109" y="3630"/>
                  </a:cubicBezTo>
                  <a:cubicBezTo>
                    <a:pt x="110" y="3632"/>
                    <a:pt x="110" y="3634"/>
                    <a:pt x="109" y="3637"/>
                  </a:cubicBezTo>
                  <a:lnTo>
                    <a:pt x="40" y="3758"/>
                  </a:lnTo>
                  <a:lnTo>
                    <a:pt x="31" y="3747"/>
                  </a:lnTo>
                  <a:lnTo>
                    <a:pt x="146" y="3706"/>
                  </a:lnTo>
                  <a:cubicBezTo>
                    <a:pt x="148" y="3705"/>
                    <a:pt x="151" y="3706"/>
                    <a:pt x="153" y="3707"/>
                  </a:cubicBezTo>
                  <a:cubicBezTo>
                    <a:pt x="155" y="3709"/>
                    <a:pt x="157" y="3711"/>
                    <a:pt x="157" y="3714"/>
                  </a:cubicBezTo>
                  <a:lnTo>
                    <a:pt x="157" y="3754"/>
                  </a:lnTo>
                  <a:cubicBezTo>
                    <a:pt x="157" y="3756"/>
                    <a:pt x="156" y="3758"/>
                    <a:pt x="154" y="3760"/>
                  </a:cubicBezTo>
                  <a:lnTo>
                    <a:pt x="132" y="3780"/>
                  </a:lnTo>
                  <a:lnTo>
                    <a:pt x="60" y="3841"/>
                  </a:lnTo>
                  <a:lnTo>
                    <a:pt x="63" y="3835"/>
                  </a:lnTo>
                  <a:lnTo>
                    <a:pt x="63" y="3916"/>
                  </a:lnTo>
                  <a:lnTo>
                    <a:pt x="55" y="3908"/>
                  </a:lnTo>
                  <a:lnTo>
                    <a:pt x="127" y="3908"/>
                  </a:lnTo>
                  <a:cubicBezTo>
                    <a:pt x="128" y="3908"/>
                    <a:pt x="129" y="3908"/>
                    <a:pt x="130" y="3909"/>
                  </a:cubicBezTo>
                  <a:lnTo>
                    <a:pt x="174" y="3929"/>
                  </a:lnTo>
                  <a:cubicBezTo>
                    <a:pt x="177" y="3930"/>
                    <a:pt x="179" y="3933"/>
                    <a:pt x="179" y="3936"/>
                  </a:cubicBezTo>
                  <a:lnTo>
                    <a:pt x="179" y="3977"/>
                  </a:lnTo>
                  <a:cubicBezTo>
                    <a:pt x="179" y="3980"/>
                    <a:pt x="177" y="3982"/>
                    <a:pt x="175" y="3984"/>
                  </a:cubicBezTo>
                  <a:lnTo>
                    <a:pt x="106" y="4024"/>
                  </a:lnTo>
                  <a:cubicBezTo>
                    <a:pt x="105" y="4025"/>
                    <a:pt x="103" y="4025"/>
                    <a:pt x="102" y="4025"/>
                  </a:cubicBezTo>
                  <a:lnTo>
                    <a:pt x="55" y="4025"/>
                  </a:lnTo>
                  <a:lnTo>
                    <a:pt x="61" y="4023"/>
                  </a:lnTo>
                  <a:lnTo>
                    <a:pt x="39" y="4043"/>
                  </a:lnTo>
                  <a:lnTo>
                    <a:pt x="40" y="4033"/>
                  </a:lnTo>
                  <a:lnTo>
                    <a:pt x="86" y="4093"/>
                  </a:lnTo>
                  <a:lnTo>
                    <a:pt x="84" y="4091"/>
                  </a:lnTo>
                  <a:lnTo>
                    <a:pt x="153" y="4132"/>
                  </a:lnTo>
                  <a:cubicBezTo>
                    <a:pt x="153" y="4132"/>
                    <a:pt x="153" y="4132"/>
                    <a:pt x="154" y="4133"/>
                  </a:cubicBezTo>
                  <a:lnTo>
                    <a:pt x="222" y="4193"/>
                  </a:lnTo>
                  <a:lnTo>
                    <a:pt x="219" y="4192"/>
                  </a:lnTo>
                  <a:lnTo>
                    <a:pt x="334" y="4212"/>
                  </a:lnTo>
                  <a:cubicBezTo>
                    <a:pt x="337" y="4212"/>
                    <a:pt x="339" y="4214"/>
                    <a:pt x="340" y="4217"/>
                  </a:cubicBezTo>
                  <a:cubicBezTo>
                    <a:pt x="341" y="4219"/>
                    <a:pt x="341" y="4222"/>
                    <a:pt x="339" y="4224"/>
                  </a:cubicBezTo>
                  <a:lnTo>
                    <a:pt x="295" y="4285"/>
                  </a:lnTo>
                  <a:lnTo>
                    <a:pt x="289" y="4272"/>
                  </a:lnTo>
                  <a:lnTo>
                    <a:pt x="495" y="4272"/>
                  </a:lnTo>
                  <a:lnTo>
                    <a:pt x="492" y="4273"/>
                  </a:lnTo>
                  <a:lnTo>
                    <a:pt x="654" y="4212"/>
                  </a:lnTo>
                  <a:lnTo>
                    <a:pt x="651" y="4214"/>
                  </a:lnTo>
                  <a:lnTo>
                    <a:pt x="767" y="4112"/>
                  </a:lnTo>
                  <a:lnTo>
                    <a:pt x="766" y="4114"/>
                  </a:lnTo>
                  <a:lnTo>
                    <a:pt x="859" y="3992"/>
                  </a:lnTo>
                  <a:cubicBezTo>
                    <a:pt x="861" y="3989"/>
                    <a:pt x="865" y="3988"/>
                    <a:pt x="868" y="3990"/>
                  </a:cubicBezTo>
                  <a:lnTo>
                    <a:pt x="915" y="4010"/>
                  </a:lnTo>
                  <a:lnTo>
                    <a:pt x="909" y="4010"/>
                  </a:lnTo>
                  <a:lnTo>
                    <a:pt x="955" y="3990"/>
                  </a:lnTo>
                  <a:lnTo>
                    <a:pt x="952" y="3993"/>
                  </a:lnTo>
                  <a:lnTo>
                    <a:pt x="998" y="3912"/>
                  </a:lnTo>
                  <a:lnTo>
                    <a:pt x="997" y="3916"/>
                  </a:lnTo>
                  <a:lnTo>
                    <a:pt x="997" y="3835"/>
                  </a:lnTo>
                  <a:cubicBezTo>
                    <a:pt x="997" y="3831"/>
                    <a:pt x="1001" y="3827"/>
                    <a:pt x="1005" y="3827"/>
                  </a:cubicBezTo>
                  <a:lnTo>
                    <a:pt x="1074" y="3827"/>
                  </a:lnTo>
                  <a:cubicBezTo>
                    <a:pt x="1077" y="3827"/>
                    <a:pt x="1080" y="3829"/>
                    <a:pt x="1081" y="3831"/>
                  </a:cubicBezTo>
                  <a:lnTo>
                    <a:pt x="1103" y="3872"/>
                  </a:lnTo>
                  <a:cubicBezTo>
                    <a:pt x="1103" y="3872"/>
                    <a:pt x="1103" y="3873"/>
                    <a:pt x="1104" y="3873"/>
                  </a:cubicBezTo>
                  <a:lnTo>
                    <a:pt x="1128" y="3954"/>
                  </a:lnTo>
                  <a:lnTo>
                    <a:pt x="1128" y="3953"/>
                  </a:lnTo>
                  <a:lnTo>
                    <a:pt x="1174" y="4034"/>
                  </a:lnTo>
                  <a:lnTo>
                    <a:pt x="1164" y="4030"/>
                  </a:lnTo>
                  <a:lnTo>
                    <a:pt x="1211" y="4010"/>
                  </a:lnTo>
                  <a:lnTo>
                    <a:pt x="1206" y="4016"/>
                  </a:lnTo>
                  <a:lnTo>
                    <a:pt x="1250" y="3773"/>
                  </a:lnTo>
                  <a:cubicBezTo>
                    <a:pt x="1250" y="3771"/>
                    <a:pt x="1251" y="3769"/>
                    <a:pt x="1253" y="3768"/>
                  </a:cubicBezTo>
                  <a:lnTo>
                    <a:pt x="1346" y="3687"/>
                  </a:lnTo>
                  <a:lnTo>
                    <a:pt x="1343" y="3693"/>
                  </a:lnTo>
                  <a:lnTo>
                    <a:pt x="1343" y="3471"/>
                  </a:lnTo>
                  <a:cubicBezTo>
                    <a:pt x="1343" y="3469"/>
                    <a:pt x="1344" y="3467"/>
                    <a:pt x="1345" y="3466"/>
                  </a:cubicBezTo>
                  <a:lnTo>
                    <a:pt x="1413" y="3365"/>
                  </a:lnTo>
                  <a:lnTo>
                    <a:pt x="1412" y="3369"/>
                  </a:lnTo>
                  <a:lnTo>
                    <a:pt x="1412" y="3268"/>
                  </a:lnTo>
                  <a:lnTo>
                    <a:pt x="1415" y="3274"/>
                  </a:lnTo>
                  <a:lnTo>
                    <a:pt x="1299" y="3173"/>
                  </a:lnTo>
                  <a:cubicBezTo>
                    <a:pt x="1298" y="3171"/>
                    <a:pt x="1297" y="3169"/>
                    <a:pt x="1297" y="3167"/>
                  </a:cubicBezTo>
                  <a:lnTo>
                    <a:pt x="1297" y="2964"/>
                  </a:lnTo>
                  <a:lnTo>
                    <a:pt x="1297" y="2966"/>
                  </a:lnTo>
                  <a:lnTo>
                    <a:pt x="1250" y="2662"/>
                  </a:lnTo>
                  <a:cubicBezTo>
                    <a:pt x="1250" y="2660"/>
                    <a:pt x="1250" y="2659"/>
                    <a:pt x="1251" y="2657"/>
                  </a:cubicBezTo>
                  <a:lnTo>
                    <a:pt x="1344" y="2475"/>
                  </a:lnTo>
                  <a:cubicBezTo>
                    <a:pt x="1346" y="2472"/>
                    <a:pt x="1348" y="2471"/>
                    <a:pt x="1351" y="2471"/>
                  </a:cubicBezTo>
                  <a:lnTo>
                    <a:pt x="1559" y="2450"/>
                  </a:lnTo>
                  <a:lnTo>
                    <a:pt x="1553" y="2456"/>
                  </a:lnTo>
                  <a:lnTo>
                    <a:pt x="1599" y="2314"/>
                  </a:lnTo>
                  <a:lnTo>
                    <a:pt x="1603" y="2324"/>
                  </a:lnTo>
                  <a:lnTo>
                    <a:pt x="1488" y="2263"/>
                  </a:lnTo>
                  <a:cubicBezTo>
                    <a:pt x="1486" y="2262"/>
                    <a:pt x="1484" y="2260"/>
                    <a:pt x="1484" y="2258"/>
                  </a:cubicBezTo>
                  <a:cubicBezTo>
                    <a:pt x="1483" y="2256"/>
                    <a:pt x="1484" y="2253"/>
                    <a:pt x="1485" y="2251"/>
                  </a:cubicBezTo>
                  <a:lnTo>
                    <a:pt x="1622" y="2049"/>
                  </a:lnTo>
                  <a:lnTo>
                    <a:pt x="1621" y="2053"/>
                  </a:lnTo>
                  <a:lnTo>
                    <a:pt x="1621" y="1810"/>
                  </a:lnTo>
                  <a:cubicBezTo>
                    <a:pt x="1621" y="1807"/>
                    <a:pt x="1622" y="1805"/>
                    <a:pt x="1625" y="1803"/>
                  </a:cubicBezTo>
                  <a:lnTo>
                    <a:pt x="1740" y="1743"/>
                  </a:lnTo>
                  <a:lnTo>
                    <a:pt x="1736" y="1750"/>
                  </a:lnTo>
                  <a:lnTo>
                    <a:pt x="1736" y="1588"/>
                  </a:lnTo>
                  <a:cubicBezTo>
                    <a:pt x="1736" y="1585"/>
                    <a:pt x="1737" y="1583"/>
                    <a:pt x="1739" y="1582"/>
                  </a:cubicBezTo>
                  <a:lnTo>
                    <a:pt x="1901" y="1440"/>
                  </a:lnTo>
                  <a:lnTo>
                    <a:pt x="1898" y="1448"/>
                  </a:lnTo>
                  <a:lnTo>
                    <a:pt x="1876" y="1346"/>
                  </a:lnTo>
                  <a:cubicBezTo>
                    <a:pt x="1876" y="1346"/>
                    <a:pt x="1876" y="1345"/>
                    <a:pt x="1876" y="1345"/>
                  </a:cubicBezTo>
                  <a:lnTo>
                    <a:pt x="1876" y="1223"/>
                  </a:lnTo>
                  <a:cubicBezTo>
                    <a:pt x="1876" y="1221"/>
                    <a:pt x="1877" y="1219"/>
                    <a:pt x="1878" y="1218"/>
                  </a:cubicBezTo>
                  <a:lnTo>
                    <a:pt x="1972" y="1117"/>
                  </a:lnTo>
                  <a:cubicBezTo>
                    <a:pt x="1973" y="1115"/>
                    <a:pt x="1975" y="1114"/>
                    <a:pt x="1978" y="1114"/>
                  </a:cubicBezTo>
                  <a:lnTo>
                    <a:pt x="2093" y="1114"/>
                  </a:lnTo>
                  <a:lnTo>
                    <a:pt x="2085" y="1120"/>
                  </a:lnTo>
                  <a:lnTo>
                    <a:pt x="2132" y="978"/>
                  </a:lnTo>
                  <a:cubicBezTo>
                    <a:pt x="2133" y="974"/>
                    <a:pt x="2137" y="972"/>
                    <a:pt x="2141" y="972"/>
                  </a:cubicBezTo>
                  <a:lnTo>
                    <a:pt x="2347" y="1013"/>
                  </a:lnTo>
                  <a:lnTo>
                    <a:pt x="2338" y="1021"/>
                  </a:lnTo>
                  <a:lnTo>
                    <a:pt x="2338" y="818"/>
                  </a:lnTo>
                  <a:cubicBezTo>
                    <a:pt x="2338" y="815"/>
                    <a:pt x="2339" y="812"/>
                    <a:pt x="2342" y="811"/>
                  </a:cubicBezTo>
                  <a:lnTo>
                    <a:pt x="2389" y="791"/>
                  </a:lnTo>
                  <a:lnTo>
                    <a:pt x="2387" y="804"/>
                  </a:lnTo>
                  <a:lnTo>
                    <a:pt x="2340" y="764"/>
                  </a:lnTo>
                  <a:cubicBezTo>
                    <a:pt x="2338" y="762"/>
                    <a:pt x="2337" y="759"/>
                    <a:pt x="2338" y="757"/>
                  </a:cubicBezTo>
                  <a:cubicBezTo>
                    <a:pt x="2338" y="754"/>
                    <a:pt x="2340" y="752"/>
                    <a:pt x="2342" y="750"/>
                  </a:cubicBezTo>
                  <a:lnTo>
                    <a:pt x="2460" y="690"/>
                  </a:lnTo>
                  <a:cubicBezTo>
                    <a:pt x="2462" y="689"/>
                    <a:pt x="2465" y="689"/>
                    <a:pt x="2467" y="690"/>
                  </a:cubicBezTo>
                  <a:lnTo>
                    <a:pt x="2744" y="811"/>
                  </a:lnTo>
                  <a:lnTo>
                    <a:pt x="2738" y="811"/>
                  </a:lnTo>
                  <a:lnTo>
                    <a:pt x="2854" y="770"/>
                  </a:lnTo>
                  <a:cubicBezTo>
                    <a:pt x="2855" y="770"/>
                    <a:pt x="2857" y="770"/>
                    <a:pt x="2858" y="770"/>
                  </a:cubicBezTo>
                  <a:lnTo>
                    <a:pt x="3020" y="811"/>
                  </a:lnTo>
                  <a:lnTo>
                    <a:pt x="3011" y="816"/>
                  </a:lnTo>
                  <a:lnTo>
                    <a:pt x="3057" y="634"/>
                  </a:lnTo>
                  <a:lnTo>
                    <a:pt x="3057" y="636"/>
                  </a:lnTo>
                  <a:lnTo>
                    <a:pt x="3057" y="454"/>
                  </a:lnTo>
                  <a:cubicBezTo>
                    <a:pt x="3057" y="452"/>
                    <a:pt x="3058" y="450"/>
                    <a:pt x="3059" y="449"/>
                  </a:cubicBezTo>
                  <a:lnTo>
                    <a:pt x="3150" y="347"/>
                  </a:lnTo>
                  <a:cubicBezTo>
                    <a:pt x="3151" y="346"/>
                    <a:pt x="3153" y="345"/>
                    <a:pt x="3156" y="345"/>
                  </a:cubicBezTo>
                  <a:lnTo>
                    <a:pt x="3296" y="345"/>
                  </a:lnTo>
                  <a:cubicBezTo>
                    <a:pt x="3297" y="345"/>
                    <a:pt x="3298" y="345"/>
                    <a:pt x="3299" y="345"/>
                  </a:cubicBezTo>
                  <a:lnTo>
                    <a:pt x="3483" y="426"/>
                  </a:lnTo>
                  <a:cubicBezTo>
                    <a:pt x="3485" y="427"/>
                    <a:pt x="3486" y="429"/>
                    <a:pt x="3487" y="430"/>
                  </a:cubicBezTo>
                  <a:lnTo>
                    <a:pt x="3534" y="532"/>
                  </a:lnTo>
                  <a:lnTo>
                    <a:pt x="3520" y="530"/>
                  </a:lnTo>
                  <a:lnTo>
                    <a:pt x="3589" y="449"/>
                  </a:lnTo>
                  <a:cubicBezTo>
                    <a:pt x="3589" y="448"/>
                    <a:pt x="3590" y="448"/>
                    <a:pt x="3590" y="448"/>
                  </a:cubicBezTo>
                  <a:lnTo>
                    <a:pt x="3683" y="367"/>
                  </a:lnTo>
                  <a:lnTo>
                    <a:pt x="3680" y="373"/>
                  </a:lnTo>
                  <a:lnTo>
                    <a:pt x="3680" y="312"/>
                  </a:lnTo>
                  <a:lnTo>
                    <a:pt x="3687" y="320"/>
                  </a:lnTo>
                  <a:lnTo>
                    <a:pt x="3410" y="280"/>
                  </a:lnTo>
                  <a:close/>
                  <a:moveTo>
                    <a:pt x="3690" y="304"/>
                  </a:moveTo>
                  <a:cubicBezTo>
                    <a:pt x="3694" y="305"/>
                    <a:pt x="3696" y="308"/>
                    <a:pt x="3696" y="312"/>
                  </a:cubicBezTo>
                  <a:lnTo>
                    <a:pt x="3696" y="373"/>
                  </a:lnTo>
                  <a:cubicBezTo>
                    <a:pt x="3696" y="375"/>
                    <a:pt x="3695" y="377"/>
                    <a:pt x="3694" y="379"/>
                  </a:cubicBezTo>
                  <a:lnTo>
                    <a:pt x="3600" y="460"/>
                  </a:lnTo>
                  <a:lnTo>
                    <a:pt x="3601" y="459"/>
                  </a:lnTo>
                  <a:lnTo>
                    <a:pt x="3533" y="540"/>
                  </a:lnTo>
                  <a:cubicBezTo>
                    <a:pt x="3531" y="542"/>
                    <a:pt x="3528" y="543"/>
                    <a:pt x="3525" y="543"/>
                  </a:cubicBezTo>
                  <a:cubicBezTo>
                    <a:pt x="3523" y="542"/>
                    <a:pt x="3520" y="541"/>
                    <a:pt x="3519" y="538"/>
                  </a:cubicBezTo>
                  <a:lnTo>
                    <a:pt x="3472" y="437"/>
                  </a:lnTo>
                  <a:lnTo>
                    <a:pt x="3477" y="441"/>
                  </a:lnTo>
                  <a:lnTo>
                    <a:pt x="3293" y="360"/>
                  </a:lnTo>
                  <a:lnTo>
                    <a:pt x="3296" y="361"/>
                  </a:lnTo>
                  <a:lnTo>
                    <a:pt x="3156" y="361"/>
                  </a:lnTo>
                  <a:lnTo>
                    <a:pt x="3162" y="358"/>
                  </a:lnTo>
                  <a:lnTo>
                    <a:pt x="3071" y="459"/>
                  </a:lnTo>
                  <a:lnTo>
                    <a:pt x="3073" y="454"/>
                  </a:lnTo>
                  <a:lnTo>
                    <a:pt x="3073" y="636"/>
                  </a:lnTo>
                  <a:cubicBezTo>
                    <a:pt x="3073" y="637"/>
                    <a:pt x="3073" y="637"/>
                    <a:pt x="3073" y="638"/>
                  </a:cubicBezTo>
                  <a:lnTo>
                    <a:pt x="3026" y="820"/>
                  </a:lnTo>
                  <a:cubicBezTo>
                    <a:pt x="3025" y="825"/>
                    <a:pt x="3021" y="827"/>
                    <a:pt x="3016" y="826"/>
                  </a:cubicBezTo>
                  <a:lnTo>
                    <a:pt x="2854" y="786"/>
                  </a:lnTo>
                  <a:lnTo>
                    <a:pt x="2859" y="785"/>
                  </a:lnTo>
                  <a:lnTo>
                    <a:pt x="2744" y="826"/>
                  </a:lnTo>
                  <a:cubicBezTo>
                    <a:pt x="2742" y="827"/>
                    <a:pt x="2740" y="826"/>
                    <a:pt x="2738" y="826"/>
                  </a:cubicBezTo>
                  <a:lnTo>
                    <a:pt x="2460" y="704"/>
                  </a:lnTo>
                  <a:lnTo>
                    <a:pt x="2467" y="704"/>
                  </a:lnTo>
                  <a:lnTo>
                    <a:pt x="2349" y="765"/>
                  </a:lnTo>
                  <a:lnTo>
                    <a:pt x="2351" y="752"/>
                  </a:lnTo>
                  <a:lnTo>
                    <a:pt x="2397" y="792"/>
                  </a:lnTo>
                  <a:cubicBezTo>
                    <a:pt x="2400" y="794"/>
                    <a:pt x="2401" y="797"/>
                    <a:pt x="2400" y="799"/>
                  </a:cubicBezTo>
                  <a:cubicBezTo>
                    <a:pt x="2400" y="802"/>
                    <a:pt x="2398" y="804"/>
                    <a:pt x="2395" y="805"/>
                  </a:cubicBezTo>
                  <a:lnTo>
                    <a:pt x="2349" y="826"/>
                  </a:lnTo>
                  <a:lnTo>
                    <a:pt x="2354" y="818"/>
                  </a:lnTo>
                  <a:lnTo>
                    <a:pt x="2354" y="1021"/>
                  </a:lnTo>
                  <a:cubicBezTo>
                    <a:pt x="2354" y="1023"/>
                    <a:pt x="2352" y="1025"/>
                    <a:pt x="2351" y="1027"/>
                  </a:cubicBezTo>
                  <a:cubicBezTo>
                    <a:pt x="2349" y="1028"/>
                    <a:pt x="2346" y="1029"/>
                    <a:pt x="2344" y="1029"/>
                  </a:cubicBezTo>
                  <a:lnTo>
                    <a:pt x="2138" y="988"/>
                  </a:lnTo>
                  <a:lnTo>
                    <a:pt x="2147" y="983"/>
                  </a:lnTo>
                  <a:lnTo>
                    <a:pt x="2100" y="1125"/>
                  </a:lnTo>
                  <a:cubicBezTo>
                    <a:pt x="2099" y="1128"/>
                    <a:pt x="2096" y="1130"/>
                    <a:pt x="2093" y="1130"/>
                  </a:cubicBezTo>
                  <a:lnTo>
                    <a:pt x="1978" y="1130"/>
                  </a:lnTo>
                  <a:lnTo>
                    <a:pt x="1983" y="1127"/>
                  </a:lnTo>
                  <a:lnTo>
                    <a:pt x="1890" y="1229"/>
                  </a:lnTo>
                  <a:lnTo>
                    <a:pt x="1892" y="1223"/>
                  </a:lnTo>
                  <a:lnTo>
                    <a:pt x="1892" y="1345"/>
                  </a:lnTo>
                  <a:lnTo>
                    <a:pt x="1892" y="1343"/>
                  </a:lnTo>
                  <a:lnTo>
                    <a:pt x="1914" y="1444"/>
                  </a:lnTo>
                  <a:cubicBezTo>
                    <a:pt x="1915" y="1447"/>
                    <a:pt x="1914" y="1450"/>
                    <a:pt x="1911" y="1452"/>
                  </a:cubicBezTo>
                  <a:lnTo>
                    <a:pt x="1749" y="1594"/>
                  </a:lnTo>
                  <a:lnTo>
                    <a:pt x="1752" y="1588"/>
                  </a:lnTo>
                  <a:lnTo>
                    <a:pt x="1752" y="1750"/>
                  </a:lnTo>
                  <a:cubicBezTo>
                    <a:pt x="1752" y="1753"/>
                    <a:pt x="1750" y="1755"/>
                    <a:pt x="1748" y="1757"/>
                  </a:cubicBezTo>
                  <a:lnTo>
                    <a:pt x="1632" y="1817"/>
                  </a:lnTo>
                  <a:lnTo>
                    <a:pt x="1637" y="1810"/>
                  </a:lnTo>
                  <a:lnTo>
                    <a:pt x="1637" y="2053"/>
                  </a:lnTo>
                  <a:cubicBezTo>
                    <a:pt x="1637" y="2055"/>
                    <a:pt x="1636" y="2057"/>
                    <a:pt x="1635" y="2058"/>
                  </a:cubicBezTo>
                  <a:lnTo>
                    <a:pt x="1498" y="2260"/>
                  </a:lnTo>
                  <a:lnTo>
                    <a:pt x="1495" y="2249"/>
                  </a:lnTo>
                  <a:lnTo>
                    <a:pt x="1611" y="2309"/>
                  </a:lnTo>
                  <a:cubicBezTo>
                    <a:pt x="1614" y="2311"/>
                    <a:pt x="1616" y="2315"/>
                    <a:pt x="1614" y="2319"/>
                  </a:cubicBezTo>
                  <a:lnTo>
                    <a:pt x="1568" y="2461"/>
                  </a:lnTo>
                  <a:cubicBezTo>
                    <a:pt x="1567" y="2464"/>
                    <a:pt x="1564" y="2466"/>
                    <a:pt x="1561" y="2466"/>
                  </a:cubicBezTo>
                  <a:lnTo>
                    <a:pt x="1352" y="2487"/>
                  </a:lnTo>
                  <a:lnTo>
                    <a:pt x="1359" y="2482"/>
                  </a:lnTo>
                  <a:lnTo>
                    <a:pt x="1265" y="2664"/>
                  </a:lnTo>
                  <a:lnTo>
                    <a:pt x="1266" y="2660"/>
                  </a:lnTo>
                  <a:lnTo>
                    <a:pt x="1313" y="2963"/>
                  </a:lnTo>
                  <a:cubicBezTo>
                    <a:pt x="1313" y="2964"/>
                    <a:pt x="1313" y="2964"/>
                    <a:pt x="1313" y="2964"/>
                  </a:cubicBezTo>
                  <a:lnTo>
                    <a:pt x="1313" y="3167"/>
                  </a:lnTo>
                  <a:lnTo>
                    <a:pt x="1310" y="3161"/>
                  </a:lnTo>
                  <a:lnTo>
                    <a:pt x="1425" y="3262"/>
                  </a:lnTo>
                  <a:cubicBezTo>
                    <a:pt x="1427" y="3264"/>
                    <a:pt x="1428" y="3266"/>
                    <a:pt x="1428" y="3268"/>
                  </a:cubicBezTo>
                  <a:lnTo>
                    <a:pt x="1428" y="3369"/>
                  </a:lnTo>
                  <a:cubicBezTo>
                    <a:pt x="1428" y="3371"/>
                    <a:pt x="1428" y="3373"/>
                    <a:pt x="1427" y="3374"/>
                  </a:cubicBezTo>
                  <a:lnTo>
                    <a:pt x="1358" y="3475"/>
                  </a:lnTo>
                  <a:lnTo>
                    <a:pt x="1359" y="3471"/>
                  </a:lnTo>
                  <a:lnTo>
                    <a:pt x="1359" y="3693"/>
                  </a:lnTo>
                  <a:cubicBezTo>
                    <a:pt x="1359" y="3696"/>
                    <a:pt x="1358" y="3698"/>
                    <a:pt x="1357" y="3699"/>
                  </a:cubicBezTo>
                  <a:lnTo>
                    <a:pt x="1263" y="3780"/>
                  </a:lnTo>
                  <a:lnTo>
                    <a:pt x="1266" y="3776"/>
                  </a:lnTo>
                  <a:lnTo>
                    <a:pt x="1222" y="4019"/>
                  </a:lnTo>
                  <a:cubicBezTo>
                    <a:pt x="1221" y="4021"/>
                    <a:pt x="1220" y="4024"/>
                    <a:pt x="1217" y="4025"/>
                  </a:cubicBezTo>
                  <a:lnTo>
                    <a:pt x="1171" y="4045"/>
                  </a:lnTo>
                  <a:cubicBezTo>
                    <a:pt x="1167" y="4046"/>
                    <a:pt x="1162" y="4045"/>
                    <a:pt x="1160" y="4042"/>
                  </a:cubicBezTo>
                  <a:lnTo>
                    <a:pt x="1114" y="3961"/>
                  </a:lnTo>
                  <a:cubicBezTo>
                    <a:pt x="1113" y="3960"/>
                    <a:pt x="1113" y="3959"/>
                    <a:pt x="1113" y="3959"/>
                  </a:cubicBezTo>
                  <a:lnTo>
                    <a:pt x="1088" y="3878"/>
                  </a:lnTo>
                  <a:lnTo>
                    <a:pt x="1089" y="3879"/>
                  </a:lnTo>
                  <a:lnTo>
                    <a:pt x="1067" y="3839"/>
                  </a:lnTo>
                  <a:lnTo>
                    <a:pt x="1074" y="3843"/>
                  </a:lnTo>
                  <a:lnTo>
                    <a:pt x="1005" y="3843"/>
                  </a:lnTo>
                  <a:lnTo>
                    <a:pt x="1013" y="3835"/>
                  </a:lnTo>
                  <a:lnTo>
                    <a:pt x="1013" y="3916"/>
                  </a:lnTo>
                  <a:cubicBezTo>
                    <a:pt x="1013" y="3917"/>
                    <a:pt x="1013" y="3919"/>
                    <a:pt x="1012" y="3920"/>
                  </a:cubicBezTo>
                  <a:lnTo>
                    <a:pt x="966" y="4001"/>
                  </a:lnTo>
                  <a:cubicBezTo>
                    <a:pt x="965" y="4003"/>
                    <a:pt x="963" y="4004"/>
                    <a:pt x="962" y="4004"/>
                  </a:cubicBezTo>
                  <a:lnTo>
                    <a:pt x="915" y="4025"/>
                  </a:lnTo>
                  <a:cubicBezTo>
                    <a:pt x="913" y="4025"/>
                    <a:pt x="911" y="4025"/>
                    <a:pt x="909" y="4025"/>
                  </a:cubicBezTo>
                  <a:lnTo>
                    <a:pt x="862" y="4004"/>
                  </a:lnTo>
                  <a:lnTo>
                    <a:pt x="872" y="4002"/>
                  </a:lnTo>
                  <a:lnTo>
                    <a:pt x="778" y="4123"/>
                  </a:lnTo>
                  <a:cubicBezTo>
                    <a:pt x="778" y="4124"/>
                    <a:pt x="778" y="4124"/>
                    <a:pt x="777" y="4125"/>
                  </a:cubicBezTo>
                  <a:lnTo>
                    <a:pt x="662" y="4226"/>
                  </a:lnTo>
                  <a:cubicBezTo>
                    <a:pt x="661" y="4226"/>
                    <a:pt x="660" y="4227"/>
                    <a:pt x="659" y="4227"/>
                  </a:cubicBezTo>
                  <a:lnTo>
                    <a:pt x="497" y="4288"/>
                  </a:lnTo>
                  <a:cubicBezTo>
                    <a:pt x="496" y="4288"/>
                    <a:pt x="496" y="4288"/>
                    <a:pt x="495" y="4288"/>
                  </a:cubicBezTo>
                  <a:lnTo>
                    <a:pt x="289" y="4288"/>
                  </a:lnTo>
                  <a:cubicBezTo>
                    <a:pt x="286" y="4288"/>
                    <a:pt x="283" y="4287"/>
                    <a:pt x="281" y="4284"/>
                  </a:cubicBezTo>
                  <a:cubicBezTo>
                    <a:pt x="280" y="4281"/>
                    <a:pt x="280" y="4278"/>
                    <a:pt x="282" y="4276"/>
                  </a:cubicBezTo>
                  <a:lnTo>
                    <a:pt x="326" y="4215"/>
                  </a:lnTo>
                  <a:lnTo>
                    <a:pt x="331" y="4228"/>
                  </a:lnTo>
                  <a:lnTo>
                    <a:pt x="216" y="4207"/>
                  </a:lnTo>
                  <a:cubicBezTo>
                    <a:pt x="214" y="4207"/>
                    <a:pt x="213" y="4206"/>
                    <a:pt x="212" y="4205"/>
                  </a:cubicBezTo>
                  <a:lnTo>
                    <a:pt x="143" y="4145"/>
                  </a:lnTo>
                  <a:lnTo>
                    <a:pt x="144" y="4146"/>
                  </a:lnTo>
                  <a:lnTo>
                    <a:pt x="76" y="4105"/>
                  </a:lnTo>
                  <a:cubicBezTo>
                    <a:pt x="75" y="4105"/>
                    <a:pt x="74" y="4104"/>
                    <a:pt x="74" y="4103"/>
                  </a:cubicBezTo>
                  <a:lnTo>
                    <a:pt x="27" y="4042"/>
                  </a:lnTo>
                  <a:cubicBezTo>
                    <a:pt x="24" y="4039"/>
                    <a:pt x="25" y="4034"/>
                    <a:pt x="28" y="4032"/>
                  </a:cubicBezTo>
                  <a:lnTo>
                    <a:pt x="50" y="4011"/>
                  </a:lnTo>
                  <a:cubicBezTo>
                    <a:pt x="51" y="4010"/>
                    <a:pt x="53" y="4009"/>
                    <a:pt x="55" y="4009"/>
                  </a:cubicBezTo>
                  <a:lnTo>
                    <a:pt x="102" y="4009"/>
                  </a:lnTo>
                  <a:lnTo>
                    <a:pt x="98" y="4010"/>
                  </a:lnTo>
                  <a:lnTo>
                    <a:pt x="166" y="3970"/>
                  </a:lnTo>
                  <a:lnTo>
                    <a:pt x="162" y="3977"/>
                  </a:lnTo>
                  <a:lnTo>
                    <a:pt x="162" y="3936"/>
                  </a:lnTo>
                  <a:lnTo>
                    <a:pt x="167" y="3944"/>
                  </a:lnTo>
                  <a:lnTo>
                    <a:pt x="123" y="3923"/>
                  </a:lnTo>
                  <a:lnTo>
                    <a:pt x="127" y="3924"/>
                  </a:lnTo>
                  <a:lnTo>
                    <a:pt x="55" y="3924"/>
                  </a:lnTo>
                  <a:cubicBezTo>
                    <a:pt x="51" y="3924"/>
                    <a:pt x="47" y="3920"/>
                    <a:pt x="47" y="3916"/>
                  </a:cubicBezTo>
                  <a:lnTo>
                    <a:pt x="47" y="3835"/>
                  </a:lnTo>
                  <a:cubicBezTo>
                    <a:pt x="47" y="3833"/>
                    <a:pt x="48" y="3830"/>
                    <a:pt x="50" y="3829"/>
                  </a:cubicBezTo>
                  <a:lnTo>
                    <a:pt x="121" y="3768"/>
                  </a:lnTo>
                  <a:lnTo>
                    <a:pt x="143" y="3748"/>
                  </a:lnTo>
                  <a:lnTo>
                    <a:pt x="141" y="3754"/>
                  </a:lnTo>
                  <a:lnTo>
                    <a:pt x="141" y="3714"/>
                  </a:lnTo>
                  <a:lnTo>
                    <a:pt x="151" y="3721"/>
                  </a:lnTo>
                  <a:lnTo>
                    <a:pt x="36" y="3762"/>
                  </a:lnTo>
                  <a:cubicBezTo>
                    <a:pt x="33" y="3763"/>
                    <a:pt x="29" y="3762"/>
                    <a:pt x="27" y="3759"/>
                  </a:cubicBezTo>
                  <a:cubicBezTo>
                    <a:pt x="25" y="3757"/>
                    <a:pt x="25" y="3753"/>
                    <a:pt x="26" y="3750"/>
                  </a:cubicBezTo>
                  <a:lnTo>
                    <a:pt x="95" y="3629"/>
                  </a:lnTo>
                  <a:lnTo>
                    <a:pt x="100" y="3640"/>
                  </a:lnTo>
                  <a:lnTo>
                    <a:pt x="31" y="3620"/>
                  </a:lnTo>
                  <a:cubicBezTo>
                    <a:pt x="28" y="3619"/>
                    <a:pt x="25" y="3616"/>
                    <a:pt x="25" y="3613"/>
                  </a:cubicBezTo>
                  <a:cubicBezTo>
                    <a:pt x="25" y="3609"/>
                    <a:pt x="27" y="3606"/>
                    <a:pt x="30" y="3605"/>
                  </a:cubicBezTo>
                  <a:lnTo>
                    <a:pt x="123" y="3564"/>
                  </a:lnTo>
                  <a:lnTo>
                    <a:pt x="121" y="3578"/>
                  </a:lnTo>
                  <a:lnTo>
                    <a:pt x="50" y="3517"/>
                  </a:lnTo>
                  <a:cubicBezTo>
                    <a:pt x="49" y="3517"/>
                    <a:pt x="49" y="3516"/>
                    <a:pt x="48" y="3515"/>
                  </a:cubicBezTo>
                  <a:lnTo>
                    <a:pt x="2" y="3434"/>
                  </a:lnTo>
                  <a:cubicBezTo>
                    <a:pt x="0" y="3431"/>
                    <a:pt x="0" y="3428"/>
                    <a:pt x="2" y="3425"/>
                  </a:cubicBezTo>
                  <a:lnTo>
                    <a:pt x="49" y="3364"/>
                  </a:lnTo>
                  <a:lnTo>
                    <a:pt x="47" y="3369"/>
                  </a:lnTo>
                  <a:lnTo>
                    <a:pt x="47" y="3329"/>
                  </a:lnTo>
                  <a:lnTo>
                    <a:pt x="50" y="3335"/>
                  </a:lnTo>
                  <a:lnTo>
                    <a:pt x="28" y="3315"/>
                  </a:lnTo>
                  <a:cubicBezTo>
                    <a:pt x="25" y="3312"/>
                    <a:pt x="24" y="3308"/>
                    <a:pt x="26" y="3305"/>
                  </a:cubicBezTo>
                  <a:lnTo>
                    <a:pt x="48" y="3264"/>
                  </a:lnTo>
                  <a:lnTo>
                    <a:pt x="47" y="3268"/>
                  </a:lnTo>
                  <a:lnTo>
                    <a:pt x="47" y="3228"/>
                  </a:lnTo>
                  <a:lnTo>
                    <a:pt x="50" y="3234"/>
                  </a:lnTo>
                  <a:lnTo>
                    <a:pt x="28" y="3213"/>
                  </a:lnTo>
                  <a:cubicBezTo>
                    <a:pt x="25" y="3211"/>
                    <a:pt x="24" y="3207"/>
                    <a:pt x="26" y="3204"/>
                  </a:cubicBezTo>
                  <a:lnTo>
                    <a:pt x="48" y="3163"/>
                  </a:lnTo>
                  <a:lnTo>
                    <a:pt x="47" y="3167"/>
                  </a:lnTo>
                  <a:lnTo>
                    <a:pt x="47" y="3066"/>
                  </a:lnTo>
                  <a:cubicBezTo>
                    <a:pt x="47" y="3063"/>
                    <a:pt x="48" y="3061"/>
                    <a:pt x="50" y="3059"/>
                  </a:cubicBezTo>
                  <a:lnTo>
                    <a:pt x="75" y="3039"/>
                  </a:lnTo>
                  <a:cubicBezTo>
                    <a:pt x="76" y="3039"/>
                    <a:pt x="77" y="3038"/>
                    <a:pt x="78" y="3038"/>
                  </a:cubicBezTo>
                  <a:lnTo>
                    <a:pt x="146" y="3018"/>
                  </a:lnTo>
                  <a:lnTo>
                    <a:pt x="142" y="3020"/>
                  </a:lnTo>
                  <a:lnTo>
                    <a:pt x="189" y="2960"/>
                  </a:lnTo>
                  <a:cubicBezTo>
                    <a:pt x="189" y="2959"/>
                    <a:pt x="190" y="2959"/>
                    <a:pt x="190" y="2958"/>
                  </a:cubicBezTo>
                  <a:lnTo>
                    <a:pt x="259" y="2898"/>
                  </a:lnTo>
                  <a:cubicBezTo>
                    <a:pt x="259" y="2897"/>
                    <a:pt x="260" y="2897"/>
                    <a:pt x="261" y="2896"/>
                  </a:cubicBezTo>
                  <a:lnTo>
                    <a:pt x="354" y="2856"/>
                  </a:lnTo>
                  <a:lnTo>
                    <a:pt x="352" y="2857"/>
                  </a:lnTo>
                  <a:lnTo>
                    <a:pt x="421" y="2796"/>
                  </a:lnTo>
                  <a:cubicBezTo>
                    <a:pt x="421" y="2796"/>
                    <a:pt x="422" y="2795"/>
                    <a:pt x="423" y="2795"/>
                  </a:cubicBezTo>
                  <a:lnTo>
                    <a:pt x="516" y="2755"/>
                  </a:lnTo>
                  <a:lnTo>
                    <a:pt x="515" y="2755"/>
                  </a:lnTo>
                  <a:lnTo>
                    <a:pt x="608" y="2695"/>
                  </a:lnTo>
                  <a:lnTo>
                    <a:pt x="605" y="2699"/>
                  </a:lnTo>
                  <a:lnTo>
                    <a:pt x="627" y="2638"/>
                  </a:lnTo>
                  <a:cubicBezTo>
                    <a:pt x="628" y="2637"/>
                    <a:pt x="628" y="2635"/>
                    <a:pt x="629" y="2635"/>
                  </a:cubicBezTo>
                  <a:lnTo>
                    <a:pt x="651" y="2614"/>
                  </a:lnTo>
                  <a:cubicBezTo>
                    <a:pt x="652" y="2614"/>
                    <a:pt x="653" y="2613"/>
                    <a:pt x="654" y="2613"/>
                  </a:cubicBezTo>
                  <a:lnTo>
                    <a:pt x="726" y="2592"/>
                  </a:lnTo>
                  <a:cubicBezTo>
                    <a:pt x="727" y="2592"/>
                    <a:pt x="728" y="2592"/>
                    <a:pt x="730" y="2592"/>
                  </a:cubicBezTo>
                  <a:lnTo>
                    <a:pt x="820" y="2612"/>
                  </a:lnTo>
                  <a:lnTo>
                    <a:pt x="814" y="2614"/>
                  </a:lnTo>
                  <a:lnTo>
                    <a:pt x="838" y="2594"/>
                  </a:lnTo>
                  <a:lnTo>
                    <a:pt x="885" y="2553"/>
                  </a:lnTo>
                  <a:lnTo>
                    <a:pt x="883" y="2556"/>
                  </a:lnTo>
                  <a:lnTo>
                    <a:pt x="951" y="2414"/>
                  </a:lnTo>
                  <a:cubicBezTo>
                    <a:pt x="952" y="2414"/>
                    <a:pt x="952" y="2413"/>
                    <a:pt x="953" y="2412"/>
                  </a:cubicBezTo>
                  <a:lnTo>
                    <a:pt x="1090" y="2270"/>
                  </a:lnTo>
                  <a:cubicBezTo>
                    <a:pt x="1091" y="2270"/>
                    <a:pt x="1092" y="2269"/>
                    <a:pt x="1093" y="2269"/>
                  </a:cubicBezTo>
                  <a:lnTo>
                    <a:pt x="1139" y="2248"/>
                  </a:lnTo>
                  <a:lnTo>
                    <a:pt x="1136" y="2260"/>
                  </a:lnTo>
                  <a:lnTo>
                    <a:pt x="1113" y="2218"/>
                  </a:lnTo>
                  <a:lnTo>
                    <a:pt x="1089" y="2158"/>
                  </a:lnTo>
                  <a:cubicBezTo>
                    <a:pt x="1088" y="2155"/>
                    <a:pt x="1088" y="2153"/>
                    <a:pt x="1089" y="2151"/>
                  </a:cubicBezTo>
                  <a:cubicBezTo>
                    <a:pt x="1090" y="2149"/>
                    <a:pt x="1092" y="2147"/>
                    <a:pt x="1095" y="2147"/>
                  </a:cubicBezTo>
                  <a:lnTo>
                    <a:pt x="1213" y="2126"/>
                  </a:lnTo>
                  <a:lnTo>
                    <a:pt x="1208" y="2130"/>
                  </a:lnTo>
                  <a:lnTo>
                    <a:pt x="1252" y="2069"/>
                  </a:lnTo>
                  <a:lnTo>
                    <a:pt x="1250" y="2072"/>
                  </a:lnTo>
                  <a:lnTo>
                    <a:pt x="1297" y="1889"/>
                  </a:lnTo>
                  <a:cubicBezTo>
                    <a:pt x="1297" y="1889"/>
                    <a:pt x="1297" y="1888"/>
                    <a:pt x="1297" y="1888"/>
                  </a:cubicBezTo>
                  <a:lnTo>
                    <a:pt x="1437" y="1585"/>
                  </a:lnTo>
                  <a:lnTo>
                    <a:pt x="1484" y="1463"/>
                  </a:lnTo>
                  <a:cubicBezTo>
                    <a:pt x="1485" y="1462"/>
                    <a:pt x="1486" y="1460"/>
                    <a:pt x="1487" y="1459"/>
                  </a:cubicBezTo>
                  <a:lnTo>
                    <a:pt x="1556" y="1419"/>
                  </a:lnTo>
                  <a:lnTo>
                    <a:pt x="1553" y="1423"/>
                  </a:lnTo>
                  <a:lnTo>
                    <a:pt x="1575" y="1362"/>
                  </a:lnTo>
                  <a:cubicBezTo>
                    <a:pt x="1575" y="1360"/>
                    <a:pt x="1577" y="1359"/>
                    <a:pt x="1579" y="1358"/>
                  </a:cubicBezTo>
                  <a:lnTo>
                    <a:pt x="1672" y="1317"/>
                  </a:lnTo>
                  <a:lnTo>
                    <a:pt x="1670" y="1331"/>
                  </a:lnTo>
                  <a:lnTo>
                    <a:pt x="1624" y="1290"/>
                  </a:lnTo>
                  <a:cubicBezTo>
                    <a:pt x="1621" y="1288"/>
                    <a:pt x="1620" y="1284"/>
                    <a:pt x="1621" y="1281"/>
                  </a:cubicBezTo>
                  <a:lnTo>
                    <a:pt x="1646" y="1220"/>
                  </a:lnTo>
                  <a:cubicBezTo>
                    <a:pt x="1646" y="1220"/>
                    <a:pt x="1647" y="1219"/>
                    <a:pt x="1647" y="1218"/>
                  </a:cubicBezTo>
                  <a:lnTo>
                    <a:pt x="1694" y="1157"/>
                  </a:lnTo>
                  <a:lnTo>
                    <a:pt x="1774" y="1071"/>
                  </a:lnTo>
                  <a:lnTo>
                    <a:pt x="1772" y="1078"/>
                  </a:lnTo>
                  <a:lnTo>
                    <a:pt x="1755" y="956"/>
                  </a:lnTo>
                  <a:cubicBezTo>
                    <a:pt x="1755" y="954"/>
                    <a:pt x="1756" y="951"/>
                    <a:pt x="1758" y="949"/>
                  </a:cubicBezTo>
                  <a:cubicBezTo>
                    <a:pt x="1759" y="948"/>
                    <a:pt x="1762" y="947"/>
                    <a:pt x="1764" y="947"/>
                  </a:cubicBezTo>
                  <a:lnTo>
                    <a:pt x="1816" y="952"/>
                  </a:lnTo>
                  <a:lnTo>
                    <a:pt x="1810" y="955"/>
                  </a:lnTo>
                  <a:lnTo>
                    <a:pt x="1925" y="833"/>
                  </a:lnTo>
                  <a:lnTo>
                    <a:pt x="1928" y="846"/>
                  </a:lnTo>
                  <a:lnTo>
                    <a:pt x="1881" y="826"/>
                  </a:lnTo>
                  <a:cubicBezTo>
                    <a:pt x="1878" y="824"/>
                    <a:pt x="1876" y="822"/>
                    <a:pt x="1876" y="818"/>
                  </a:cubicBezTo>
                  <a:lnTo>
                    <a:pt x="1876" y="758"/>
                  </a:lnTo>
                  <a:cubicBezTo>
                    <a:pt x="1876" y="756"/>
                    <a:pt x="1877" y="754"/>
                    <a:pt x="1878" y="753"/>
                  </a:cubicBezTo>
                  <a:lnTo>
                    <a:pt x="1972" y="631"/>
                  </a:lnTo>
                  <a:lnTo>
                    <a:pt x="2063" y="529"/>
                  </a:lnTo>
                  <a:lnTo>
                    <a:pt x="2156" y="448"/>
                  </a:lnTo>
                  <a:cubicBezTo>
                    <a:pt x="2158" y="447"/>
                    <a:pt x="2160" y="446"/>
                    <a:pt x="2162" y="446"/>
                  </a:cubicBezTo>
                  <a:lnTo>
                    <a:pt x="2230" y="446"/>
                  </a:lnTo>
                  <a:cubicBezTo>
                    <a:pt x="2232" y="446"/>
                    <a:pt x="2234" y="447"/>
                    <a:pt x="2235" y="448"/>
                  </a:cubicBezTo>
                  <a:lnTo>
                    <a:pt x="2282" y="488"/>
                  </a:lnTo>
                  <a:lnTo>
                    <a:pt x="2277" y="486"/>
                  </a:lnTo>
                  <a:lnTo>
                    <a:pt x="2346" y="486"/>
                  </a:lnTo>
                  <a:lnTo>
                    <a:pt x="2343" y="487"/>
                  </a:lnTo>
                  <a:lnTo>
                    <a:pt x="2415" y="466"/>
                  </a:lnTo>
                  <a:lnTo>
                    <a:pt x="2409" y="471"/>
                  </a:lnTo>
                  <a:lnTo>
                    <a:pt x="2431" y="411"/>
                  </a:lnTo>
                  <a:cubicBezTo>
                    <a:pt x="2432" y="409"/>
                    <a:pt x="2433" y="408"/>
                    <a:pt x="2434" y="407"/>
                  </a:cubicBezTo>
                  <a:lnTo>
                    <a:pt x="2480" y="367"/>
                  </a:lnTo>
                  <a:cubicBezTo>
                    <a:pt x="2482" y="366"/>
                    <a:pt x="2483" y="365"/>
                    <a:pt x="2485" y="365"/>
                  </a:cubicBezTo>
                  <a:lnTo>
                    <a:pt x="2647" y="345"/>
                  </a:lnTo>
                  <a:lnTo>
                    <a:pt x="2640" y="355"/>
                  </a:lnTo>
                  <a:lnTo>
                    <a:pt x="2618" y="295"/>
                  </a:lnTo>
                  <a:cubicBezTo>
                    <a:pt x="2618" y="293"/>
                    <a:pt x="2617" y="291"/>
                    <a:pt x="2618" y="290"/>
                  </a:cubicBezTo>
                  <a:lnTo>
                    <a:pt x="2640" y="209"/>
                  </a:lnTo>
                  <a:cubicBezTo>
                    <a:pt x="2640" y="207"/>
                    <a:pt x="2641" y="206"/>
                    <a:pt x="2643" y="204"/>
                  </a:cubicBezTo>
                  <a:lnTo>
                    <a:pt x="2784" y="103"/>
                  </a:lnTo>
                  <a:lnTo>
                    <a:pt x="2852" y="62"/>
                  </a:lnTo>
                  <a:cubicBezTo>
                    <a:pt x="2855" y="61"/>
                    <a:pt x="2859" y="61"/>
                    <a:pt x="2862" y="63"/>
                  </a:cubicBezTo>
                  <a:lnTo>
                    <a:pt x="2930" y="124"/>
                  </a:lnTo>
                  <a:cubicBezTo>
                    <a:pt x="2932" y="125"/>
                    <a:pt x="2933" y="127"/>
                    <a:pt x="2933" y="129"/>
                  </a:cubicBezTo>
                  <a:lnTo>
                    <a:pt x="2958" y="311"/>
                  </a:lnTo>
                  <a:lnTo>
                    <a:pt x="2942" y="309"/>
                  </a:lnTo>
                  <a:lnTo>
                    <a:pt x="3033" y="66"/>
                  </a:lnTo>
                  <a:cubicBezTo>
                    <a:pt x="3034" y="64"/>
                    <a:pt x="3036" y="62"/>
                    <a:pt x="3039" y="61"/>
                  </a:cubicBezTo>
                  <a:cubicBezTo>
                    <a:pt x="3042" y="61"/>
                    <a:pt x="3045" y="62"/>
                    <a:pt x="3047" y="65"/>
                  </a:cubicBezTo>
                  <a:lnTo>
                    <a:pt x="3118" y="166"/>
                  </a:lnTo>
                  <a:lnTo>
                    <a:pt x="3104" y="170"/>
                  </a:lnTo>
                  <a:lnTo>
                    <a:pt x="3104" y="69"/>
                  </a:lnTo>
                  <a:lnTo>
                    <a:pt x="3104" y="8"/>
                  </a:lnTo>
                  <a:cubicBezTo>
                    <a:pt x="3104" y="4"/>
                    <a:pt x="3107" y="0"/>
                    <a:pt x="3112" y="0"/>
                  </a:cubicBezTo>
                  <a:lnTo>
                    <a:pt x="3156" y="0"/>
                  </a:lnTo>
                  <a:lnTo>
                    <a:pt x="3227" y="0"/>
                  </a:lnTo>
                  <a:cubicBezTo>
                    <a:pt x="3232" y="0"/>
                    <a:pt x="3235" y="4"/>
                    <a:pt x="3235" y="8"/>
                  </a:cubicBezTo>
                  <a:lnTo>
                    <a:pt x="3235" y="49"/>
                  </a:lnTo>
                  <a:lnTo>
                    <a:pt x="3235" y="47"/>
                  </a:lnTo>
                  <a:lnTo>
                    <a:pt x="3257" y="148"/>
                  </a:lnTo>
                  <a:lnTo>
                    <a:pt x="3243" y="145"/>
                  </a:lnTo>
                  <a:lnTo>
                    <a:pt x="3312" y="64"/>
                  </a:lnTo>
                  <a:lnTo>
                    <a:pt x="3311" y="65"/>
                  </a:lnTo>
                  <a:lnTo>
                    <a:pt x="3336" y="25"/>
                  </a:lnTo>
                  <a:cubicBezTo>
                    <a:pt x="3337" y="21"/>
                    <a:pt x="3341" y="20"/>
                    <a:pt x="3345" y="21"/>
                  </a:cubicBezTo>
                  <a:lnTo>
                    <a:pt x="3413" y="41"/>
                  </a:lnTo>
                  <a:lnTo>
                    <a:pt x="3644" y="102"/>
                  </a:lnTo>
                  <a:cubicBezTo>
                    <a:pt x="3647" y="103"/>
                    <a:pt x="3649" y="105"/>
                    <a:pt x="3650" y="108"/>
                  </a:cubicBezTo>
                  <a:cubicBezTo>
                    <a:pt x="3650" y="111"/>
                    <a:pt x="3649" y="114"/>
                    <a:pt x="3647" y="116"/>
                  </a:cubicBezTo>
                  <a:lnTo>
                    <a:pt x="3532" y="217"/>
                  </a:lnTo>
                  <a:cubicBezTo>
                    <a:pt x="3531" y="217"/>
                    <a:pt x="3531" y="218"/>
                    <a:pt x="3530" y="218"/>
                  </a:cubicBezTo>
                  <a:lnTo>
                    <a:pt x="3415" y="279"/>
                  </a:lnTo>
                  <a:lnTo>
                    <a:pt x="3412" y="264"/>
                  </a:lnTo>
                  <a:lnTo>
                    <a:pt x="3690" y="304"/>
                  </a:lnTo>
                  <a:close/>
                </a:path>
              </a:pathLst>
            </a:custGeom>
            <a:solidFill>
              <a:srgbClr val="000000"/>
            </a:solidFill>
            <a:ln w="0" cap="flat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182" name="Freeform 149"/>
            <p:cNvSpPr>
              <a:spLocks/>
            </p:cNvSpPr>
            <p:nvPr/>
          </p:nvSpPr>
          <p:spPr bwMode="auto">
            <a:xfrm>
              <a:off x="3833" y="1838"/>
              <a:ext cx="566" cy="397"/>
            </a:xfrm>
            <a:custGeom>
              <a:avLst/>
              <a:gdLst>
                <a:gd name="T0" fmla="*/ 892 w 538"/>
                <a:gd name="T1" fmla="*/ 581 h 378"/>
                <a:gd name="T2" fmla="*/ 949 w 538"/>
                <a:gd name="T3" fmla="*/ 481 h 378"/>
                <a:gd name="T4" fmla="*/ 988 w 538"/>
                <a:gd name="T5" fmla="*/ 475 h 378"/>
                <a:gd name="T6" fmla="*/ 982 w 538"/>
                <a:gd name="T7" fmla="*/ 432 h 378"/>
                <a:gd name="T8" fmla="*/ 939 w 538"/>
                <a:gd name="T9" fmla="*/ 364 h 378"/>
                <a:gd name="T10" fmla="*/ 913 w 538"/>
                <a:gd name="T11" fmla="*/ 331 h 378"/>
                <a:gd name="T12" fmla="*/ 902 w 538"/>
                <a:gd name="T13" fmla="*/ 273 h 378"/>
                <a:gd name="T14" fmla="*/ 864 w 538"/>
                <a:gd name="T15" fmla="*/ 264 h 378"/>
                <a:gd name="T16" fmla="*/ 864 w 538"/>
                <a:gd name="T17" fmla="*/ 239 h 378"/>
                <a:gd name="T18" fmla="*/ 913 w 538"/>
                <a:gd name="T19" fmla="*/ 190 h 378"/>
                <a:gd name="T20" fmla="*/ 864 w 538"/>
                <a:gd name="T21" fmla="*/ 107 h 378"/>
                <a:gd name="T22" fmla="*/ 834 w 538"/>
                <a:gd name="T23" fmla="*/ 40 h 378"/>
                <a:gd name="T24" fmla="*/ 767 w 538"/>
                <a:gd name="T25" fmla="*/ 9 h 378"/>
                <a:gd name="T26" fmla="*/ 610 w 538"/>
                <a:gd name="T27" fmla="*/ 40 h 378"/>
                <a:gd name="T28" fmla="*/ 516 w 538"/>
                <a:gd name="T29" fmla="*/ 25 h 378"/>
                <a:gd name="T30" fmla="*/ 467 w 538"/>
                <a:gd name="T31" fmla="*/ 48 h 378"/>
                <a:gd name="T32" fmla="*/ 418 w 538"/>
                <a:gd name="T33" fmla="*/ 40 h 378"/>
                <a:gd name="T34" fmla="*/ 379 w 538"/>
                <a:gd name="T35" fmla="*/ 25 h 378"/>
                <a:gd name="T36" fmla="*/ 340 w 538"/>
                <a:gd name="T37" fmla="*/ 0 h 378"/>
                <a:gd name="T38" fmla="*/ 292 w 538"/>
                <a:gd name="T39" fmla="*/ 4 h 378"/>
                <a:gd name="T40" fmla="*/ 204 w 538"/>
                <a:gd name="T41" fmla="*/ 40 h 378"/>
                <a:gd name="T42" fmla="*/ 195 w 538"/>
                <a:gd name="T43" fmla="*/ 72 h 378"/>
                <a:gd name="T44" fmla="*/ 146 w 538"/>
                <a:gd name="T45" fmla="*/ 91 h 378"/>
                <a:gd name="T46" fmla="*/ 28 w 538"/>
                <a:gd name="T47" fmla="*/ 131 h 378"/>
                <a:gd name="T48" fmla="*/ 6 w 538"/>
                <a:gd name="T49" fmla="*/ 131 h 378"/>
                <a:gd name="T50" fmla="*/ 23 w 538"/>
                <a:gd name="T51" fmla="*/ 181 h 378"/>
                <a:gd name="T52" fmla="*/ 28 w 538"/>
                <a:gd name="T53" fmla="*/ 214 h 378"/>
                <a:gd name="T54" fmla="*/ 0 w 538"/>
                <a:gd name="T55" fmla="*/ 264 h 378"/>
                <a:gd name="T56" fmla="*/ 59 w 538"/>
                <a:gd name="T57" fmla="*/ 299 h 378"/>
                <a:gd name="T58" fmla="*/ 59 w 538"/>
                <a:gd name="T59" fmla="*/ 331 h 378"/>
                <a:gd name="T60" fmla="*/ 88 w 538"/>
                <a:gd name="T61" fmla="*/ 372 h 378"/>
                <a:gd name="T62" fmla="*/ 67 w 538"/>
                <a:gd name="T63" fmla="*/ 415 h 378"/>
                <a:gd name="T64" fmla="*/ 98 w 538"/>
                <a:gd name="T65" fmla="*/ 452 h 378"/>
                <a:gd name="T66" fmla="*/ 98 w 538"/>
                <a:gd name="T67" fmla="*/ 488 h 378"/>
                <a:gd name="T68" fmla="*/ 146 w 538"/>
                <a:gd name="T69" fmla="*/ 513 h 378"/>
                <a:gd name="T70" fmla="*/ 195 w 538"/>
                <a:gd name="T71" fmla="*/ 531 h 378"/>
                <a:gd name="T72" fmla="*/ 242 w 538"/>
                <a:gd name="T73" fmla="*/ 531 h 378"/>
                <a:gd name="T74" fmla="*/ 234 w 538"/>
                <a:gd name="T75" fmla="*/ 563 h 378"/>
                <a:gd name="T76" fmla="*/ 281 w 538"/>
                <a:gd name="T77" fmla="*/ 597 h 378"/>
                <a:gd name="T78" fmla="*/ 311 w 538"/>
                <a:gd name="T79" fmla="*/ 581 h 378"/>
                <a:gd name="T80" fmla="*/ 311 w 538"/>
                <a:gd name="T81" fmla="*/ 557 h 378"/>
                <a:gd name="T82" fmla="*/ 368 w 538"/>
                <a:gd name="T83" fmla="*/ 577 h 378"/>
                <a:gd name="T84" fmla="*/ 387 w 538"/>
                <a:gd name="T85" fmla="*/ 597 h 378"/>
                <a:gd name="T86" fmla="*/ 438 w 538"/>
                <a:gd name="T87" fmla="*/ 608 h 378"/>
                <a:gd name="T88" fmla="*/ 487 w 538"/>
                <a:gd name="T89" fmla="*/ 614 h 378"/>
                <a:gd name="T90" fmla="*/ 502 w 538"/>
                <a:gd name="T91" fmla="*/ 646 h 378"/>
                <a:gd name="T92" fmla="*/ 538 w 538"/>
                <a:gd name="T93" fmla="*/ 661 h 378"/>
                <a:gd name="T94" fmla="*/ 572 w 538"/>
                <a:gd name="T95" fmla="*/ 641 h 378"/>
                <a:gd name="T96" fmla="*/ 603 w 538"/>
                <a:gd name="T97" fmla="*/ 661 h 378"/>
                <a:gd name="T98" fmla="*/ 610 w 538"/>
                <a:gd name="T99" fmla="*/ 681 h 378"/>
                <a:gd name="T100" fmla="*/ 640 w 538"/>
                <a:gd name="T101" fmla="*/ 681 h 378"/>
                <a:gd name="T102" fmla="*/ 668 w 538"/>
                <a:gd name="T103" fmla="*/ 653 h 378"/>
                <a:gd name="T104" fmla="*/ 708 w 538"/>
                <a:gd name="T105" fmla="*/ 653 h 378"/>
                <a:gd name="T106" fmla="*/ 737 w 538"/>
                <a:gd name="T107" fmla="*/ 641 h 378"/>
                <a:gd name="T108" fmla="*/ 786 w 538"/>
                <a:gd name="T109" fmla="*/ 641 h 378"/>
                <a:gd name="T110" fmla="*/ 814 w 538"/>
                <a:gd name="T111" fmla="*/ 646 h 378"/>
                <a:gd name="T112" fmla="*/ 885 w 538"/>
                <a:gd name="T113" fmla="*/ 653 h 378"/>
                <a:gd name="T114" fmla="*/ 873 w 538"/>
                <a:gd name="T115" fmla="*/ 661 h 378"/>
                <a:gd name="T116" fmla="*/ 913 w 538"/>
                <a:gd name="T117" fmla="*/ 653 h 378"/>
                <a:gd name="T118" fmla="*/ 892 w 538"/>
                <a:gd name="T119" fmla="*/ 581 h 37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538"/>
                <a:gd name="T181" fmla="*/ 0 h 378"/>
                <a:gd name="T182" fmla="*/ 538 w 538"/>
                <a:gd name="T183" fmla="*/ 378 h 37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538" h="378">
                  <a:moveTo>
                    <a:pt x="485" y="322"/>
                  </a:moveTo>
                  <a:lnTo>
                    <a:pt x="517" y="267"/>
                  </a:lnTo>
                  <a:lnTo>
                    <a:pt x="538" y="262"/>
                  </a:lnTo>
                  <a:lnTo>
                    <a:pt x="533" y="239"/>
                  </a:lnTo>
                  <a:lnTo>
                    <a:pt x="511" y="202"/>
                  </a:lnTo>
                  <a:lnTo>
                    <a:pt x="496" y="184"/>
                  </a:lnTo>
                  <a:lnTo>
                    <a:pt x="491" y="152"/>
                  </a:lnTo>
                  <a:lnTo>
                    <a:pt x="470" y="147"/>
                  </a:lnTo>
                  <a:lnTo>
                    <a:pt x="470" y="133"/>
                  </a:lnTo>
                  <a:lnTo>
                    <a:pt x="496" y="106"/>
                  </a:lnTo>
                  <a:lnTo>
                    <a:pt x="470" y="60"/>
                  </a:lnTo>
                  <a:lnTo>
                    <a:pt x="454" y="23"/>
                  </a:lnTo>
                  <a:lnTo>
                    <a:pt x="417" y="9"/>
                  </a:lnTo>
                  <a:lnTo>
                    <a:pt x="333" y="23"/>
                  </a:lnTo>
                  <a:lnTo>
                    <a:pt x="280" y="13"/>
                  </a:lnTo>
                  <a:lnTo>
                    <a:pt x="254" y="27"/>
                  </a:lnTo>
                  <a:lnTo>
                    <a:pt x="227" y="23"/>
                  </a:lnTo>
                  <a:lnTo>
                    <a:pt x="206" y="13"/>
                  </a:lnTo>
                  <a:lnTo>
                    <a:pt x="185" y="0"/>
                  </a:lnTo>
                  <a:lnTo>
                    <a:pt x="159" y="4"/>
                  </a:lnTo>
                  <a:lnTo>
                    <a:pt x="111" y="23"/>
                  </a:lnTo>
                  <a:lnTo>
                    <a:pt x="106" y="41"/>
                  </a:lnTo>
                  <a:lnTo>
                    <a:pt x="79" y="50"/>
                  </a:lnTo>
                  <a:lnTo>
                    <a:pt x="16" y="73"/>
                  </a:lnTo>
                  <a:lnTo>
                    <a:pt x="6" y="73"/>
                  </a:lnTo>
                  <a:lnTo>
                    <a:pt x="11" y="101"/>
                  </a:lnTo>
                  <a:lnTo>
                    <a:pt x="16" y="119"/>
                  </a:lnTo>
                  <a:lnTo>
                    <a:pt x="0" y="147"/>
                  </a:lnTo>
                  <a:lnTo>
                    <a:pt x="32" y="166"/>
                  </a:lnTo>
                  <a:lnTo>
                    <a:pt x="32" y="184"/>
                  </a:lnTo>
                  <a:lnTo>
                    <a:pt x="48" y="207"/>
                  </a:lnTo>
                  <a:lnTo>
                    <a:pt x="37" y="230"/>
                  </a:lnTo>
                  <a:lnTo>
                    <a:pt x="53" y="249"/>
                  </a:lnTo>
                  <a:lnTo>
                    <a:pt x="53" y="272"/>
                  </a:lnTo>
                  <a:lnTo>
                    <a:pt x="79" y="286"/>
                  </a:lnTo>
                  <a:lnTo>
                    <a:pt x="106" y="295"/>
                  </a:lnTo>
                  <a:lnTo>
                    <a:pt x="132" y="295"/>
                  </a:lnTo>
                  <a:lnTo>
                    <a:pt x="127" y="313"/>
                  </a:lnTo>
                  <a:lnTo>
                    <a:pt x="153" y="332"/>
                  </a:lnTo>
                  <a:lnTo>
                    <a:pt x="169" y="322"/>
                  </a:lnTo>
                  <a:lnTo>
                    <a:pt x="169" y="309"/>
                  </a:lnTo>
                  <a:lnTo>
                    <a:pt x="201" y="318"/>
                  </a:lnTo>
                  <a:lnTo>
                    <a:pt x="211" y="332"/>
                  </a:lnTo>
                  <a:lnTo>
                    <a:pt x="237" y="336"/>
                  </a:lnTo>
                  <a:lnTo>
                    <a:pt x="264" y="341"/>
                  </a:lnTo>
                  <a:lnTo>
                    <a:pt x="274" y="359"/>
                  </a:lnTo>
                  <a:lnTo>
                    <a:pt x="291" y="368"/>
                  </a:lnTo>
                  <a:lnTo>
                    <a:pt x="311" y="355"/>
                  </a:lnTo>
                  <a:lnTo>
                    <a:pt x="328" y="368"/>
                  </a:lnTo>
                  <a:lnTo>
                    <a:pt x="333" y="378"/>
                  </a:lnTo>
                  <a:lnTo>
                    <a:pt x="348" y="378"/>
                  </a:lnTo>
                  <a:lnTo>
                    <a:pt x="364" y="364"/>
                  </a:lnTo>
                  <a:lnTo>
                    <a:pt x="385" y="364"/>
                  </a:lnTo>
                  <a:lnTo>
                    <a:pt x="401" y="355"/>
                  </a:lnTo>
                  <a:lnTo>
                    <a:pt x="428" y="355"/>
                  </a:lnTo>
                  <a:lnTo>
                    <a:pt x="443" y="359"/>
                  </a:lnTo>
                  <a:lnTo>
                    <a:pt x="480" y="364"/>
                  </a:lnTo>
                  <a:lnTo>
                    <a:pt x="475" y="368"/>
                  </a:lnTo>
                  <a:lnTo>
                    <a:pt x="496" y="364"/>
                  </a:lnTo>
                  <a:lnTo>
                    <a:pt x="485" y="322"/>
                  </a:lnTo>
                  <a:close/>
                </a:path>
              </a:pathLst>
            </a:custGeom>
            <a:solidFill>
              <a:srgbClr val="FFC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cs-CZ"/>
            </a:p>
          </p:txBody>
        </p:sp>
        <p:sp>
          <p:nvSpPr>
            <p:cNvPr id="7183" name="Freeform 150"/>
            <p:cNvSpPr>
              <a:spLocks noEditPoints="1"/>
            </p:cNvSpPr>
            <p:nvPr/>
          </p:nvSpPr>
          <p:spPr bwMode="auto">
            <a:xfrm>
              <a:off x="3994" y="2273"/>
              <a:ext cx="378" cy="225"/>
            </a:xfrm>
            <a:custGeom>
              <a:avLst/>
              <a:gdLst>
                <a:gd name="T0" fmla="*/ 0 w 1584"/>
                <a:gd name="T1" fmla="*/ 0 h 944"/>
                <a:gd name="T2" fmla="*/ 0 w 1584"/>
                <a:gd name="T3" fmla="*/ 0 h 944"/>
                <a:gd name="T4" fmla="*/ 0 w 1584"/>
                <a:gd name="T5" fmla="*/ 0 h 944"/>
                <a:gd name="T6" fmla="*/ 0 w 1584"/>
                <a:gd name="T7" fmla="*/ 0 h 944"/>
                <a:gd name="T8" fmla="*/ 0 w 1584"/>
                <a:gd name="T9" fmla="*/ 0 h 944"/>
                <a:gd name="T10" fmla="*/ 0 w 1584"/>
                <a:gd name="T11" fmla="*/ 0 h 944"/>
                <a:gd name="T12" fmla="*/ 0 w 1584"/>
                <a:gd name="T13" fmla="*/ 0 h 944"/>
                <a:gd name="T14" fmla="*/ 0 w 1584"/>
                <a:gd name="T15" fmla="*/ 0 h 944"/>
                <a:gd name="T16" fmla="*/ 0 w 1584"/>
                <a:gd name="T17" fmla="*/ 0 h 944"/>
                <a:gd name="T18" fmla="*/ 0 w 1584"/>
                <a:gd name="T19" fmla="*/ 0 h 944"/>
                <a:gd name="T20" fmla="*/ 0 w 1584"/>
                <a:gd name="T21" fmla="*/ 0 h 944"/>
                <a:gd name="T22" fmla="*/ 0 w 1584"/>
                <a:gd name="T23" fmla="*/ 0 h 944"/>
                <a:gd name="T24" fmla="*/ 0 w 1584"/>
                <a:gd name="T25" fmla="*/ 0 h 944"/>
                <a:gd name="T26" fmla="*/ 0 w 1584"/>
                <a:gd name="T27" fmla="*/ 0 h 944"/>
                <a:gd name="T28" fmla="*/ 0 w 1584"/>
                <a:gd name="T29" fmla="*/ 0 h 944"/>
                <a:gd name="T30" fmla="*/ 0 w 1584"/>
                <a:gd name="T31" fmla="*/ 0 h 944"/>
                <a:gd name="T32" fmla="*/ 0 w 1584"/>
                <a:gd name="T33" fmla="*/ 0 h 944"/>
                <a:gd name="T34" fmla="*/ 0 w 1584"/>
                <a:gd name="T35" fmla="*/ 0 h 944"/>
                <a:gd name="T36" fmla="*/ 0 w 1584"/>
                <a:gd name="T37" fmla="*/ 0 h 944"/>
                <a:gd name="T38" fmla="*/ 0 w 1584"/>
                <a:gd name="T39" fmla="*/ 0 h 944"/>
                <a:gd name="T40" fmla="*/ 0 w 1584"/>
                <a:gd name="T41" fmla="*/ 0 h 944"/>
                <a:gd name="T42" fmla="*/ 0 w 1584"/>
                <a:gd name="T43" fmla="*/ 0 h 944"/>
                <a:gd name="T44" fmla="*/ 0 w 1584"/>
                <a:gd name="T45" fmla="*/ 0 h 944"/>
                <a:gd name="T46" fmla="*/ 0 w 1584"/>
                <a:gd name="T47" fmla="*/ 0 h 944"/>
                <a:gd name="T48" fmla="*/ 0 w 1584"/>
                <a:gd name="T49" fmla="*/ 0 h 944"/>
                <a:gd name="T50" fmla="*/ 0 w 1584"/>
                <a:gd name="T51" fmla="*/ 0 h 944"/>
                <a:gd name="T52" fmla="*/ 0 w 1584"/>
                <a:gd name="T53" fmla="*/ 0 h 944"/>
                <a:gd name="T54" fmla="*/ 0 w 1584"/>
                <a:gd name="T55" fmla="*/ 0 h 944"/>
                <a:gd name="T56" fmla="*/ 0 w 1584"/>
                <a:gd name="T57" fmla="*/ 0 h 944"/>
                <a:gd name="T58" fmla="*/ 0 w 1584"/>
                <a:gd name="T59" fmla="*/ 0 h 944"/>
                <a:gd name="T60" fmla="*/ 0 w 1584"/>
                <a:gd name="T61" fmla="*/ 0 h 944"/>
                <a:gd name="T62" fmla="*/ 0 w 1584"/>
                <a:gd name="T63" fmla="*/ 0 h 944"/>
                <a:gd name="T64" fmla="*/ 0 w 1584"/>
                <a:gd name="T65" fmla="*/ 0 h 944"/>
                <a:gd name="T66" fmla="*/ 0 w 1584"/>
                <a:gd name="T67" fmla="*/ 0 h 944"/>
                <a:gd name="T68" fmla="*/ 0 w 1584"/>
                <a:gd name="T69" fmla="*/ 0 h 944"/>
                <a:gd name="T70" fmla="*/ 0 w 1584"/>
                <a:gd name="T71" fmla="*/ 0 h 944"/>
                <a:gd name="T72" fmla="*/ 0 w 1584"/>
                <a:gd name="T73" fmla="*/ 0 h 944"/>
                <a:gd name="T74" fmla="*/ 0 w 1584"/>
                <a:gd name="T75" fmla="*/ 0 h 944"/>
                <a:gd name="T76" fmla="*/ 0 w 1584"/>
                <a:gd name="T77" fmla="*/ 0 h 944"/>
                <a:gd name="T78" fmla="*/ 0 w 1584"/>
                <a:gd name="T79" fmla="*/ 0 h 944"/>
                <a:gd name="T80" fmla="*/ 0 w 1584"/>
                <a:gd name="T81" fmla="*/ 0 h 944"/>
                <a:gd name="T82" fmla="*/ 0 w 1584"/>
                <a:gd name="T83" fmla="*/ 0 h 944"/>
                <a:gd name="T84" fmla="*/ 0 w 1584"/>
                <a:gd name="T85" fmla="*/ 0 h 944"/>
                <a:gd name="T86" fmla="*/ 0 w 1584"/>
                <a:gd name="T87" fmla="*/ 0 h 944"/>
                <a:gd name="T88" fmla="*/ 0 w 1584"/>
                <a:gd name="T89" fmla="*/ 0 h 944"/>
                <a:gd name="T90" fmla="*/ 0 w 1584"/>
                <a:gd name="T91" fmla="*/ 0 h 944"/>
                <a:gd name="T92" fmla="*/ 0 w 1584"/>
                <a:gd name="T93" fmla="*/ 0 h 944"/>
                <a:gd name="T94" fmla="*/ 0 w 1584"/>
                <a:gd name="T95" fmla="*/ 0 h 944"/>
                <a:gd name="T96" fmla="*/ 0 w 1584"/>
                <a:gd name="T97" fmla="*/ 0 h 944"/>
                <a:gd name="T98" fmla="*/ 0 w 1584"/>
                <a:gd name="T99" fmla="*/ 0 h 944"/>
                <a:gd name="T100" fmla="*/ 0 w 1584"/>
                <a:gd name="T101" fmla="*/ 0 h 944"/>
                <a:gd name="T102" fmla="*/ 0 w 1584"/>
                <a:gd name="T103" fmla="*/ 0 h 944"/>
                <a:gd name="T104" fmla="*/ 0 w 1584"/>
                <a:gd name="T105" fmla="*/ 0 h 944"/>
                <a:gd name="T106" fmla="*/ 0 w 1584"/>
                <a:gd name="T107" fmla="*/ 0 h 944"/>
                <a:gd name="T108" fmla="*/ 0 w 1584"/>
                <a:gd name="T109" fmla="*/ 0 h 94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584"/>
                <a:gd name="T166" fmla="*/ 0 h 944"/>
                <a:gd name="T167" fmla="*/ 1584 w 1584"/>
                <a:gd name="T168" fmla="*/ 944 h 944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584" h="944">
                  <a:moveTo>
                    <a:pt x="816" y="807"/>
                  </a:moveTo>
                  <a:lnTo>
                    <a:pt x="813" y="808"/>
                  </a:lnTo>
                  <a:lnTo>
                    <a:pt x="906" y="768"/>
                  </a:lnTo>
                  <a:cubicBezTo>
                    <a:pt x="907" y="767"/>
                    <a:pt x="908" y="767"/>
                    <a:pt x="909" y="767"/>
                  </a:cubicBezTo>
                  <a:lnTo>
                    <a:pt x="1048" y="767"/>
                  </a:lnTo>
                  <a:lnTo>
                    <a:pt x="1045" y="768"/>
                  </a:lnTo>
                  <a:lnTo>
                    <a:pt x="1135" y="727"/>
                  </a:lnTo>
                  <a:lnTo>
                    <a:pt x="1206" y="687"/>
                  </a:lnTo>
                  <a:lnTo>
                    <a:pt x="1250" y="667"/>
                  </a:lnTo>
                  <a:lnTo>
                    <a:pt x="1246" y="672"/>
                  </a:lnTo>
                  <a:lnTo>
                    <a:pt x="1270" y="571"/>
                  </a:lnTo>
                  <a:lnTo>
                    <a:pt x="1293" y="510"/>
                  </a:lnTo>
                  <a:cubicBezTo>
                    <a:pt x="1293" y="509"/>
                    <a:pt x="1293" y="508"/>
                    <a:pt x="1294" y="508"/>
                  </a:cubicBezTo>
                  <a:lnTo>
                    <a:pt x="1365" y="427"/>
                  </a:lnTo>
                  <a:lnTo>
                    <a:pt x="1364" y="429"/>
                  </a:lnTo>
                  <a:lnTo>
                    <a:pt x="1432" y="287"/>
                  </a:lnTo>
                  <a:cubicBezTo>
                    <a:pt x="1433" y="287"/>
                    <a:pt x="1433" y="287"/>
                    <a:pt x="1433" y="286"/>
                  </a:cubicBezTo>
                  <a:lnTo>
                    <a:pt x="1501" y="186"/>
                  </a:lnTo>
                  <a:cubicBezTo>
                    <a:pt x="1502" y="185"/>
                    <a:pt x="1502" y="184"/>
                    <a:pt x="1503" y="184"/>
                  </a:cubicBezTo>
                  <a:lnTo>
                    <a:pt x="1571" y="124"/>
                  </a:lnTo>
                  <a:lnTo>
                    <a:pt x="1571" y="136"/>
                  </a:lnTo>
                  <a:lnTo>
                    <a:pt x="1503" y="75"/>
                  </a:lnTo>
                  <a:lnTo>
                    <a:pt x="1504" y="76"/>
                  </a:lnTo>
                  <a:lnTo>
                    <a:pt x="1411" y="15"/>
                  </a:lnTo>
                  <a:lnTo>
                    <a:pt x="1416" y="16"/>
                  </a:lnTo>
                  <a:lnTo>
                    <a:pt x="1301" y="37"/>
                  </a:lnTo>
                  <a:cubicBezTo>
                    <a:pt x="1300" y="37"/>
                    <a:pt x="1299" y="37"/>
                    <a:pt x="1298" y="36"/>
                  </a:cubicBezTo>
                  <a:lnTo>
                    <a:pt x="1229" y="16"/>
                  </a:lnTo>
                  <a:lnTo>
                    <a:pt x="1233" y="16"/>
                  </a:lnTo>
                  <a:lnTo>
                    <a:pt x="1118" y="37"/>
                  </a:lnTo>
                  <a:cubicBezTo>
                    <a:pt x="1118" y="37"/>
                    <a:pt x="1117" y="37"/>
                    <a:pt x="1117" y="37"/>
                  </a:cubicBezTo>
                  <a:lnTo>
                    <a:pt x="1024" y="37"/>
                  </a:lnTo>
                  <a:lnTo>
                    <a:pt x="1030" y="34"/>
                  </a:lnTo>
                  <a:lnTo>
                    <a:pt x="915" y="155"/>
                  </a:lnTo>
                  <a:cubicBezTo>
                    <a:pt x="913" y="157"/>
                    <a:pt x="910" y="158"/>
                    <a:pt x="907" y="158"/>
                  </a:cubicBezTo>
                  <a:lnTo>
                    <a:pt x="792" y="137"/>
                  </a:lnTo>
                  <a:lnTo>
                    <a:pt x="801" y="133"/>
                  </a:lnTo>
                  <a:lnTo>
                    <a:pt x="779" y="174"/>
                  </a:lnTo>
                  <a:cubicBezTo>
                    <a:pt x="778" y="176"/>
                    <a:pt x="776" y="177"/>
                    <a:pt x="774" y="178"/>
                  </a:cubicBezTo>
                  <a:lnTo>
                    <a:pt x="635" y="218"/>
                  </a:lnTo>
                  <a:lnTo>
                    <a:pt x="640" y="210"/>
                  </a:lnTo>
                  <a:lnTo>
                    <a:pt x="640" y="291"/>
                  </a:lnTo>
                  <a:cubicBezTo>
                    <a:pt x="640" y="295"/>
                    <a:pt x="637" y="298"/>
                    <a:pt x="633" y="299"/>
                  </a:cubicBezTo>
                  <a:lnTo>
                    <a:pt x="310" y="339"/>
                  </a:lnTo>
                  <a:cubicBezTo>
                    <a:pt x="309" y="339"/>
                    <a:pt x="307" y="339"/>
                    <a:pt x="305" y="338"/>
                  </a:cubicBezTo>
                  <a:lnTo>
                    <a:pt x="237" y="298"/>
                  </a:lnTo>
                  <a:lnTo>
                    <a:pt x="191" y="278"/>
                  </a:lnTo>
                  <a:lnTo>
                    <a:pt x="203" y="271"/>
                  </a:lnTo>
                  <a:lnTo>
                    <a:pt x="203" y="331"/>
                  </a:lnTo>
                  <a:cubicBezTo>
                    <a:pt x="203" y="335"/>
                    <a:pt x="200" y="338"/>
                    <a:pt x="197" y="339"/>
                  </a:cubicBezTo>
                  <a:lnTo>
                    <a:pt x="82" y="379"/>
                  </a:lnTo>
                  <a:lnTo>
                    <a:pt x="88" y="372"/>
                  </a:lnTo>
                  <a:lnTo>
                    <a:pt x="88" y="472"/>
                  </a:lnTo>
                  <a:cubicBezTo>
                    <a:pt x="88" y="473"/>
                    <a:pt x="88" y="474"/>
                    <a:pt x="87" y="474"/>
                  </a:cubicBezTo>
                  <a:lnTo>
                    <a:pt x="63" y="575"/>
                  </a:lnTo>
                  <a:cubicBezTo>
                    <a:pt x="62" y="577"/>
                    <a:pt x="61" y="578"/>
                    <a:pt x="60" y="579"/>
                  </a:cubicBezTo>
                  <a:lnTo>
                    <a:pt x="14" y="620"/>
                  </a:lnTo>
                  <a:lnTo>
                    <a:pt x="14" y="608"/>
                  </a:lnTo>
                  <a:lnTo>
                    <a:pt x="132" y="729"/>
                  </a:lnTo>
                  <a:cubicBezTo>
                    <a:pt x="133" y="731"/>
                    <a:pt x="134" y="733"/>
                    <a:pt x="134" y="735"/>
                  </a:cubicBezTo>
                  <a:cubicBezTo>
                    <a:pt x="134" y="737"/>
                    <a:pt x="133" y="739"/>
                    <a:pt x="131" y="741"/>
                  </a:cubicBezTo>
                  <a:lnTo>
                    <a:pt x="107" y="761"/>
                  </a:lnTo>
                  <a:lnTo>
                    <a:pt x="105" y="748"/>
                  </a:lnTo>
                  <a:lnTo>
                    <a:pt x="198" y="788"/>
                  </a:lnTo>
                  <a:cubicBezTo>
                    <a:pt x="199" y="788"/>
                    <a:pt x="199" y="789"/>
                    <a:pt x="200" y="789"/>
                  </a:cubicBezTo>
                  <a:lnTo>
                    <a:pt x="268" y="850"/>
                  </a:lnTo>
                  <a:lnTo>
                    <a:pt x="267" y="849"/>
                  </a:lnTo>
                  <a:lnTo>
                    <a:pt x="335" y="889"/>
                  </a:lnTo>
                  <a:lnTo>
                    <a:pt x="330" y="888"/>
                  </a:lnTo>
                  <a:lnTo>
                    <a:pt x="423" y="868"/>
                  </a:lnTo>
                  <a:cubicBezTo>
                    <a:pt x="427" y="867"/>
                    <a:pt x="430" y="869"/>
                    <a:pt x="432" y="873"/>
                  </a:cubicBezTo>
                  <a:lnTo>
                    <a:pt x="456" y="933"/>
                  </a:lnTo>
                  <a:lnTo>
                    <a:pt x="449" y="928"/>
                  </a:lnTo>
                  <a:lnTo>
                    <a:pt x="539" y="928"/>
                  </a:lnTo>
                  <a:lnTo>
                    <a:pt x="537" y="929"/>
                  </a:lnTo>
                  <a:lnTo>
                    <a:pt x="698" y="868"/>
                  </a:lnTo>
                  <a:cubicBezTo>
                    <a:pt x="699" y="868"/>
                    <a:pt x="700" y="868"/>
                    <a:pt x="701" y="868"/>
                  </a:cubicBezTo>
                  <a:lnTo>
                    <a:pt x="725" y="868"/>
                  </a:lnTo>
                  <a:lnTo>
                    <a:pt x="718" y="873"/>
                  </a:lnTo>
                  <a:lnTo>
                    <a:pt x="740" y="813"/>
                  </a:lnTo>
                  <a:cubicBezTo>
                    <a:pt x="741" y="810"/>
                    <a:pt x="744" y="807"/>
                    <a:pt x="747" y="807"/>
                  </a:cubicBezTo>
                  <a:lnTo>
                    <a:pt x="816" y="807"/>
                  </a:lnTo>
                  <a:close/>
                  <a:moveTo>
                    <a:pt x="747" y="823"/>
                  </a:moveTo>
                  <a:lnTo>
                    <a:pt x="755" y="818"/>
                  </a:lnTo>
                  <a:lnTo>
                    <a:pt x="733" y="879"/>
                  </a:lnTo>
                  <a:cubicBezTo>
                    <a:pt x="732" y="882"/>
                    <a:pt x="729" y="884"/>
                    <a:pt x="725" y="884"/>
                  </a:cubicBezTo>
                  <a:lnTo>
                    <a:pt x="701" y="884"/>
                  </a:lnTo>
                  <a:lnTo>
                    <a:pt x="704" y="883"/>
                  </a:lnTo>
                  <a:lnTo>
                    <a:pt x="542" y="944"/>
                  </a:lnTo>
                  <a:cubicBezTo>
                    <a:pt x="541" y="944"/>
                    <a:pt x="540" y="944"/>
                    <a:pt x="539" y="944"/>
                  </a:cubicBezTo>
                  <a:lnTo>
                    <a:pt x="449" y="944"/>
                  </a:lnTo>
                  <a:cubicBezTo>
                    <a:pt x="446" y="944"/>
                    <a:pt x="443" y="942"/>
                    <a:pt x="442" y="939"/>
                  </a:cubicBezTo>
                  <a:lnTo>
                    <a:pt x="417" y="879"/>
                  </a:lnTo>
                  <a:lnTo>
                    <a:pt x="426" y="884"/>
                  </a:lnTo>
                  <a:lnTo>
                    <a:pt x="333" y="904"/>
                  </a:lnTo>
                  <a:cubicBezTo>
                    <a:pt x="331" y="904"/>
                    <a:pt x="329" y="904"/>
                    <a:pt x="327" y="903"/>
                  </a:cubicBezTo>
                  <a:lnTo>
                    <a:pt x="259" y="863"/>
                  </a:lnTo>
                  <a:cubicBezTo>
                    <a:pt x="258" y="862"/>
                    <a:pt x="258" y="862"/>
                    <a:pt x="258" y="862"/>
                  </a:cubicBezTo>
                  <a:lnTo>
                    <a:pt x="189" y="801"/>
                  </a:lnTo>
                  <a:lnTo>
                    <a:pt x="191" y="803"/>
                  </a:lnTo>
                  <a:lnTo>
                    <a:pt x="98" y="762"/>
                  </a:lnTo>
                  <a:cubicBezTo>
                    <a:pt x="96" y="761"/>
                    <a:pt x="94" y="759"/>
                    <a:pt x="94" y="756"/>
                  </a:cubicBezTo>
                  <a:cubicBezTo>
                    <a:pt x="93" y="753"/>
                    <a:pt x="94" y="750"/>
                    <a:pt x="96" y="749"/>
                  </a:cubicBezTo>
                  <a:lnTo>
                    <a:pt x="121" y="729"/>
                  </a:lnTo>
                  <a:lnTo>
                    <a:pt x="120" y="740"/>
                  </a:lnTo>
                  <a:lnTo>
                    <a:pt x="3" y="619"/>
                  </a:lnTo>
                  <a:cubicBezTo>
                    <a:pt x="1" y="618"/>
                    <a:pt x="0" y="616"/>
                    <a:pt x="0" y="613"/>
                  </a:cubicBezTo>
                  <a:cubicBezTo>
                    <a:pt x="1" y="611"/>
                    <a:pt x="2" y="609"/>
                    <a:pt x="3" y="608"/>
                  </a:cubicBezTo>
                  <a:lnTo>
                    <a:pt x="50" y="567"/>
                  </a:lnTo>
                  <a:lnTo>
                    <a:pt x="47" y="571"/>
                  </a:lnTo>
                  <a:lnTo>
                    <a:pt x="72" y="471"/>
                  </a:lnTo>
                  <a:lnTo>
                    <a:pt x="72" y="472"/>
                  </a:lnTo>
                  <a:lnTo>
                    <a:pt x="72" y="372"/>
                  </a:lnTo>
                  <a:cubicBezTo>
                    <a:pt x="72" y="368"/>
                    <a:pt x="74" y="365"/>
                    <a:pt x="77" y="364"/>
                  </a:cubicBezTo>
                  <a:lnTo>
                    <a:pt x="192" y="324"/>
                  </a:lnTo>
                  <a:lnTo>
                    <a:pt x="187" y="331"/>
                  </a:lnTo>
                  <a:lnTo>
                    <a:pt x="187" y="271"/>
                  </a:lnTo>
                  <a:cubicBezTo>
                    <a:pt x="187" y="268"/>
                    <a:pt x="188" y="266"/>
                    <a:pt x="190" y="264"/>
                  </a:cubicBezTo>
                  <a:cubicBezTo>
                    <a:pt x="192" y="263"/>
                    <a:pt x="195" y="262"/>
                    <a:pt x="198" y="263"/>
                  </a:cubicBezTo>
                  <a:lnTo>
                    <a:pt x="245" y="284"/>
                  </a:lnTo>
                  <a:lnTo>
                    <a:pt x="314" y="324"/>
                  </a:lnTo>
                  <a:lnTo>
                    <a:pt x="308" y="323"/>
                  </a:lnTo>
                  <a:lnTo>
                    <a:pt x="631" y="283"/>
                  </a:lnTo>
                  <a:lnTo>
                    <a:pt x="624" y="291"/>
                  </a:lnTo>
                  <a:lnTo>
                    <a:pt x="624" y="210"/>
                  </a:lnTo>
                  <a:cubicBezTo>
                    <a:pt x="624" y="207"/>
                    <a:pt x="627" y="204"/>
                    <a:pt x="630" y="203"/>
                  </a:cubicBezTo>
                  <a:lnTo>
                    <a:pt x="770" y="162"/>
                  </a:lnTo>
                  <a:lnTo>
                    <a:pt x="765" y="166"/>
                  </a:lnTo>
                  <a:lnTo>
                    <a:pt x="787" y="126"/>
                  </a:lnTo>
                  <a:cubicBezTo>
                    <a:pt x="788" y="123"/>
                    <a:pt x="792" y="121"/>
                    <a:pt x="795" y="122"/>
                  </a:cubicBezTo>
                  <a:lnTo>
                    <a:pt x="910" y="142"/>
                  </a:lnTo>
                  <a:lnTo>
                    <a:pt x="903" y="144"/>
                  </a:lnTo>
                  <a:lnTo>
                    <a:pt x="1018" y="23"/>
                  </a:lnTo>
                  <a:cubicBezTo>
                    <a:pt x="1019" y="22"/>
                    <a:pt x="1022" y="21"/>
                    <a:pt x="1024" y="21"/>
                  </a:cubicBezTo>
                  <a:lnTo>
                    <a:pt x="1117" y="21"/>
                  </a:lnTo>
                  <a:lnTo>
                    <a:pt x="1115" y="21"/>
                  </a:lnTo>
                  <a:lnTo>
                    <a:pt x="1230" y="1"/>
                  </a:lnTo>
                  <a:cubicBezTo>
                    <a:pt x="1231" y="0"/>
                    <a:pt x="1233" y="0"/>
                    <a:pt x="1234" y="1"/>
                  </a:cubicBezTo>
                  <a:lnTo>
                    <a:pt x="1302" y="21"/>
                  </a:lnTo>
                  <a:lnTo>
                    <a:pt x="1299" y="21"/>
                  </a:lnTo>
                  <a:lnTo>
                    <a:pt x="1414" y="1"/>
                  </a:lnTo>
                  <a:cubicBezTo>
                    <a:pt x="1416" y="0"/>
                    <a:pt x="1418" y="1"/>
                    <a:pt x="1419" y="2"/>
                  </a:cubicBezTo>
                  <a:lnTo>
                    <a:pt x="1512" y="62"/>
                  </a:lnTo>
                  <a:cubicBezTo>
                    <a:pt x="1513" y="62"/>
                    <a:pt x="1513" y="63"/>
                    <a:pt x="1513" y="63"/>
                  </a:cubicBezTo>
                  <a:lnTo>
                    <a:pt x="1582" y="124"/>
                  </a:lnTo>
                  <a:cubicBezTo>
                    <a:pt x="1583" y="125"/>
                    <a:pt x="1584" y="127"/>
                    <a:pt x="1584" y="130"/>
                  </a:cubicBezTo>
                  <a:cubicBezTo>
                    <a:pt x="1584" y="132"/>
                    <a:pt x="1583" y="134"/>
                    <a:pt x="1582" y="136"/>
                  </a:cubicBezTo>
                  <a:lnTo>
                    <a:pt x="1513" y="196"/>
                  </a:lnTo>
                  <a:lnTo>
                    <a:pt x="1515" y="195"/>
                  </a:lnTo>
                  <a:lnTo>
                    <a:pt x="1446" y="295"/>
                  </a:lnTo>
                  <a:lnTo>
                    <a:pt x="1447" y="294"/>
                  </a:lnTo>
                  <a:lnTo>
                    <a:pt x="1378" y="436"/>
                  </a:lnTo>
                  <a:cubicBezTo>
                    <a:pt x="1378" y="436"/>
                    <a:pt x="1378" y="437"/>
                    <a:pt x="1377" y="437"/>
                  </a:cubicBezTo>
                  <a:lnTo>
                    <a:pt x="1306" y="518"/>
                  </a:lnTo>
                  <a:lnTo>
                    <a:pt x="1308" y="516"/>
                  </a:lnTo>
                  <a:lnTo>
                    <a:pt x="1286" y="575"/>
                  </a:lnTo>
                  <a:lnTo>
                    <a:pt x="1261" y="676"/>
                  </a:lnTo>
                  <a:cubicBezTo>
                    <a:pt x="1261" y="678"/>
                    <a:pt x="1259" y="680"/>
                    <a:pt x="1257" y="681"/>
                  </a:cubicBezTo>
                  <a:lnTo>
                    <a:pt x="1214" y="701"/>
                  </a:lnTo>
                  <a:lnTo>
                    <a:pt x="1142" y="742"/>
                  </a:lnTo>
                  <a:lnTo>
                    <a:pt x="1052" y="782"/>
                  </a:lnTo>
                  <a:cubicBezTo>
                    <a:pt x="1051" y="783"/>
                    <a:pt x="1049" y="783"/>
                    <a:pt x="1048" y="783"/>
                  </a:cubicBezTo>
                  <a:lnTo>
                    <a:pt x="909" y="783"/>
                  </a:lnTo>
                  <a:lnTo>
                    <a:pt x="912" y="782"/>
                  </a:lnTo>
                  <a:lnTo>
                    <a:pt x="819" y="823"/>
                  </a:lnTo>
                  <a:cubicBezTo>
                    <a:pt x="818" y="823"/>
                    <a:pt x="817" y="823"/>
                    <a:pt x="816" y="823"/>
                  </a:cubicBezTo>
                  <a:lnTo>
                    <a:pt x="747" y="823"/>
                  </a:lnTo>
                  <a:close/>
                </a:path>
              </a:pathLst>
            </a:custGeom>
            <a:solidFill>
              <a:srgbClr val="000000"/>
            </a:solidFill>
            <a:ln w="0" cap="flat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184" name="Rectangle 151"/>
            <p:cNvSpPr>
              <a:spLocks noChangeArrowheads="1"/>
            </p:cNvSpPr>
            <p:nvPr/>
          </p:nvSpPr>
          <p:spPr bwMode="auto">
            <a:xfrm>
              <a:off x="4140" y="2369"/>
              <a:ext cx="58" cy="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sz="500" b="1">
                  <a:solidFill>
                    <a:srgbClr val="000000"/>
                  </a:solidFill>
                </a:rPr>
                <a:t>HU</a:t>
              </a:r>
              <a:endParaRPr lang="de-DE"/>
            </a:p>
          </p:txBody>
        </p:sp>
        <p:sp>
          <p:nvSpPr>
            <p:cNvPr id="7185" name="Freeform 152"/>
            <p:cNvSpPr>
              <a:spLocks/>
            </p:cNvSpPr>
            <p:nvPr/>
          </p:nvSpPr>
          <p:spPr bwMode="auto">
            <a:xfrm>
              <a:off x="3399" y="1863"/>
              <a:ext cx="494" cy="538"/>
            </a:xfrm>
            <a:custGeom>
              <a:avLst/>
              <a:gdLst>
                <a:gd name="T0" fmla="*/ 264 w 469"/>
                <a:gd name="T1" fmla="*/ 867 h 513"/>
                <a:gd name="T2" fmla="*/ 412 w 469"/>
                <a:gd name="T3" fmla="*/ 907 h 513"/>
                <a:gd name="T4" fmla="*/ 519 w 469"/>
                <a:gd name="T5" fmla="*/ 900 h 513"/>
                <a:gd name="T6" fmla="*/ 651 w 469"/>
                <a:gd name="T7" fmla="*/ 867 h 513"/>
                <a:gd name="T8" fmla="*/ 720 w 469"/>
                <a:gd name="T9" fmla="*/ 851 h 513"/>
                <a:gd name="T10" fmla="*/ 736 w 469"/>
                <a:gd name="T11" fmla="*/ 792 h 513"/>
                <a:gd name="T12" fmla="*/ 787 w 469"/>
                <a:gd name="T13" fmla="*/ 761 h 513"/>
                <a:gd name="T14" fmla="*/ 707 w 469"/>
                <a:gd name="T15" fmla="*/ 668 h 513"/>
                <a:gd name="T16" fmla="*/ 651 w 469"/>
                <a:gd name="T17" fmla="*/ 596 h 513"/>
                <a:gd name="T18" fmla="*/ 651 w 469"/>
                <a:gd name="T19" fmla="*/ 536 h 513"/>
                <a:gd name="T20" fmla="*/ 747 w 469"/>
                <a:gd name="T21" fmla="*/ 498 h 513"/>
                <a:gd name="T22" fmla="*/ 806 w 469"/>
                <a:gd name="T23" fmla="*/ 449 h 513"/>
                <a:gd name="T24" fmla="*/ 874 w 469"/>
                <a:gd name="T25" fmla="*/ 466 h 513"/>
                <a:gd name="T26" fmla="*/ 846 w 469"/>
                <a:gd name="T27" fmla="*/ 368 h 513"/>
                <a:gd name="T28" fmla="*/ 834 w 469"/>
                <a:gd name="T29" fmla="*/ 288 h 513"/>
                <a:gd name="T30" fmla="*/ 775 w 469"/>
                <a:gd name="T31" fmla="*/ 220 h 513"/>
                <a:gd name="T32" fmla="*/ 797 w 469"/>
                <a:gd name="T33" fmla="*/ 139 h 513"/>
                <a:gd name="T34" fmla="*/ 747 w 469"/>
                <a:gd name="T35" fmla="*/ 82 h 513"/>
                <a:gd name="T36" fmla="*/ 720 w 469"/>
                <a:gd name="T37" fmla="*/ 31 h 513"/>
                <a:gd name="T38" fmla="*/ 677 w 469"/>
                <a:gd name="T39" fmla="*/ 31 h 513"/>
                <a:gd name="T40" fmla="*/ 651 w 469"/>
                <a:gd name="T41" fmla="*/ 39 h 513"/>
                <a:gd name="T42" fmla="*/ 630 w 469"/>
                <a:gd name="T43" fmla="*/ 39 h 513"/>
                <a:gd name="T44" fmla="*/ 562 w 469"/>
                <a:gd name="T45" fmla="*/ 73 h 513"/>
                <a:gd name="T46" fmla="*/ 511 w 469"/>
                <a:gd name="T47" fmla="*/ 99 h 513"/>
                <a:gd name="T48" fmla="*/ 503 w 469"/>
                <a:gd name="T49" fmla="*/ 65 h 513"/>
                <a:gd name="T50" fmla="*/ 460 w 469"/>
                <a:gd name="T51" fmla="*/ 59 h 513"/>
                <a:gd name="T52" fmla="*/ 402 w 469"/>
                <a:gd name="T53" fmla="*/ 9 h 513"/>
                <a:gd name="T54" fmla="*/ 293 w 469"/>
                <a:gd name="T55" fmla="*/ 0 h 513"/>
                <a:gd name="T56" fmla="*/ 286 w 469"/>
                <a:gd name="T57" fmla="*/ 39 h 513"/>
                <a:gd name="T58" fmla="*/ 324 w 469"/>
                <a:gd name="T59" fmla="*/ 114 h 513"/>
                <a:gd name="T60" fmla="*/ 275 w 469"/>
                <a:gd name="T61" fmla="*/ 114 h 513"/>
                <a:gd name="T62" fmla="*/ 256 w 469"/>
                <a:gd name="T63" fmla="*/ 139 h 513"/>
                <a:gd name="T64" fmla="*/ 216 w 469"/>
                <a:gd name="T65" fmla="*/ 132 h 513"/>
                <a:gd name="T66" fmla="*/ 130 w 469"/>
                <a:gd name="T67" fmla="*/ 146 h 513"/>
                <a:gd name="T68" fmla="*/ 138 w 469"/>
                <a:gd name="T69" fmla="*/ 212 h 513"/>
                <a:gd name="T70" fmla="*/ 88 w 469"/>
                <a:gd name="T71" fmla="*/ 263 h 513"/>
                <a:gd name="T72" fmla="*/ 107 w 469"/>
                <a:gd name="T73" fmla="*/ 319 h 513"/>
                <a:gd name="T74" fmla="*/ 78 w 469"/>
                <a:gd name="T75" fmla="*/ 353 h 513"/>
                <a:gd name="T76" fmla="*/ 22 w 469"/>
                <a:gd name="T77" fmla="*/ 392 h 513"/>
                <a:gd name="T78" fmla="*/ 0 w 469"/>
                <a:gd name="T79" fmla="*/ 459 h 513"/>
                <a:gd name="T80" fmla="*/ 5 w 469"/>
                <a:gd name="T81" fmla="*/ 491 h 513"/>
                <a:gd name="T82" fmla="*/ 37 w 469"/>
                <a:gd name="T83" fmla="*/ 547 h 513"/>
                <a:gd name="T84" fmla="*/ 5 w 469"/>
                <a:gd name="T85" fmla="*/ 566 h 513"/>
                <a:gd name="T86" fmla="*/ 50 w 469"/>
                <a:gd name="T87" fmla="*/ 618 h 513"/>
                <a:gd name="T88" fmla="*/ 60 w 469"/>
                <a:gd name="T89" fmla="*/ 681 h 513"/>
                <a:gd name="T90" fmla="*/ 155 w 469"/>
                <a:gd name="T91" fmla="*/ 701 h 513"/>
                <a:gd name="T92" fmla="*/ 178 w 469"/>
                <a:gd name="T93" fmla="*/ 753 h 513"/>
                <a:gd name="T94" fmla="*/ 146 w 469"/>
                <a:gd name="T95" fmla="*/ 882 h 513"/>
                <a:gd name="T96" fmla="*/ 169 w 469"/>
                <a:gd name="T97" fmla="*/ 894 h 51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69"/>
                <a:gd name="T148" fmla="*/ 0 h 513"/>
                <a:gd name="T149" fmla="*/ 469 w 469"/>
                <a:gd name="T150" fmla="*/ 513 h 513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69" h="513">
                  <a:moveTo>
                    <a:pt x="121" y="499"/>
                  </a:moveTo>
                  <a:lnTo>
                    <a:pt x="142" y="490"/>
                  </a:lnTo>
                  <a:lnTo>
                    <a:pt x="195" y="504"/>
                  </a:lnTo>
                  <a:lnTo>
                    <a:pt x="221" y="513"/>
                  </a:lnTo>
                  <a:lnTo>
                    <a:pt x="242" y="504"/>
                  </a:lnTo>
                  <a:lnTo>
                    <a:pt x="279" y="508"/>
                  </a:lnTo>
                  <a:lnTo>
                    <a:pt x="306" y="504"/>
                  </a:lnTo>
                  <a:lnTo>
                    <a:pt x="348" y="490"/>
                  </a:lnTo>
                  <a:lnTo>
                    <a:pt x="385" y="499"/>
                  </a:lnTo>
                  <a:lnTo>
                    <a:pt x="385" y="480"/>
                  </a:lnTo>
                  <a:lnTo>
                    <a:pt x="374" y="462"/>
                  </a:lnTo>
                  <a:lnTo>
                    <a:pt x="395" y="448"/>
                  </a:lnTo>
                  <a:lnTo>
                    <a:pt x="401" y="430"/>
                  </a:lnTo>
                  <a:lnTo>
                    <a:pt x="422" y="430"/>
                  </a:lnTo>
                  <a:lnTo>
                    <a:pt x="427" y="411"/>
                  </a:lnTo>
                  <a:lnTo>
                    <a:pt x="379" y="379"/>
                  </a:lnTo>
                  <a:lnTo>
                    <a:pt x="343" y="351"/>
                  </a:lnTo>
                  <a:lnTo>
                    <a:pt x="348" y="337"/>
                  </a:lnTo>
                  <a:lnTo>
                    <a:pt x="327" y="314"/>
                  </a:lnTo>
                  <a:lnTo>
                    <a:pt x="348" y="301"/>
                  </a:lnTo>
                  <a:lnTo>
                    <a:pt x="374" y="296"/>
                  </a:lnTo>
                  <a:lnTo>
                    <a:pt x="401" y="282"/>
                  </a:lnTo>
                  <a:lnTo>
                    <a:pt x="427" y="273"/>
                  </a:lnTo>
                  <a:lnTo>
                    <a:pt x="432" y="254"/>
                  </a:lnTo>
                  <a:lnTo>
                    <a:pt x="453" y="254"/>
                  </a:lnTo>
                  <a:lnTo>
                    <a:pt x="469" y="263"/>
                  </a:lnTo>
                  <a:lnTo>
                    <a:pt x="469" y="226"/>
                  </a:lnTo>
                  <a:lnTo>
                    <a:pt x="453" y="208"/>
                  </a:lnTo>
                  <a:lnTo>
                    <a:pt x="464" y="185"/>
                  </a:lnTo>
                  <a:lnTo>
                    <a:pt x="448" y="162"/>
                  </a:lnTo>
                  <a:lnTo>
                    <a:pt x="448" y="144"/>
                  </a:lnTo>
                  <a:lnTo>
                    <a:pt x="416" y="125"/>
                  </a:lnTo>
                  <a:lnTo>
                    <a:pt x="432" y="97"/>
                  </a:lnTo>
                  <a:lnTo>
                    <a:pt x="427" y="79"/>
                  </a:lnTo>
                  <a:lnTo>
                    <a:pt x="422" y="51"/>
                  </a:lnTo>
                  <a:lnTo>
                    <a:pt x="401" y="47"/>
                  </a:lnTo>
                  <a:lnTo>
                    <a:pt x="379" y="37"/>
                  </a:lnTo>
                  <a:lnTo>
                    <a:pt x="385" y="19"/>
                  </a:lnTo>
                  <a:lnTo>
                    <a:pt x="369" y="9"/>
                  </a:lnTo>
                  <a:lnTo>
                    <a:pt x="364" y="19"/>
                  </a:lnTo>
                  <a:lnTo>
                    <a:pt x="358" y="28"/>
                  </a:lnTo>
                  <a:lnTo>
                    <a:pt x="348" y="23"/>
                  </a:lnTo>
                  <a:lnTo>
                    <a:pt x="343" y="23"/>
                  </a:lnTo>
                  <a:lnTo>
                    <a:pt x="338" y="23"/>
                  </a:lnTo>
                  <a:lnTo>
                    <a:pt x="321" y="37"/>
                  </a:lnTo>
                  <a:lnTo>
                    <a:pt x="301" y="42"/>
                  </a:lnTo>
                  <a:lnTo>
                    <a:pt x="290" y="56"/>
                  </a:lnTo>
                  <a:lnTo>
                    <a:pt x="274" y="56"/>
                  </a:lnTo>
                  <a:lnTo>
                    <a:pt x="258" y="51"/>
                  </a:lnTo>
                  <a:lnTo>
                    <a:pt x="269" y="37"/>
                  </a:lnTo>
                  <a:lnTo>
                    <a:pt x="264" y="19"/>
                  </a:lnTo>
                  <a:lnTo>
                    <a:pt x="247" y="33"/>
                  </a:lnTo>
                  <a:lnTo>
                    <a:pt x="216" y="23"/>
                  </a:lnTo>
                  <a:lnTo>
                    <a:pt x="216" y="9"/>
                  </a:lnTo>
                  <a:lnTo>
                    <a:pt x="211" y="5"/>
                  </a:lnTo>
                  <a:lnTo>
                    <a:pt x="158" y="0"/>
                  </a:lnTo>
                  <a:lnTo>
                    <a:pt x="169" y="14"/>
                  </a:lnTo>
                  <a:lnTo>
                    <a:pt x="153" y="23"/>
                  </a:lnTo>
                  <a:lnTo>
                    <a:pt x="153" y="37"/>
                  </a:lnTo>
                  <a:lnTo>
                    <a:pt x="174" y="65"/>
                  </a:lnTo>
                  <a:lnTo>
                    <a:pt x="158" y="65"/>
                  </a:lnTo>
                  <a:lnTo>
                    <a:pt x="147" y="65"/>
                  </a:lnTo>
                  <a:lnTo>
                    <a:pt x="142" y="74"/>
                  </a:lnTo>
                  <a:lnTo>
                    <a:pt x="137" y="79"/>
                  </a:lnTo>
                  <a:lnTo>
                    <a:pt x="132" y="79"/>
                  </a:lnTo>
                  <a:lnTo>
                    <a:pt x="116" y="74"/>
                  </a:lnTo>
                  <a:lnTo>
                    <a:pt x="84" y="74"/>
                  </a:lnTo>
                  <a:lnTo>
                    <a:pt x="69" y="83"/>
                  </a:lnTo>
                  <a:lnTo>
                    <a:pt x="69" y="97"/>
                  </a:lnTo>
                  <a:lnTo>
                    <a:pt x="74" y="120"/>
                  </a:lnTo>
                  <a:lnTo>
                    <a:pt x="64" y="144"/>
                  </a:lnTo>
                  <a:lnTo>
                    <a:pt x="47" y="148"/>
                  </a:lnTo>
                  <a:lnTo>
                    <a:pt x="64" y="162"/>
                  </a:lnTo>
                  <a:lnTo>
                    <a:pt x="58" y="180"/>
                  </a:lnTo>
                  <a:lnTo>
                    <a:pt x="42" y="185"/>
                  </a:lnTo>
                  <a:lnTo>
                    <a:pt x="42" y="199"/>
                  </a:lnTo>
                  <a:lnTo>
                    <a:pt x="10" y="203"/>
                  </a:lnTo>
                  <a:lnTo>
                    <a:pt x="10" y="222"/>
                  </a:lnTo>
                  <a:lnTo>
                    <a:pt x="10" y="250"/>
                  </a:lnTo>
                  <a:lnTo>
                    <a:pt x="0" y="259"/>
                  </a:lnTo>
                  <a:lnTo>
                    <a:pt x="0" y="273"/>
                  </a:lnTo>
                  <a:lnTo>
                    <a:pt x="5" y="277"/>
                  </a:lnTo>
                  <a:lnTo>
                    <a:pt x="21" y="291"/>
                  </a:lnTo>
                  <a:lnTo>
                    <a:pt x="21" y="310"/>
                  </a:lnTo>
                  <a:lnTo>
                    <a:pt x="10" y="319"/>
                  </a:lnTo>
                  <a:lnTo>
                    <a:pt x="5" y="319"/>
                  </a:lnTo>
                  <a:lnTo>
                    <a:pt x="5" y="333"/>
                  </a:lnTo>
                  <a:lnTo>
                    <a:pt x="27" y="347"/>
                  </a:lnTo>
                  <a:lnTo>
                    <a:pt x="16" y="365"/>
                  </a:lnTo>
                  <a:lnTo>
                    <a:pt x="32" y="383"/>
                  </a:lnTo>
                  <a:lnTo>
                    <a:pt x="47" y="388"/>
                  </a:lnTo>
                  <a:lnTo>
                    <a:pt x="84" y="397"/>
                  </a:lnTo>
                  <a:lnTo>
                    <a:pt x="116" y="407"/>
                  </a:lnTo>
                  <a:lnTo>
                    <a:pt x="95" y="425"/>
                  </a:lnTo>
                  <a:lnTo>
                    <a:pt x="90" y="448"/>
                  </a:lnTo>
                  <a:lnTo>
                    <a:pt x="79" y="499"/>
                  </a:lnTo>
                  <a:lnTo>
                    <a:pt x="74" y="499"/>
                  </a:lnTo>
                  <a:lnTo>
                    <a:pt x="90" y="504"/>
                  </a:lnTo>
                  <a:lnTo>
                    <a:pt x="121" y="499"/>
                  </a:lnTo>
                  <a:close/>
                </a:path>
              </a:pathLst>
            </a:custGeom>
            <a:solidFill>
              <a:srgbClr val="FFC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cs-CZ"/>
            </a:p>
          </p:txBody>
        </p:sp>
        <p:sp>
          <p:nvSpPr>
            <p:cNvPr id="7186" name="Freeform 153"/>
            <p:cNvSpPr>
              <a:spLocks noEditPoints="1"/>
            </p:cNvSpPr>
            <p:nvPr/>
          </p:nvSpPr>
          <p:spPr bwMode="auto">
            <a:xfrm>
              <a:off x="3397" y="1861"/>
              <a:ext cx="497" cy="542"/>
            </a:xfrm>
            <a:custGeom>
              <a:avLst/>
              <a:gdLst>
                <a:gd name="T0" fmla="*/ 0 w 2080"/>
                <a:gd name="T1" fmla="*/ 0 h 2273"/>
                <a:gd name="T2" fmla="*/ 0 w 2080"/>
                <a:gd name="T3" fmla="*/ 0 h 2273"/>
                <a:gd name="T4" fmla="*/ 0 w 2080"/>
                <a:gd name="T5" fmla="*/ 0 h 2273"/>
                <a:gd name="T6" fmla="*/ 0 w 2080"/>
                <a:gd name="T7" fmla="*/ 0 h 2273"/>
                <a:gd name="T8" fmla="*/ 0 w 2080"/>
                <a:gd name="T9" fmla="*/ 0 h 2273"/>
                <a:gd name="T10" fmla="*/ 0 w 2080"/>
                <a:gd name="T11" fmla="*/ 0 h 2273"/>
                <a:gd name="T12" fmla="*/ 0 w 2080"/>
                <a:gd name="T13" fmla="*/ 0 h 2273"/>
                <a:gd name="T14" fmla="*/ 0 w 2080"/>
                <a:gd name="T15" fmla="*/ 0 h 2273"/>
                <a:gd name="T16" fmla="*/ 0 w 2080"/>
                <a:gd name="T17" fmla="*/ 0 h 2273"/>
                <a:gd name="T18" fmla="*/ 0 w 2080"/>
                <a:gd name="T19" fmla="*/ 0 h 2273"/>
                <a:gd name="T20" fmla="*/ 0 w 2080"/>
                <a:gd name="T21" fmla="*/ 0 h 2273"/>
                <a:gd name="T22" fmla="*/ 0 w 2080"/>
                <a:gd name="T23" fmla="*/ 0 h 2273"/>
                <a:gd name="T24" fmla="*/ 0 w 2080"/>
                <a:gd name="T25" fmla="*/ 0 h 2273"/>
                <a:gd name="T26" fmla="*/ 0 w 2080"/>
                <a:gd name="T27" fmla="*/ 0 h 2273"/>
                <a:gd name="T28" fmla="*/ 0 w 2080"/>
                <a:gd name="T29" fmla="*/ 0 h 2273"/>
                <a:gd name="T30" fmla="*/ 0 w 2080"/>
                <a:gd name="T31" fmla="*/ 0 h 2273"/>
                <a:gd name="T32" fmla="*/ 0 w 2080"/>
                <a:gd name="T33" fmla="*/ 0 h 2273"/>
                <a:gd name="T34" fmla="*/ 0 w 2080"/>
                <a:gd name="T35" fmla="*/ 0 h 2273"/>
                <a:gd name="T36" fmla="*/ 0 w 2080"/>
                <a:gd name="T37" fmla="*/ 0 h 2273"/>
                <a:gd name="T38" fmla="*/ 0 w 2080"/>
                <a:gd name="T39" fmla="*/ 0 h 2273"/>
                <a:gd name="T40" fmla="*/ 0 w 2080"/>
                <a:gd name="T41" fmla="*/ 0 h 2273"/>
                <a:gd name="T42" fmla="*/ 0 w 2080"/>
                <a:gd name="T43" fmla="*/ 0 h 2273"/>
                <a:gd name="T44" fmla="*/ 0 w 2080"/>
                <a:gd name="T45" fmla="*/ 0 h 2273"/>
                <a:gd name="T46" fmla="*/ 0 w 2080"/>
                <a:gd name="T47" fmla="*/ 0 h 2273"/>
                <a:gd name="T48" fmla="*/ 0 w 2080"/>
                <a:gd name="T49" fmla="*/ 0 h 2273"/>
                <a:gd name="T50" fmla="*/ 0 w 2080"/>
                <a:gd name="T51" fmla="*/ 0 h 2273"/>
                <a:gd name="T52" fmla="*/ 0 w 2080"/>
                <a:gd name="T53" fmla="*/ 0 h 2273"/>
                <a:gd name="T54" fmla="*/ 0 w 2080"/>
                <a:gd name="T55" fmla="*/ 0 h 2273"/>
                <a:gd name="T56" fmla="*/ 0 w 2080"/>
                <a:gd name="T57" fmla="*/ 0 h 2273"/>
                <a:gd name="T58" fmla="*/ 0 w 2080"/>
                <a:gd name="T59" fmla="*/ 0 h 2273"/>
                <a:gd name="T60" fmla="*/ 0 w 2080"/>
                <a:gd name="T61" fmla="*/ 0 h 2273"/>
                <a:gd name="T62" fmla="*/ 0 w 2080"/>
                <a:gd name="T63" fmla="*/ 0 h 2273"/>
                <a:gd name="T64" fmla="*/ 0 w 2080"/>
                <a:gd name="T65" fmla="*/ 0 h 2273"/>
                <a:gd name="T66" fmla="*/ 0 w 2080"/>
                <a:gd name="T67" fmla="*/ 0 h 2273"/>
                <a:gd name="T68" fmla="*/ 0 w 2080"/>
                <a:gd name="T69" fmla="*/ 0 h 2273"/>
                <a:gd name="T70" fmla="*/ 0 w 2080"/>
                <a:gd name="T71" fmla="*/ 0 h 2273"/>
                <a:gd name="T72" fmla="*/ 0 w 2080"/>
                <a:gd name="T73" fmla="*/ 0 h 2273"/>
                <a:gd name="T74" fmla="*/ 0 w 2080"/>
                <a:gd name="T75" fmla="*/ 0 h 2273"/>
                <a:gd name="T76" fmla="*/ 0 w 2080"/>
                <a:gd name="T77" fmla="*/ 0 h 2273"/>
                <a:gd name="T78" fmla="*/ 0 w 2080"/>
                <a:gd name="T79" fmla="*/ 0 h 2273"/>
                <a:gd name="T80" fmla="*/ 0 w 2080"/>
                <a:gd name="T81" fmla="*/ 0 h 2273"/>
                <a:gd name="T82" fmla="*/ 0 w 2080"/>
                <a:gd name="T83" fmla="*/ 0 h 2273"/>
                <a:gd name="T84" fmla="*/ 0 w 2080"/>
                <a:gd name="T85" fmla="*/ 0 h 2273"/>
                <a:gd name="T86" fmla="*/ 0 w 2080"/>
                <a:gd name="T87" fmla="*/ 0 h 2273"/>
                <a:gd name="T88" fmla="*/ 0 w 2080"/>
                <a:gd name="T89" fmla="*/ 0 h 2273"/>
                <a:gd name="T90" fmla="*/ 0 w 2080"/>
                <a:gd name="T91" fmla="*/ 0 h 2273"/>
                <a:gd name="T92" fmla="*/ 0 w 2080"/>
                <a:gd name="T93" fmla="*/ 0 h 2273"/>
                <a:gd name="T94" fmla="*/ 0 w 2080"/>
                <a:gd name="T95" fmla="*/ 0 h 2273"/>
                <a:gd name="T96" fmla="*/ 0 w 2080"/>
                <a:gd name="T97" fmla="*/ 0 h 2273"/>
                <a:gd name="T98" fmla="*/ 0 w 2080"/>
                <a:gd name="T99" fmla="*/ 0 h 2273"/>
                <a:gd name="T100" fmla="*/ 0 w 2080"/>
                <a:gd name="T101" fmla="*/ 0 h 2273"/>
                <a:gd name="T102" fmla="*/ 0 w 2080"/>
                <a:gd name="T103" fmla="*/ 0 h 2273"/>
                <a:gd name="T104" fmla="*/ 0 w 2080"/>
                <a:gd name="T105" fmla="*/ 0 h 2273"/>
                <a:gd name="T106" fmla="*/ 0 w 2080"/>
                <a:gd name="T107" fmla="*/ 0 h 2273"/>
                <a:gd name="T108" fmla="*/ 0 w 2080"/>
                <a:gd name="T109" fmla="*/ 0 h 2273"/>
                <a:gd name="T110" fmla="*/ 0 w 2080"/>
                <a:gd name="T111" fmla="*/ 0 h 2273"/>
                <a:gd name="T112" fmla="*/ 0 w 2080"/>
                <a:gd name="T113" fmla="*/ 0 h 2273"/>
                <a:gd name="T114" fmla="*/ 0 w 2080"/>
                <a:gd name="T115" fmla="*/ 0 h 2273"/>
                <a:gd name="T116" fmla="*/ 0 w 2080"/>
                <a:gd name="T117" fmla="*/ 0 h 2273"/>
                <a:gd name="T118" fmla="*/ 0 w 2080"/>
                <a:gd name="T119" fmla="*/ 0 h 2273"/>
                <a:gd name="T120" fmla="*/ 0 w 2080"/>
                <a:gd name="T121" fmla="*/ 0 h 2273"/>
                <a:gd name="T122" fmla="*/ 0 w 2080"/>
                <a:gd name="T123" fmla="*/ 0 h 2273"/>
                <a:gd name="T124" fmla="*/ 0 w 2080"/>
                <a:gd name="T125" fmla="*/ 0 h 2273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080"/>
                <a:gd name="T190" fmla="*/ 0 h 2273"/>
                <a:gd name="T191" fmla="*/ 2080 w 2080"/>
                <a:gd name="T192" fmla="*/ 2273 h 2273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080" h="2273">
                  <a:moveTo>
                    <a:pt x="541" y="2196"/>
                  </a:moveTo>
                  <a:lnTo>
                    <a:pt x="539" y="2196"/>
                  </a:lnTo>
                  <a:lnTo>
                    <a:pt x="633" y="2155"/>
                  </a:lnTo>
                  <a:cubicBezTo>
                    <a:pt x="634" y="2155"/>
                    <a:pt x="636" y="2155"/>
                    <a:pt x="638" y="2155"/>
                  </a:cubicBezTo>
                  <a:lnTo>
                    <a:pt x="869" y="2216"/>
                  </a:lnTo>
                  <a:lnTo>
                    <a:pt x="985" y="2257"/>
                  </a:lnTo>
                  <a:lnTo>
                    <a:pt x="979" y="2257"/>
                  </a:lnTo>
                  <a:lnTo>
                    <a:pt x="1073" y="2216"/>
                  </a:lnTo>
                  <a:cubicBezTo>
                    <a:pt x="1074" y="2216"/>
                    <a:pt x="1076" y="2216"/>
                    <a:pt x="1077" y="2216"/>
                  </a:cubicBezTo>
                  <a:lnTo>
                    <a:pt x="1240" y="2236"/>
                  </a:lnTo>
                  <a:lnTo>
                    <a:pt x="1237" y="2236"/>
                  </a:lnTo>
                  <a:lnTo>
                    <a:pt x="1353" y="2216"/>
                  </a:lnTo>
                  <a:lnTo>
                    <a:pt x="1539" y="2155"/>
                  </a:lnTo>
                  <a:cubicBezTo>
                    <a:pt x="1540" y="2155"/>
                    <a:pt x="1542" y="2155"/>
                    <a:pt x="1543" y="2155"/>
                  </a:cubicBezTo>
                  <a:lnTo>
                    <a:pt x="1706" y="2196"/>
                  </a:lnTo>
                  <a:lnTo>
                    <a:pt x="1696" y="2203"/>
                  </a:lnTo>
                  <a:lnTo>
                    <a:pt x="1696" y="2122"/>
                  </a:lnTo>
                  <a:lnTo>
                    <a:pt x="1697" y="2126"/>
                  </a:lnTo>
                  <a:lnTo>
                    <a:pt x="1650" y="2045"/>
                  </a:lnTo>
                  <a:cubicBezTo>
                    <a:pt x="1648" y="2041"/>
                    <a:pt x="1649" y="2037"/>
                    <a:pt x="1652" y="2034"/>
                  </a:cubicBezTo>
                  <a:lnTo>
                    <a:pt x="1743" y="1973"/>
                  </a:lnTo>
                  <a:lnTo>
                    <a:pt x="1740" y="1978"/>
                  </a:lnTo>
                  <a:lnTo>
                    <a:pt x="1765" y="1896"/>
                  </a:lnTo>
                  <a:cubicBezTo>
                    <a:pt x="1766" y="1893"/>
                    <a:pt x="1769" y="1891"/>
                    <a:pt x="1772" y="1891"/>
                  </a:cubicBezTo>
                  <a:lnTo>
                    <a:pt x="1866" y="1891"/>
                  </a:lnTo>
                  <a:lnTo>
                    <a:pt x="1858" y="1897"/>
                  </a:lnTo>
                  <a:lnTo>
                    <a:pt x="1880" y="1815"/>
                  </a:lnTo>
                  <a:lnTo>
                    <a:pt x="1884" y="1824"/>
                  </a:lnTo>
                  <a:lnTo>
                    <a:pt x="1674" y="1682"/>
                  </a:lnTo>
                  <a:lnTo>
                    <a:pt x="1512" y="1560"/>
                  </a:lnTo>
                  <a:cubicBezTo>
                    <a:pt x="1509" y="1557"/>
                    <a:pt x="1508" y="1553"/>
                    <a:pt x="1509" y="1550"/>
                  </a:cubicBezTo>
                  <a:lnTo>
                    <a:pt x="1534" y="1489"/>
                  </a:lnTo>
                  <a:lnTo>
                    <a:pt x="1535" y="1498"/>
                  </a:lnTo>
                  <a:lnTo>
                    <a:pt x="1442" y="1396"/>
                  </a:lnTo>
                  <a:cubicBezTo>
                    <a:pt x="1440" y="1394"/>
                    <a:pt x="1440" y="1392"/>
                    <a:pt x="1440" y="1390"/>
                  </a:cubicBezTo>
                  <a:cubicBezTo>
                    <a:pt x="1440" y="1387"/>
                    <a:pt x="1441" y="1385"/>
                    <a:pt x="1443" y="1384"/>
                  </a:cubicBezTo>
                  <a:lnTo>
                    <a:pt x="1537" y="1323"/>
                  </a:lnTo>
                  <a:cubicBezTo>
                    <a:pt x="1538" y="1322"/>
                    <a:pt x="1539" y="1322"/>
                    <a:pt x="1540" y="1322"/>
                  </a:cubicBezTo>
                  <a:lnTo>
                    <a:pt x="1656" y="1301"/>
                  </a:lnTo>
                  <a:lnTo>
                    <a:pt x="1653" y="1302"/>
                  </a:lnTo>
                  <a:lnTo>
                    <a:pt x="1769" y="1241"/>
                  </a:lnTo>
                  <a:cubicBezTo>
                    <a:pt x="1769" y="1241"/>
                    <a:pt x="1769" y="1241"/>
                    <a:pt x="1770" y="1241"/>
                  </a:cubicBezTo>
                  <a:lnTo>
                    <a:pt x="1885" y="1200"/>
                  </a:lnTo>
                  <a:lnTo>
                    <a:pt x="1880" y="1206"/>
                  </a:lnTo>
                  <a:lnTo>
                    <a:pt x="1902" y="1124"/>
                  </a:lnTo>
                  <a:cubicBezTo>
                    <a:pt x="1903" y="1121"/>
                    <a:pt x="1906" y="1118"/>
                    <a:pt x="1910" y="1118"/>
                  </a:cubicBezTo>
                  <a:lnTo>
                    <a:pt x="2004" y="1118"/>
                  </a:lnTo>
                  <a:cubicBezTo>
                    <a:pt x="2005" y="1118"/>
                    <a:pt x="2007" y="1119"/>
                    <a:pt x="2008" y="1119"/>
                  </a:cubicBezTo>
                  <a:lnTo>
                    <a:pt x="2077" y="1160"/>
                  </a:lnTo>
                  <a:lnTo>
                    <a:pt x="2064" y="1167"/>
                  </a:lnTo>
                  <a:lnTo>
                    <a:pt x="2064" y="1004"/>
                  </a:lnTo>
                  <a:lnTo>
                    <a:pt x="2066" y="1010"/>
                  </a:lnTo>
                  <a:lnTo>
                    <a:pt x="1998" y="928"/>
                  </a:lnTo>
                  <a:cubicBezTo>
                    <a:pt x="1996" y="926"/>
                    <a:pt x="1995" y="923"/>
                    <a:pt x="1996" y="920"/>
                  </a:cubicBezTo>
                  <a:lnTo>
                    <a:pt x="2043" y="818"/>
                  </a:lnTo>
                  <a:lnTo>
                    <a:pt x="2044" y="826"/>
                  </a:lnTo>
                  <a:lnTo>
                    <a:pt x="1975" y="724"/>
                  </a:lnTo>
                  <a:cubicBezTo>
                    <a:pt x="1974" y="723"/>
                    <a:pt x="1974" y="721"/>
                    <a:pt x="1974" y="720"/>
                  </a:cubicBezTo>
                  <a:lnTo>
                    <a:pt x="1974" y="639"/>
                  </a:lnTo>
                  <a:lnTo>
                    <a:pt x="1978" y="645"/>
                  </a:lnTo>
                  <a:lnTo>
                    <a:pt x="1837" y="564"/>
                  </a:lnTo>
                  <a:cubicBezTo>
                    <a:pt x="1833" y="562"/>
                    <a:pt x="1832" y="557"/>
                    <a:pt x="1834" y="553"/>
                  </a:cubicBezTo>
                  <a:lnTo>
                    <a:pt x="1903" y="431"/>
                  </a:lnTo>
                  <a:lnTo>
                    <a:pt x="1902" y="437"/>
                  </a:lnTo>
                  <a:lnTo>
                    <a:pt x="1880" y="356"/>
                  </a:lnTo>
                  <a:lnTo>
                    <a:pt x="1858" y="233"/>
                  </a:lnTo>
                  <a:lnTo>
                    <a:pt x="1864" y="240"/>
                  </a:lnTo>
                  <a:lnTo>
                    <a:pt x="1771" y="220"/>
                  </a:lnTo>
                  <a:cubicBezTo>
                    <a:pt x="1770" y="219"/>
                    <a:pt x="1770" y="219"/>
                    <a:pt x="1769" y="219"/>
                  </a:cubicBezTo>
                  <a:lnTo>
                    <a:pt x="1676" y="178"/>
                  </a:lnTo>
                  <a:cubicBezTo>
                    <a:pt x="1672" y="177"/>
                    <a:pt x="1670" y="173"/>
                    <a:pt x="1671" y="169"/>
                  </a:cubicBezTo>
                  <a:lnTo>
                    <a:pt x="1696" y="87"/>
                  </a:lnTo>
                  <a:lnTo>
                    <a:pt x="1700" y="97"/>
                  </a:lnTo>
                  <a:lnTo>
                    <a:pt x="1628" y="56"/>
                  </a:lnTo>
                  <a:lnTo>
                    <a:pt x="1639" y="53"/>
                  </a:lnTo>
                  <a:lnTo>
                    <a:pt x="1617" y="94"/>
                  </a:lnTo>
                  <a:lnTo>
                    <a:pt x="1592" y="135"/>
                  </a:lnTo>
                  <a:cubicBezTo>
                    <a:pt x="1590" y="138"/>
                    <a:pt x="1586" y="139"/>
                    <a:pt x="1582" y="138"/>
                  </a:cubicBezTo>
                  <a:lnTo>
                    <a:pt x="1538" y="117"/>
                  </a:lnTo>
                  <a:lnTo>
                    <a:pt x="1541" y="118"/>
                  </a:lnTo>
                  <a:lnTo>
                    <a:pt x="1517" y="118"/>
                  </a:lnTo>
                  <a:lnTo>
                    <a:pt x="1495" y="118"/>
                  </a:lnTo>
                  <a:lnTo>
                    <a:pt x="1500" y="116"/>
                  </a:lnTo>
                  <a:lnTo>
                    <a:pt x="1428" y="177"/>
                  </a:lnTo>
                  <a:cubicBezTo>
                    <a:pt x="1427" y="178"/>
                    <a:pt x="1426" y="179"/>
                    <a:pt x="1425" y="179"/>
                  </a:cubicBezTo>
                  <a:lnTo>
                    <a:pt x="1334" y="199"/>
                  </a:lnTo>
                  <a:lnTo>
                    <a:pt x="1339" y="196"/>
                  </a:lnTo>
                  <a:lnTo>
                    <a:pt x="1292" y="257"/>
                  </a:lnTo>
                  <a:cubicBezTo>
                    <a:pt x="1290" y="259"/>
                    <a:pt x="1288" y="260"/>
                    <a:pt x="1285" y="260"/>
                  </a:cubicBezTo>
                  <a:lnTo>
                    <a:pt x="1217" y="260"/>
                  </a:lnTo>
                  <a:cubicBezTo>
                    <a:pt x="1216" y="260"/>
                    <a:pt x="1215" y="260"/>
                    <a:pt x="1214" y="260"/>
                  </a:cubicBezTo>
                  <a:lnTo>
                    <a:pt x="1143" y="240"/>
                  </a:lnTo>
                  <a:cubicBezTo>
                    <a:pt x="1140" y="239"/>
                    <a:pt x="1138" y="237"/>
                    <a:pt x="1137" y="235"/>
                  </a:cubicBezTo>
                  <a:cubicBezTo>
                    <a:pt x="1137" y="232"/>
                    <a:pt x="1137" y="229"/>
                    <a:pt x="1139" y="227"/>
                  </a:cubicBezTo>
                  <a:lnTo>
                    <a:pt x="1185" y="166"/>
                  </a:lnTo>
                  <a:lnTo>
                    <a:pt x="1184" y="173"/>
                  </a:lnTo>
                  <a:lnTo>
                    <a:pt x="1162" y="92"/>
                  </a:lnTo>
                  <a:lnTo>
                    <a:pt x="1175" y="96"/>
                  </a:lnTo>
                  <a:lnTo>
                    <a:pt x="1103" y="157"/>
                  </a:lnTo>
                  <a:cubicBezTo>
                    <a:pt x="1101" y="159"/>
                    <a:pt x="1099" y="159"/>
                    <a:pt x="1096" y="158"/>
                  </a:cubicBezTo>
                  <a:lnTo>
                    <a:pt x="958" y="118"/>
                  </a:lnTo>
                  <a:cubicBezTo>
                    <a:pt x="955" y="117"/>
                    <a:pt x="953" y="114"/>
                    <a:pt x="953" y="110"/>
                  </a:cubicBezTo>
                  <a:lnTo>
                    <a:pt x="953" y="49"/>
                  </a:lnTo>
                  <a:lnTo>
                    <a:pt x="956" y="55"/>
                  </a:lnTo>
                  <a:lnTo>
                    <a:pt x="931" y="35"/>
                  </a:lnTo>
                  <a:lnTo>
                    <a:pt x="935" y="37"/>
                  </a:lnTo>
                  <a:lnTo>
                    <a:pt x="704" y="16"/>
                  </a:lnTo>
                  <a:lnTo>
                    <a:pt x="711" y="4"/>
                  </a:lnTo>
                  <a:lnTo>
                    <a:pt x="758" y="65"/>
                  </a:lnTo>
                  <a:cubicBezTo>
                    <a:pt x="759" y="66"/>
                    <a:pt x="760" y="69"/>
                    <a:pt x="759" y="71"/>
                  </a:cubicBezTo>
                  <a:cubicBezTo>
                    <a:pt x="759" y="73"/>
                    <a:pt x="758" y="75"/>
                    <a:pt x="756" y="76"/>
                  </a:cubicBezTo>
                  <a:lnTo>
                    <a:pt x="687" y="117"/>
                  </a:lnTo>
                  <a:lnTo>
                    <a:pt x="691" y="110"/>
                  </a:lnTo>
                  <a:lnTo>
                    <a:pt x="691" y="171"/>
                  </a:lnTo>
                  <a:lnTo>
                    <a:pt x="689" y="166"/>
                  </a:lnTo>
                  <a:lnTo>
                    <a:pt x="780" y="288"/>
                  </a:lnTo>
                  <a:cubicBezTo>
                    <a:pt x="782" y="291"/>
                    <a:pt x="782" y="294"/>
                    <a:pt x="781" y="297"/>
                  </a:cubicBezTo>
                  <a:cubicBezTo>
                    <a:pt x="779" y="299"/>
                    <a:pt x="777" y="301"/>
                    <a:pt x="774" y="301"/>
                  </a:cubicBezTo>
                  <a:lnTo>
                    <a:pt x="705" y="301"/>
                  </a:lnTo>
                  <a:lnTo>
                    <a:pt x="658" y="301"/>
                  </a:lnTo>
                  <a:lnTo>
                    <a:pt x="665" y="297"/>
                  </a:lnTo>
                  <a:lnTo>
                    <a:pt x="643" y="337"/>
                  </a:lnTo>
                  <a:cubicBezTo>
                    <a:pt x="643" y="338"/>
                    <a:pt x="642" y="339"/>
                    <a:pt x="641" y="340"/>
                  </a:cubicBezTo>
                  <a:lnTo>
                    <a:pt x="619" y="360"/>
                  </a:lnTo>
                  <a:cubicBezTo>
                    <a:pt x="618" y="361"/>
                    <a:pt x="616" y="362"/>
                    <a:pt x="614" y="362"/>
                  </a:cubicBezTo>
                  <a:lnTo>
                    <a:pt x="589" y="362"/>
                  </a:lnTo>
                  <a:cubicBezTo>
                    <a:pt x="588" y="362"/>
                    <a:pt x="588" y="362"/>
                    <a:pt x="587" y="362"/>
                  </a:cubicBezTo>
                  <a:lnTo>
                    <a:pt x="518" y="341"/>
                  </a:lnTo>
                  <a:lnTo>
                    <a:pt x="520" y="342"/>
                  </a:lnTo>
                  <a:lnTo>
                    <a:pt x="380" y="342"/>
                  </a:lnTo>
                  <a:lnTo>
                    <a:pt x="384" y="341"/>
                  </a:lnTo>
                  <a:lnTo>
                    <a:pt x="315" y="381"/>
                  </a:lnTo>
                  <a:lnTo>
                    <a:pt x="319" y="374"/>
                  </a:lnTo>
                  <a:lnTo>
                    <a:pt x="319" y="435"/>
                  </a:lnTo>
                  <a:lnTo>
                    <a:pt x="319" y="434"/>
                  </a:lnTo>
                  <a:lnTo>
                    <a:pt x="341" y="535"/>
                  </a:lnTo>
                  <a:cubicBezTo>
                    <a:pt x="341" y="537"/>
                    <a:pt x="341" y="539"/>
                    <a:pt x="341" y="540"/>
                  </a:cubicBezTo>
                  <a:lnTo>
                    <a:pt x="297" y="642"/>
                  </a:lnTo>
                  <a:cubicBezTo>
                    <a:pt x="296" y="644"/>
                    <a:pt x="294" y="646"/>
                    <a:pt x="291" y="646"/>
                  </a:cubicBezTo>
                  <a:lnTo>
                    <a:pt x="220" y="667"/>
                  </a:lnTo>
                  <a:lnTo>
                    <a:pt x="223" y="653"/>
                  </a:lnTo>
                  <a:lnTo>
                    <a:pt x="294" y="714"/>
                  </a:lnTo>
                  <a:cubicBezTo>
                    <a:pt x="297" y="716"/>
                    <a:pt x="298" y="719"/>
                    <a:pt x="297" y="722"/>
                  </a:cubicBezTo>
                  <a:lnTo>
                    <a:pt x="272" y="803"/>
                  </a:lnTo>
                  <a:cubicBezTo>
                    <a:pt x="271" y="806"/>
                    <a:pt x="269" y="808"/>
                    <a:pt x="267" y="809"/>
                  </a:cubicBezTo>
                  <a:lnTo>
                    <a:pt x="198" y="829"/>
                  </a:lnTo>
                  <a:lnTo>
                    <a:pt x="204" y="821"/>
                  </a:lnTo>
                  <a:lnTo>
                    <a:pt x="204" y="882"/>
                  </a:lnTo>
                  <a:cubicBezTo>
                    <a:pt x="204" y="886"/>
                    <a:pt x="201" y="890"/>
                    <a:pt x="197" y="890"/>
                  </a:cubicBezTo>
                  <a:lnTo>
                    <a:pt x="56" y="911"/>
                  </a:lnTo>
                  <a:lnTo>
                    <a:pt x="63" y="903"/>
                  </a:lnTo>
                  <a:lnTo>
                    <a:pt x="63" y="984"/>
                  </a:lnTo>
                  <a:lnTo>
                    <a:pt x="63" y="1106"/>
                  </a:lnTo>
                  <a:cubicBezTo>
                    <a:pt x="63" y="1108"/>
                    <a:pt x="62" y="1111"/>
                    <a:pt x="61" y="1112"/>
                  </a:cubicBezTo>
                  <a:lnTo>
                    <a:pt x="14" y="1153"/>
                  </a:lnTo>
                  <a:lnTo>
                    <a:pt x="16" y="1147"/>
                  </a:lnTo>
                  <a:lnTo>
                    <a:pt x="16" y="1208"/>
                  </a:lnTo>
                  <a:lnTo>
                    <a:pt x="14" y="1201"/>
                  </a:lnTo>
                  <a:lnTo>
                    <a:pt x="38" y="1222"/>
                  </a:lnTo>
                  <a:lnTo>
                    <a:pt x="107" y="1283"/>
                  </a:lnTo>
                  <a:cubicBezTo>
                    <a:pt x="109" y="1284"/>
                    <a:pt x="110" y="1287"/>
                    <a:pt x="110" y="1289"/>
                  </a:cubicBezTo>
                  <a:lnTo>
                    <a:pt x="110" y="1370"/>
                  </a:lnTo>
                  <a:cubicBezTo>
                    <a:pt x="110" y="1373"/>
                    <a:pt x="109" y="1375"/>
                    <a:pt x="107" y="1376"/>
                  </a:cubicBezTo>
                  <a:lnTo>
                    <a:pt x="61" y="1417"/>
                  </a:lnTo>
                  <a:cubicBezTo>
                    <a:pt x="59" y="1418"/>
                    <a:pt x="57" y="1419"/>
                    <a:pt x="55" y="1419"/>
                  </a:cubicBezTo>
                  <a:lnTo>
                    <a:pt x="33" y="1419"/>
                  </a:lnTo>
                  <a:lnTo>
                    <a:pt x="41" y="1411"/>
                  </a:lnTo>
                  <a:lnTo>
                    <a:pt x="41" y="1472"/>
                  </a:lnTo>
                  <a:lnTo>
                    <a:pt x="38" y="1465"/>
                  </a:lnTo>
                  <a:lnTo>
                    <a:pt x="131" y="1526"/>
                  </a:lnTo>
                  <a:cubicBezTo>
                    <a:pt x="135" y="1528"/>
                    <a:pt x="136" y="1533"/>
                    <a:pt x="134" y="1537"/>
                  </a:cubicBezTo>
                  <a:lnTo>
                    <a:pt x="87" y="1618"/>
                  </a:lnTo>
                  <a:lnTo>
                    <a:pt x="86" y="1609"/>
                  </a:lnTo>
                  <a:lnTo>
                    <a:pt x="155" y="1690"/>
                  </a:lnTo>
                  <a:lnTo>
                    <a:pt x="151" y="1688"/>
                  </a:lnTo>
                  <a:lnTo>
                    <a:pt x="220" y="1708"/>
                  </a:lnTo>
                  <a:lnTo>
                    <a:pt x="382" y="1749"/>
                  </a:lnTo>
                  <a:lnTo>
                    <a:pt x="523" y="1789"/>
                  </a:lnTo>
                  <a:cubicBezTo>
                    <a:pt x="525" y="1790"/>
                    <a:pt x="528" y="1792"/>
                    <a:pt x="528" y="1795"/>
                  </a:cubicBezTo>
                  <a:cubicBezTo>
                    <a:pt x="529" y="1798"/>
                    <a:pt x="528" y="1801"/>
                    <a:pt x="526" y="1803"/>
                  </a:cubicBezTo>
                  <a:lnTo>
                    <a:pt x="432" y="1884"/>
                  </a:lnTo>
                  <a:lnTo>
                    <a:pt x="435" y="1880"/>
                  </a:lnTo>
                  <a:lnTo>
                    <a:pt x="413" y="1982"/>
                  </a:lnTo>
                  <a:lnTo>
                    <a:pt x="366" y="2205"/>
                  </a:lnTo>
                  <a:cubicBezTo>
                    <a:pt x="365" y="2209"/>
                    <a:pt x="362" y="2212"/>
                    <a:pt x="358" y="2212"/>
                  </a:cubicBezTo>
                  <a:lnTo>
                    <a:pt x="333" y="2212"/>
                  </a:lnTo>
                  <a:lnTo>
                    <a:pt x="335" y="2196"/>
                  </a:lnTo>
                  <a:lnTo>
                    <a:pt x="407" y="2216"/>
                  </a:lnTo>
                  <a:lnTo>
                    <a:pt x="404" y="2216"/>
                  </a:lnTo>
                  <a:lnTo>
                    <a:pt x="541" y="2196"/>
                  </a:lnTo>
                  <a:close/>
                  <a:moveTo>
                    <a:pt x="406" y="2232"/>
                  </a:moveTo>
                  <a:cubicBezTo>
                    <a:pt x="405" y="2232"/>
                    <a:pt x="404" y="2232"/>
                    <a:pt x="403" y="2232"/>
                  </a:cubicBezTo>
                  <a:lnTo>
                    <a:pt x="331" y="2211"/>
                  </a:lnTo>
                  <a:cubicBezTo>
                    <a:pt x="327" y="2210"/>
                    <a:pt x="325" y="2206"/>
                    <a:pt x="325" y="2202"/>
                  </a:cubicBezTo>
                  <a:cubicBezTo>
                    <a:pt x="326" y="2198"/>
                    <a:pt x="329" y="2195"/>
                    <a:pt x="333" y="2195"/>
                  </a:cubicBezTo>
                  <a:lnTo>
                    <a:pt x="358" y="2195"/>
                  </a:lnTo>
                  <a:lnTo>
                    <a:pt x="350" y="2202"/>
                  </a:lnTo>
                  <a:lnTo>
                    <a:pt x="397" y="1978"/>
                  </a:lnTo>
                  <a:lnTo>
                    <a:pt x="419" y="1877"/>
                  </a:lnTo>
                  <a:cubicBezTo>
                    <a:pt x="419" y="1875"/>
                    <a:pt x="420" y="1873"/>
                    <a:pt x="422" y="1872"/>
                  </a:cubicBezTo>
                  <a:lnTo>
                    <a:pt x="515" y="1791"/>
                  </a:lnTo>
                  <a:lnTo>
                    <a:pt x="518" y="1805"/>
                  </a:lnTo>
                  <a:lnTo>
                    <a:pt x="378" y="1764"/>
                  </a:lnTo>
                  <a:lnTo>
                    <a:pt x="215" y="1723"/>
                  </a:lnTo>
                  <a:lnTo>
                    <a:pt x="147" y="1703"/>
                  </a:lnTo>
                  <a:cubicBezTo>
                    <a:pt x="145" y="1703"/>
                    <a:pt x="144" y="1702"/>
                    <a:pt x="143" y="1701"/>
                  </a:cubicBezTo>
                  <a:lnTo>
                    <a:pt x="74" y="1619"/>
                  </a:lnTo>
                  <a:cubicBezTo>
                    <a:pt x="72" y="1617"/>
                    <a:pt x="71" y="1613"/>
                    <a:pt x="73" y="1610"/>
                  </a:cubicBezTo>
                  <a:lnTo>
                    <a:pt x="120" y="1529"/>
                  </a:lnTo>
                  <a:lnTo>
                    <a:pt x="122" y="1539"/>
                  </a:lnTo>
                  <a:lnTo>
                    <a:pt x="29" y="1479"/>
                  </a:lnTo>
                  <a:cubicBezTo>
                    <a:pt x="27" y="1477"/>
                    <a:pt x="25" y="1475"/>
                    <a:pt x="25" y="1472"/>
                  </a:cubicBezTo>
                  <a:lnTo>
                    <a:pt x="25" y="1411"/>
                  </a:lnTo>
                  <a:cubicBezTo>
                    <a:pt x="25" y="1406"/>
                    <a:pt x="29" y="1403"/>
                    <a:pt x="33" y="1403"/>
                  </a:cubicBezTo>
                  <a:lnTo>
                    <a:pt x="55" y="1403"/>
                  </a:lnTo>
                  <a:lnTo>
                    <a:pt x="50" y="1405"/>
                  </a:lnTo>
                  <a:lnTo>
                    <a:pt x="97" y="1364"/>
                  </a:lnTo>
                  <a:lnTo>
                    <a:pt x="94" y="1370"/>
                  </a:lnTo>
                  <a:lnTo>
                    <a:pt x="94" y="1289"/>
                  </a:lnTo>
                  <a:lnTo>
                    <a:pt x="97" y="1295"/>
                  </a:lnTo>
                  <a:lnTo>
                    <a:pt x="28" y="1234"/>
                  </a:lnTo>
                  <a:lnTo>
                    <a:pt x="3" y="1214"/>
                  </a:lnTo>
                  <a:cubicBezTo>
                    <a:pt x="2" y="1212"/>
                    <a:pt x="0" y="1210"/>
                    <a:pt x="0" y="1208"/>
                  </a:cubicBezTo>
                  <a:lnTo>
                    <a:pt x="0" y="1147"/>
                  </a:lnTo>
                  <a:cubicBezTo>
                    <a:pt x="0" y="1144"/>
                    <a:pt x="1" y="1142"/>
                    <a:pt x="3" y="1141"/>
                  </a:cubicBezTo>
                  <a:lnTo>
                    <a:pt x="50" y="1100"/>
                  </a:lnTo>
                  <a:lnTo>
                    <a:pt x="47" y="1106"/>
                  </a:lnTo>
                  <a:lnTo>
                    <a:pt x="47" y="984"/>
                  </a:lnTo>
                  <a:lnTo>
                    <a:pt x="47" y="903"/>
                  </a:lnTo>
                  <a:cubicBezTo>
                    <a:pt x="47" y="899"/>
                    <a:pt x="50" y="895"/>
                    <a:pt x="54" y="895"/>
                  </a:cubicBezTo>
                  <a:lnTo>
                    <a:pt x="194" y="874"/>
                  </a:lnTo>
                  <a:lnTo>
                    <a:pt x="188" y="882"/>
                  </a:lnTo>
                  <a:lnTo>
                    <a:pt x="188" y="821"/>
                  </a:lnTo>
                  <a:cubicBezTo>
                    <a:pt x="188" y="818"/>
                    <a:pt x="190" y="815"/>
                    <a:pt x="193" y="814"/>
                  </a:cubicBezTo>
                  <a:lnTo>
                    <a:pt x="262" y="793"/>
                  </a:lnTo>
                  <a:lnTo>
                    <a:pt x="257" y="799"/>
                  </a:lnTo>
                  <a:lnTo>
                    <a:pt x="282" y="717"/>
                  </a:lnTo>
                  <a:lnTo>
                    <a:pt x="284" y="726"/>
                  </a:lnTo>
                  <a:lnTo>
                    <a:pt x="212" y="665"/>
                  </a:lnTo>
                  <a:cubicBezTo>
                    <a:pt x="210" y="663"/>
                    <a:pt x="209" y="660"/>
                    <a:pt x="210" y="657"/>
                  </a:cubicBezTo>
                  <a:cubicBezTo>
                    <a:pt x="210" y="654"/>
                    <a:pt x="213" y="652"/>
                    <a:pt x="215" y="651"/>
                  </a:cubicBezTo>
                  <a:lnTo>
                    <a:pt x="287" y="631"/>
                  </a:lnTo>
                  <a:lnTo>
                    <a:pt x="282" y="635"/>
                  </a:lnTo>
                  <a:lnTo>
                    <a:pt x="326" y="534"/>
                  </a:lnTo>
                  <a:lnTo>
                    <a:pt x="325" y="539"/>
                  </a:lnTo>
                  <a:lnTo>
                    <a:pt x="303" y="437"/>
                  </a:lnTo>
                  <a:cubicBezTo>
                    <a:pt x="303" y="436"/>
                    <a:pt x="303" y="436"/>
                    <a:pt x="303" y="435"/>
                  </a:cubicBezTo>
                  <a:lnTo>
                    <a:pt x="303" y="374"/>
                  </a:lnTo>
                  <a:cubicBezTo>
                    <a:pt x="303" y="371"/>
                    <a:pt x="305" y="369"/>
                    <a:pt x="307" y="367"/>
                  </a:cubicBezTo>
                  <a:lnTo>
                    <a:pt x="376" y="327"/>
                  </a:lnTo>
                  <a:cubicBezTo>
                    <a:pt x="377" y="326"/>
                    <a:pt x="379" y="326"/>
                    <a:pt x="380" y="326"/>
                  </a:cubicBezTo>
                  <a:lnTo>
                    <a:pt x="520" y="326"/>
                  </a:lnTo>
                  <a:cubicBezTo>
                    <a:pt x="521" y="326"/>
                    <a:pt x="522" y="326"/>
                    <a:pt x="523" y="326"/>
                  </a:cubicBezTo>
                  <a:lnTo>
                    <a:pt x="591" y="346"/>
                  </a:lnTo>
                  <a:lnTo>
                    <a:pt x="589" y="346"/>
                  </a:lnTo>
                  <a:lnTo>
                    <a:pt x="614" y="346"/>
                  </a:lnTo>
                  <a:lnTo>
                    <a:pt x="608" y="348"/>
                  </a:lnTo>
                  <a:lnTo>
                    <a:pt x="630" y="328"/>
                  </a:lnTo>
                  <a:lnTo>
                    <a:pt x="629" y="330"/>
                  </a:lnTo>
                  <a:lnTo>
                    <a:pt x="651" y="289"/>
                  </a:lnTo>
                  <a:cubicBezTo>
                    <a:pt x="652" y="287"/>
                    <a:pt x="655" y="285"/>
                    <a:pt x="658" y="285"/>
                  </a:cubicBezTo>
                  <a:lnTo>
                    <a:pt x="705" y="285"/>
                  </a:lnTo>
                  <a:lnTo>
                    <a:pt x="774" y="285"/>
                  </a:lnTo>
                  <a:lnTo>
                    <a:pt x="767" y="298"/>
                  </a:lnTo>
                  <a:lnTo>
                    <a:pt x="676" y="176"/>
                  </a:lnTo>
                  <a:cubicBezTo>
                    <a:pt x="675" y="174"/>
                    <a:pt x="675" y="173"/>
                    <a:pt x="675" y="171"/>
                  </a:cubicBezTo>
                  <a:lnTo>
                    <a:pt x="675" y="110"/>
                  </a:lnTo>
                  <a:cubicBezTo>
                    <a:pt x="675" y="107"/>
                    <a:pt x="676" y="105"/>
                    <a:pt x="679" y="103"/>
                  </a:cubicBezTo>
                  <a:lnTo>
                    <a:pt x="747" y="63"/>
                  </a:lnTo>
                  <a:lnTo>
                    <a:pt x="745" y="74"/>
                  </a:lnTo>
                  <a:lnTo>
                    <a:pt x="698" y="13"/>
                  </a:lnTo>
                  <a:cubicBezTo>
                    <a:pt x="696" y="11"/>
                    <a:pt x="696" y="7"/>
                    <a:pt x="698" y="5"/>
                  </a:cubicBezTo>
                  <a:cubicBezTo>
                    <a:pt x="699" y="2"/>
                    <a:pt x="702" y="0"/>
                    <a:pt x="705" y="0"/>
                  </a:cubicBezTo>
                  <a:lnTo>
                    <a:pt x="937" y="21"/>
                  </a:lnTo>
                  <a:cubicBezTo>
                    <a:pt x="938" y="21"/>
                    <a:pt x="940" y="22"/>
                    <a:pt x="941" y="23"/>
                  </a:cubicBezTo>
                  <a:lnTo>
                    <a:pt x="966" y="43"/>
                  </a:lnTo>
                  <a:cubicBezTo>
                    <a:pt x="968" y="44"/>
                    <a:pt x="969" y="47"/>
                    <a:pt x="969" y="49"/>
                  </a:cubicBezTo>
                  <a:lnTo>
                    <a:pt x="969" y="110"/>
                  </a:lnTo>
                  <a:lnTo>
                    <a:pt x="963" y="102"/>
                  </a:lnTo>
                  <a:lnTo>
                    <a:pt x="1101" y="143"/>
                  </a:lnTo>
                  <a:lnTo>
                    <a:pt x="1093" y="145"/>
                  </a:lnTo>
                  <a:lnTo>
                    <a:pt x="1165" y="84"/>
                  </a:lnTo>
                  <a:cubicBezTo>
                    <a:pt x="1167" y="82"/>
                    <a:pt x="1170" y="81"/>
                    <a:pt x="1172" y="82"/>
                  </a:cubicBezTo>
                  <a:cubicBezTo>
                    <a:pt x="1175" y="83"/>
                    <a:pt x="1177" y="85"/>
                    <a:pt x="1178" y="88"/>
                  </a:cubicBezTo>
                  <a:lnTo>
                    <a:pt x="1200" y="169"/>
                  </a:lnTo>
                  <a:cubicBezTo>
                    <a:pt x="1200" y="171"/>
                    <a:pt x="1200" y="174"/>
                    <a:pt x="1198" y="176"/>
                  </a:cubicBezTo>
                  <a:lnTo>
                    <a:pt x="1151" y="237"/>
                  </a:lnTo>
                  <a:lnTo>
                    <a:pt x="1147" y="224"/>
                  </a:lnTo>
                  <a:lnTo>
                    <a:pt x="1219" y="245"/>
                  </a:lnTo>
                  <a:lnTo>
                    <a:pt x="1217" y="244"/>
                  </a:lnTo>
                  <a:lnTo>
                    <a:pt x="1285" y="244"/>
                  </a:lnTo>
                  <a:lnTo>
                    <a:pt x="1279" y="247"/>
                  </a:lnTo>
                  <a:lnTo>
                    <a:pt x="1326" y="187"/>
                  </a:lnTo>
                  <a:cubicBezTo>
                    <a:pt x="1327" y="185"/>
                    <a:pt x="1329" y="184"/>
                    <a:pt x="1330" y="184"/>
                  </a:cubicBezTo>
                  <a:lnTo>
                    <a:pt x="1421" y="163"/>
                  </a:lnTo>
                  <a:lnTo>
                    <a:pt x="1418" y="165"/>
                  </a:lnTo>
                  <a:lnTo>
                    <a:pt x="1489" y="104"/>
                  </a:lnTo>
                  <a:cubicBezTo>
                    <a:pt x="1491" y="103"/>
                    <a:pt x="1493" y="102"/>
                    <a:pt x="1495" y="102"/>
                  </a:cubicBezTo>
                  <a:lnTo>
                    <a:pt x="1517" y="102"/>
                  </a:lnTo>
                  <a:lnTo>
                    <a:pt x="1541" y="102"/>
                  </a:lnTo>
                  <a:cubicBezTo>
                    <a:pt x="1542" y="102"/>
                    <a:pt x="1544" y="102"/>
                    <a:pt x="1545" y="103"/>
                  </a:cubicBezTo>
                  <a:lnTo>
                    <a:pt x="1589" y="123"/>
                  </a:lnTo>
                  <a:lnTo>
                    <a:pt x="1579" y="126"/>
                  </a:lnTo>
                  <a:lnTo>
                    <a:pt x="1603" y="86"/>
                  </a:lnTo>
                  <a:lnTo>
                    <a:pt x="1625" y="45"/>
                  </a:lnTo>
                  <a:cubicBezTo>
                    <a:pt x="1626" y="43"/>
                    <a:pt x="1628" y="42"/>
                    <a:pt x="1630" y="41"/>
                  </a:cubicBezTo>
                  <a:cubicBezTo>
                    <a:pt x="1632" y="41"/>
                    <a:pt x="1634" y="41"/>
                    <a:pt x="1636" y="42"/>
                  </a:cubicBezTo>
                  <a:lnTo>
                    <a:pt x="1708" y="83"/>
                  </a:lnTo>
                  <a:cubicBezTo>
                    <a:pt x="1711" y="85"/>
                    <a:pt x="1712" y="89"/>
                    <a:pt x="1711" y="92"/>
                  </a:cubicBezTo>
                  <a:lnTo>
                    <a:pt x="1687" y="173"/>
                  </a:lnTo>
                  <a:lnTo>
                    <a:pt x="1682" y="164"/>
                  </a:lnTo>
                  <a:lnTo>
                    <a:pt x="1776" y="204"/>
                  </a:lnTo>
                  <a:lnTo>
                    <a:pt x="1774" y="204"/>
                  </a:lnTo>
                  <a:lnTo>
                    <a:pt x="1868" y="224"/>
                  </a:lnTo>
                  <a:cubicBezTo>
                    <a:pt x="1871" y="225"/>
                    <a:pt x="1873" y="227"/>
                    <a:pt x="1874" y="231"/>
                  </a:cubicBezTo>
                  <a:lnTo>
                    <a:pt x="1896" y="352"/>
                  </a:lnTo>
                  <a:lnTo>
                    <a:pt x="1918" y="433"/>
                  </a:lnTo>
                  <a:cubicBezTo>
                    <a:pt x="1918" y="435"/>
                    <a:pt x="1918" y="437"/>
                    <a:pt x="1917" y="439"/>
                  </a:cubicBezTo>
                  <a:lnTo>
                    <a:pt x="1848" y="561"/>
                  </a:lnTo>
                  <a:lnTo>
                    <a:pt x="1845" y="550"/>
                  </a:lnTo>
                  <a:lnTo>
                    <a:pt x="1986" y="632"/>
                  </a:lnTo>
                  <a:cubicBezTo>
                    <a:pt x="1988" y="633"/>
                    <a:pt x="1990" y="636"/>
                    <a:pt x="1990" y="639"/>
                  </a:cubicBezTo>
                  <a:lnTo>
                    <a:pt x="1990" y="720"/>
                  </a:lnTo>
                  <a:lnTo>
                    <a:pt x="1988" y="715"/>
                  </a:lnTo>
                  <a:lnTo>
                    <a:pt x="2057" y="817"/>
                  </a:lnTo>
                  <a:cubicBezTo>
                    <a:pt x="2059" y="819"/>
                    <a:pt x="2059" y="822"/>
                    <a:pt x="2058" y="825"/>
                  </a:cubicBezTo>
                  <a:lnTo>
                    <a:pt x="2011" y="926"/>
                  </a:lnTo>
                  <a:lnTo>
                    <a:pt x="2010" y="918"/>
                  </a:lnTo>
                  <a:lnTo>
                    <a:pt x="2079" y="999"/>
                  </a:lnTo>
                  <a:cubicBezTo>
                    <a:pt x="2080" y="1001"/>
                    <a:pt x="2080" y="1002"/>
                    <a:pt x="2080" y="1004"/>
                  </a:cubicBezTo>
                  <a:lnTo>
                    <a:pt x="2080" y="1167"/>
                  </a:lnTo>
                  <a:cubicBezTo>
                    <a:pt x="2080" y="1170"/>
                    <a:pt x="2079" y="1172"/>
                    <a:pt x="2076" y="1174"/>
                  </a:cubicBezTo>
                  <a:cubicBezTo>
                    <a:pt x="2074" y="1175"/>
                    <a:pt x="2071" y="1175"/>
                    <a:pt x="2068" y="1174"/>
                  </a:cubicBezTo>
                  <a:lnTo>
                    <a:pt x="2000" y="1133"/>
                  </a:lnTo>
                  <a:lnTo>
                    <a:pt x="2004" y="1134"/>
                  </a:lnTo>
                  <a:lnTo>
                    <a:pt x="1910" y="1134"/>
                  </a:lnTo>
                  <a:lnTo>
                    <a:pt x="1918" y="1128"/>
                  </a:lnTo>
                  <a:lnTo>
                    <a:pt x="1896" y="1210"/>
                  </a:lnTo>
                  <a:cubicBezTo>
                    <a:pt x="1895" y="1212"/>
                    <a:pt x="1893" y="1214"/>
                    <a:pt x="1891" y="1215"/>
                  </a:cubicBezTo>
                  <a:lnTo>
                    <a:pt x="1775" y="1256"/>
                  </a:lnTo>
                  <a:lnTo>
                    <a:pt x="1776" y="1255"/>
                  </a:lnTo>
                  <a:lnTo>
                    <a:pt x="1661" y="1316"/>
                  </a:lnTo>
                  <a:cubicBezTo>
                    <a:pt x="1660" y="1317"/>
                    <a:pt x="1659" y="1317"/>
                    <a:pt x="1658" y="1317"/>
                  </a:cubicBezTo>
                  <a:lnTo>
                    <a:pt x="1543" y="1337"/>
                  </a:lnTo>
                  <a:lnTo>
                    <a:pt x="1546" y="1336"/>
                  </a:lnTo>
                  <a:lnTo>
                    <a:pt x="1452" y="1397"/>
                  </a:lnTo>
                  <a:lnTo>
                    <a:pt x="1454" y="1385"/>
                  </a:lnTo>
                  <a:lnTo>
                    <a:pt x="1547" y="1487"/>
                  </a:lnTo>
                  <a:cubicBezTo>
                    <a:pt x="1549" y="1489"/>
                    <a:pt x="1550" y="1492"/>
                    <a:pt x="1549" y="1495"/>
                  </a:cubicBezTo>
                  <a:lnTo>
                    <a:pt x="1524" y="1556"/>
                  </a:lnTo>
                  <a:lnTo>
                    <a:pt x="1521" y="1547"/>
                  </a:lnTo>
                  <a:lnTo>
                    <a:pt x="1683" y="1668"/>
                  </a:lnTo>
                  <a:lnTo>
                    <a:pt x="1893" y="1811"/>
                  </a:lnTo>
                  <a:cubicBezTo>
                    <a:pt x="1895" y="1813"/>
                    <a:pt x="1897" y="1816"/>
                    <a:pt x="1896" y="1819"/>
                  </a:cubicBezTo>
                  <a:lnTo>
                    <a:pt x="1874" y="1901"/>
                  </a:lnTo>
                  <a:cubicBezTo>
                    <a:pt x="1873" y="1904"/>
                    <a:pt x="1870" y="1907"/>
                    <a:pt x="1866" y="1907"/>
                  </a:cubicBezTo>
                  <a:lnTo>
                    <a:pt x="1772" y="1907"/>
                  </a:lnTo>
                  <a:lnTo>
                    <a:pt x="1780" y="1901"/>
                  </a:lnTo>
                  <a:lnTo>
                    <a:pt x="1755" y="1982"/>
                  </a:lnTo>
                  <a:cubicBezTo>
                    <a:pt x="1755" y="1984"/>
                    <a:pt x="1754" y="1986"/>
                    <a:pt x="1752" y="1987"/>
                  </a:cubicBezTo>
                  <a:lnTo>
                    <a:pt x="1661" y="2048"/>
                  </a:lnTo>
                  <a:lnTo>
                    <a:pt x="1664" y="2037"/>
                  </a:lnTo>
                  <a:lnTo>
                    <a:pt x="1711" y="2118"/>
                  </a:lnTo>
                  <a:cubicBezTo>
                    <a:pt x="1711" y="2119"/>
                    <a:pt x="1712" y="2121"/>
                    <a:pt x="1712" y="2122"/>
                  </a:cubicBezTo>
                  <a:lnTo>
                    <a:pt x="1712" y="2203"/>
                  </a:lnTo>
                  <a:cubicBezTo>
                    <a:pt x="1712" y="2206"/>
                    <a:pt x="1711" y="2208"/>
                    <a:pt x="1709" y="2210"/>
                  </a:cubicBezTo>
                  <a:cubicBezTo>
                    <a:pt x="1707" y="2211"/>
                    <a:pt x="1704" y="2212"/>
                    <a:pt x="1702" y="2211"/>
                  </a:cubicBezTo>
                  <a:lnTo>
                    <a:pt x="1539" y="2171"/>
                  </a:lnTo>
                  <a:lnTo>
                    <a:pt x="1544" y="2170"/>
                  </a:lnTo>
                  <a:lnTo>
                    <a:pt x="1356" y="2232"/>
                  </a:lnTo>
                  <a:lnTo>
                    <a:pt x="1240" y="2252"/>
                  </a:lnTo>
                  <a:cubicBezTo>
                    <a:pt x="1239" y="2252"/>
                    <a:pt x="1238" y="2252"/>
                    <a:pt x="1238" y="2252"/>
                  </a:cubicBezTo>
                  <a:lnTo>
                    <a:pt x="1075" y="2232"/>
                  </a:lnTo>
                  <a:lnTo>
                    <a:pt x="1079" y="2231"/>
                  </a:lnTo>
                  <a:lnTo>
                    <a:pt x="986" y="2272"/>
                  </a:lnTo>
                  <a:cubicBezTo>
                    <a:pt x="984" y="2273"/>
                    <a:pt x="982" y="2273"/>
                    <a:pt x="980" y="2272"/>
                  </a:cubicBezTo>
                  <a:lnTo>
                    <a:pt x="865" y="2232"/>
                  </a:lnTo>
                  <a:lnTo>
                    <a:pt x="634" y="2171"/>
                  </a:lnTo>
                  <a:lnTo>
                    <a:pt x="639" y="2170"/>
                  </a:lnTo>
                  <a:lnTo>
                    <a:pt x="546" y="2211"/>
                  </a:lnTo>
                  <a:cubicBezTo>
                    <a:pt x="545" y="2211"/>
                    <a:pt x="544" y="2211"/>
                    <a:pt x="544" y="2211"/>
                  </a:cubicBezTo>
                  <a:lnTo>
                    <a:pt x="406" y="2232"/>
                  </a:lnTo>
                  <a:close/>
                </a:path>
              </a:pathLst>
            </a:custGeom>
            <a:solidFill>
              <a:srgbClr val="000000"/>
            </a:solidFill>
            <a:ln w="0" cap="flat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187" name="Rectangle 154"/>
            <p:cNvSpPr>
              <a:spLocks noChangeArrowheads="1"/>
            </p:cNvSpPr>
            <p:nvPr/>
          </p:nvSpPr>
          <p:spPr bwMode="auto">
            <a:xfrm>
              <a:off x="3597" y="2079"/>
              <a:ext cx="56" cy="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sz="500" b="1">
                  <a:solidFill>
                    <a:srgbClr val="000000"/>
                  </a:solidFill>
                </a:rPr>
                <a:t>DE</a:t>
              </a:r>
              <a:endParaRPr lang="de-DE"/>
            </a:p>
          </p:txBody>
        </p:sp>
        <p:sp>
          <p:nvSpPr>
            <p:cNvPr id="7188" name="Freeform 155"/>
            <p:cNvSpPr>
              <a:spLocks noEditPoints="1"/>
            </p:cNvSpPr>
            <p:nvPr/>
          </p:nvSpPr>
          <p:spPr bwMode="auto">
            <a:xfrm>
              <a:off x="3833" y="1838"/>
              <a:ext cx="570" cy="400"/>
            </a:xfrm>
            <a:custGeom>
              <a:avLst/>
              <a:gdLst>
                <a:gd name="T0" fmla="*/ 0 w 2386"/>
                <a:gd name="T1" fmla="*/ 0 h 1680"/>
                <a:gd name="T2" fmla="*/ 0 w 2386"/>
                <a:gd name="T3" fmla="*/ 0 h 1680"/>
                <a:gd name="T4" fmla="*/ 0 w 2386"/>
                <a:gd name="T5" fmla="*/ 0 h 1680"/>
                <a:gd name="T6" fmla="*/ 0 w 2386"/>
                <a:gd name="T7" fmla="*/ 0 h 1680"/>
                <a:gd name="T8" fmla="*/ 0 w 2386"/>
                <a:gd name="T9" fmla="*/ 0 h 1680"/>
                <a:gd name="T10" fmla="*/ 0 w 2386"/>
                <a:gd name="T11" fmla="*/ 0 h 1680"/>
                <a:gd name="T12" fmla="*/ 0 w 2386"/>
                <a:gd name="T13" fmla="*/ 0 h 1680"/>
                <a:gd name="T14" fmla="*/ 0 w 2386"/>
                <a:gd name="T15" fmla="*/ 0 h 1680"/>
                <a:gd name="T16" fmla="*/ 0 w 2386"/>
                <a:gd name="T17" fmla="*/ 0 h 1680"/>
                <a:gd name="T18" fmla="*/ 0 w 2386"/>
                <a:gd name="T19" fmla="*/ 0 h 1680"/>
                <a:gd name="T20" fmla="*/ 0 w 2386"/>
                <a:gd name="T21" fmla="*/ 0 h 1680"/>
                <a:gd name="T22" fmla="*/ 0 w 2386"/>
                <a:gd name="T23" fmla="*/ 0 h 1680"/>
                <a:gd name="T24" fmla="*/ 0 w 2386"/>
                <a:gd name="T25" fmla="*/ 0 h 1680"/>
                <a:gd name="T26" fmla="*/ 0 w 2386"/>
                <a:gd name="T27" fmla="*/ 0 h 1680"/>
                <a:gd name="T28" fmla="*/ 0 w 2386"/>
                <a:gd name="T29" fmla="*/ 0 h 1680"/>
                <a:gd name="T30" fmla="*/ 0 w 2386"/>
                <a:gd name="T31" fmla="*/ 0 h 1680"/>
                <a:gd name="T32" fmla="*/ 0 w 2386"/>
                <a:gd name="T33" fmla="*/ 0 h 1680"/>
                <a:gd name="T34" fmla="*/ 0 w 2386"/>
                <a:gd name="T35" fmla="*/ 0 h 1680"/>
                <a:gd name="T36" fmla="*/ 0 w 2386"/>
                <a:gd name="T37" fmla="*/ 0 h 1680"/>
                <a:gd name="T38" fmla="*/ 0 w 2386"/>
                <a:gd name="T39" fmla="*/ 0 h 1680"/>
                <a:gd name="T40" fmla="*/ 0 w 2386"/>
                <a:gd name="T41" fmla="*/ 0 h 1680"/>
                <a:gd name="T42" fmla="*/ 0 w 2386"/>
                <a:gd name="T43" fmla="*/ 0 h 1680"/>
                <a:gd name="T44" fmla="*/ 0 w 2386"/>
                <a:gd name="T45" fmla="*/ 0 h 1680"/>
                <a:gd name="T46" fmla="*/ 0 w 2386"/>
                <a:gd name="T47" fmla="*/ 0 h 1680"/>
                <a:gd name="T48" fmla="*/ 0 w 2386"/>
                <a:gd name="T49" fmla="*/ 0 h 1680"/>
                <a:gd name="T50" fmla="*/ 0 w 2386"/>
                <a:gd name="T51" fmla="*/ 0 h 1680"/>
                <a:gd name="T52" fmla="*/ 0 w 2386"/>
                <a:gd name="T53" fmla="*/ 0 h 1680"/>
                <a:gd name="T54" fmla="*/ 0 w 2386"/>
                <a:gd name="T55" fmla="*/ 0 h 1680"/>
                <a:gd name="T56" fmla="*/ 0 w 2386"/>
                <a:gd name="T57" fmla="*/ 0 h 1680"/>
                <a:gd name="T58" fmla="*/ 0 w 2386"/>
                <a:gd name="T59" fmla="*/ 0 h 1680"/>
                <a:gd name="T60" fmla="*/ 0 w 2386"/>
                <a:gd name="T61" fmla="*/ 0 h 1680"/>
                <a:gd name="T62" fmla="*/ 0 w 2386"/>
                <a:gd name="T63" fmla="*/ 0 h 1680"/>
                <a:gd name="T64" fmla="*/ 0 w 2386"/>
                <a:gd name="T65" fmla="*/ 0 h 1680"/>
                <a:gd name="T66" fmla="*/ 0 w 2386"/>
                <a:gd name="T67" fmla="*/ 0 h 1680"/>
                <a:gd name="T68" fmla="*/ 0 w 2386"/>
                <a:gd name="T69" fmla="*/ 0 h 1680"/>
                <a:gd name="T70" fmla="*/ 0 w 2386"/>
                <a:gd name="T71" fmla="*/ 0 h 1680"/>
                <a:gd name="T72" fmla="*/ 0 w 2386"/>
                <a:gd name="T73" fmla="*/ 0 h 1680"/>
                <a:gd name="T74" fmla="*/ 0 w 2386"/>
                <a:gd name="T75" fmla="*/ 0 h 1680"/>
                <a:gd name="T76" fmla="*/ 0 w 2386"/>
                <a:gd name="T77" fmla="*/ 0 h 1680"/>
                <a:gd name="T78" fmla="*/ 0 w 2386"/>
                <a:gd name="T79" fmla="*/ 0 h 1680"/>
                <a:gd name="T80" fmla="*/ 0 w 2386"/>
                <a:gd name="T81" fmla="*/ 0 h 1680"/>
                <a:gd name="T82" fmla="*/ 0 w 2386"/>
                <a:gd name="T83" fmla="*/ 0 h 1680"/>
                <a:gd name="T84" fmla="*/ 0 w 2386"/>
                <a:gd name="T85" fmla="*/ 0 h 1680"/>
                <a:gd name="T86" fmla="*/ 0 w 2386"/>
                <a:gd name="T87" fmla="*/ 0 h 1680"/>
                <a:gd name="T88" fmla="*/ 0 w 2386"/>
                <a:gd name="T89" fmla="*/ 0 h 1680"/>
                <a:gd name="T90" fmla="*/ 0 w 2386"/>
                <a:gd name="T91" fmla="*/ 0 h 1680"/>
                <a:gd name="T92" fmla="*/ 0 w 2386"/>
                <a:gd name="T93" fmla="*/ 0 h 1680"/>
                <a:gd name="T94" fmla="*/ 0 w 2386"/>
                <a:gd name="T95" fmla="*/ 0 h 1680"/>
                <a:gd name="T96" fmla="*/ 0 w 2386"/>
                <a:gd name="T97" fmla="*/ 0 h 1680"/>
                <a:gd name="T98" fmla="*/ 0 w 2386"/>
                <a:gd name="T99" fmla="*/ 0 h 1680"/>
                <a:gd name="T100" fmla="*/ 0 w 2386"/>
                <a:gd name="T101" fmla="*/ 0 h 1680"/>
                <a:gd name="T102" fmla="*/ 0 w 2386"/>
                <a:gd name="T103" fmla="*/ 0 h 1680"/>
                <a:gd name="T104" fmla="*/ 0 w 2386"/>
                <a:gd name="T105" fmla="*/ 0 h 1680"/>
                <a:gd name="T106" fmla="*/ 0 w 2386"/>
                <a:gd name="T107" fmla="*/ 0 h 1680"/>
                <a:gd name="T108" fmla="*/ 0 w 2386"/>
                <a:gd name="T109" fmla="*/ 0 h 1680"/>
                <a:gd name="T110" fmla="*/ 0 w 2386"/>
                <a:gd name="T111" fmla="*/ 0 h 1680"/>
                <a:gd name="T112" fmla="*/ 0 w 2386"/>
                <a:gd name="T113" fmla="*/ 0 h 1680"/>
                <a:gd name="T114" fmla="*/ 0 w 2386"/>
                <a:gd name="T115" fmla="*/ 0 h 1680"/>
                <a:gd name="T116" fmla="*/ 0 w 2386"/>
                <a:gd name="T117" fmla="*/ 0 h 168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386"/>
                <a:gd name="T178" fmla="*/ 0 h 1680"/>
                <a:gd name="T179" fmla="*/ 2386 w 2386"/>
                <a:gd name="T180" fmla="*/ 1680 h 168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386" h="1680">
                  <a:moveTo>
                    <a:pt x="2136" y="1431"/>
                  </a:moveTo>
                  <a:cubicBezTo>
                    <a:pt x="2135" y="1429"/>
                    <a:pt x="2135" y="1427"/>
                    <a:pt x="2136" y="1425"/>
                  </a:cubicBezTo>
                  <a:lnTo>
                    <a:pt x="2277" y="1181"/>
                  </a:lnTo>
                  <a:cubicBezTo>
                    <a:pt x="2278" y="1179"/>
                    <a:pt x="2280" y="1178"/>
                    <a:pt x="2282" y="1178"/>
                  </a:cubicBezTo>
                  <a:lnTo>
                    <a:pt x="2376" y="1157"/>
                  </a:lnTo>
                  <a:lnTo>
                    <a:pt x="2370" y="1167"/>
                  </a:lnTo>
                  <a:lnTo>
                    <a:pt x="2345" y="1066"/>
                  </a:lnTo>
                  <a:lnTo>
                    <a:pt x="2346" y="1068"/>
                  </a:lnTo>
                  <a:lnTo>
                    <a:pt x="2252" y="905"/>
                  </a:lnTo>
                  <a:lnTo>
                    <a:pt x="2253" y="907"/>
                  </a:lnTo>
                  <a:lnTo>
                    <a:pt x="2184" y="825"/>
                  </a:lnTo>
                  <a:cubicBezTo>
                    <a:pt x="2183" y="824"/>
                    <a:pt x="2183" y="823"/>
                    <a:pt x="2182" y="821"/>
                  </a:cubicBezTo>
                  <a:lnTo>
                    <a:pt x="2160" y="679"/>
                  </a:lnTo>
                  <a:lnTo>
                    <a:pt x="2167" y="686"/>
                  </a:lnTo>
                  <a:lnTo>
                    <a:pt x="2073" y="666"/>
                  </a:lnTo>
                  <a:cubicBezTo>
                    <a:pt x="2069" y="665"/>
                    <a:pt x="2067" y="662"/>
                    <a:pt x="2067" y="658"/>
                  </a:cubicBezTo>
                  <a:lnTo>
                    <a:pt x="2067" y="597"/>
                  </a:lnTo>
                  <a:cubicBezTo>
                    <a:pt x="2067" y="595"/>
                    <a:pt x="2067" y="593"/>
                    <a:pt x="2069" y="591"/>
                  </a:cubicBezTo>
                  <a:lnTo>
                    <a:pt x="2184" y="470"/>
                  </a:lnTo>
                  <a:lnTo>
                    <a:pt x="2183" y="479"/>
                  </a:lnTo>
                  <a:lnTo>
                    <a:pt x="2068" y="276"/>
                  </a:lnTo>
                  <a:lnTo>
                    <a:pt x="1998" y="113"/>
                  </a:lnTo>
                  <a:lnTo>
                    <a:pt x="2003" y="117"/>
                  </a:lnTo>
                  <a:lnTo>
                    <a:pt x="1840" y="57"/>
                  </a:lnTo>
                  <a:lnTo>
                    <a:pt x="1845" y="57"/>
                  </a:lnTo>
                  <a:lnTo>
                    <a:pt x="1473" y="118"/>
                  </a:lnTo>
                  <a:cubicBezTo>
                    <a:pt x="1472" y="118"/>
                    <a:pt x="1471" y="118"/>
                    <a:pt x="1470" y="118"/>
                  </a:cubicBezTo>
                  <a:lnTo>
                    <a:pt x="1239" y="77"/>
                  </a:lnTo>
                  <a:lnTo>
                    <a:pt x="1244" y="76"/>
                  </a:lnTo>
                  <a:lnTo>
                    <a:pt x="1128" y="137"/>
                  </a:lnTo>
                  <a:cubicBezTo>
                    <a:pt x="1127" y="138"/>
                    <a:pt x="1125" y="138"/>
                    <a:pt x="1123" y="138"/>
                  </a:cubicBezTo>
                  <a:lnTo>
                    <a:pt x="1005" y="118"/>
                  </a:lnTo>
                  <a:cubicBezTo>
                    <a:pt x="1004" y="118"/>
                    <a:pt x="1004" y="118"/>
                    <a:pt x="1003" y="117"/>
                  </a:cubicBezTo>
                  <a:lnTo>
                    <a:pt x="912" y="77"/>
                  </a:lnTo>
                  <a:cubicBezTo>
                    <a:pt x="912" y="76"/>
                    <a:pt x="911" y="76"/>
                    <a:pt x="911" y="76"/>
                  </a:cubicBezTo>
                  <a:lnTo>
                    <a:pt x="817" y="15"/>
                  </a:lnTo>
                  <a:lnTo>
                    <a:pt x="823" y="16"/>
                  </a:lnTo>
                  <a:lnTo>
                    <a:pt x="707" y="37"/>
                  </a:lnTo>
                  <a:lnTo>
                    <a:pt x="709" y="36"/>
                  </a:lnTo>
                  <a:lnTo>
                    <a:pt x="500" y="117"/>
                  </a:lnTo>
                  <a:lnTo>
                    <a:pt x="505" y="112"/>
                  </a:lnTo>
                  <a:lnTo>
                    <a:pt x="483" y="193"/>
                  </a:lnTo>
                  <a:cubicBezTo>
                    <a:pt x="482" y="196"/>
                    <a:pt x="480" y="198"/>
                    <a:pt x="477" y="199"/>
                  </a:cubicBezTo>
                  <a:lnTo>
                    <a:pt x="359" y="239"/>
                  </a:lnTo>
                  <a:lnTo>
                    <a:pt x="81" y="341"/>
                  </a:lnTo>
                  <a:cubicBezTo>
                    <a:pt x="80" y="341"/>
                    <a:pt x="79" y="341"/>
                    <a:pt x="78" y="341"/>
                  </a:cubicBezTo>
                  <a:lnTo>
                    <a:pt x="34" y="341"/>
                  </a:lnTo>
                  <a:lnTo>
                    <a:pt x="42" y="332"/>
                  </a:lnTo>
                  <a:lnTo>
                    <a:pt x="64" y="453"/>
                  </a:lnTo>
                  <a:lnTo>
                    <a:pt x="86" y="534"/>
                  </a:lnTo>
                  <a:cubicBezTo>
                    <a:pt x="87" y="536"/>
                    <a:pt x="86" y="538"/>
                    <a:pt x="85" y="540"/>
                  </a:cubicBezTo>
                  <a:lnTo>
                    <a:pt x="16" y="662"/>
                  </a:lnTo>
                  <a:lnTo>
                    <a:pt x="13" y="651"/>
                  </a:lnTo>
                  <a:lnTo>
                    <a:pt x="154" y="732"/>
                  </a:lnTo>
                  <a:cubicBezTo>
                    <a:pt x="156" y="734"/>
                    <a:pt x="158" y="736"/>
                    <a:pt x="158" y="739"/>
                  </a:cubicBezTo>
                  <a:lnTo>
                    <a:pt x="158" y="820"/>
                  </a:lnTo>
                  <a:lnTo>
                    <a:pt x="157" y="816"/>
                  </a:lnTo>
                  <a:lnTo>
                    <a:pt x="225" y="917"/>
                  </a:lnTo>
                  <a:cubicBezTo>
                    <a:pt x="227" y="919"/>
                    <a:pt x="227" y="922"/>
                    <a:pt x="226" y="925"/>
                  </a:cubicBezTo>
                  <a:lnTo>
                    <a:pt x="179" y="1026"/>
                  </a:lnTo>
                  <a:lnTo>
                    <a:pt x="178" y="1018"/>
                  </a:lnTo>
                  <a:lnTo>
                    <a:pt x="247" y="1099"/>
                  </a:lnTo>
                  <a:cubicBezTo>
                    <a:pt x="248" y="1101"/>
                    <a:pt x="249" y="1102"/>
                    <a:pt x="249" y="1104"/>
                  </a:cubicBezTo>
                  <a:lnTo>
                    <a:pt x="249" y="1206"/>
                  </a:lnTo>
                  <a:lnTo>
                    <a:pt x="244" y="1199"/>
                  </a:lnTo>
                  <a:lnTo>
                    <a:pt x="360" y="1260"/>
                  </a:lnTo>
                  <a:lnTo>
                    <a:pt x="359" y="1259"/>
                  </a:lnTo>
                  <a:lnTo>
                    <a:pt x="477" y="1300"/>
                  </a:lnTo>
                  <a:lnTo>
                    <a:pt x="475" y="1299"/>
                  </a:lnTo>
                  <a:lnTo>
                    <a:pt x="590" y="1299"/>
                  </a:lnTo>
                  <a:cubicBezTo>
                    <a:pt x="593" y="1299"/>
                    <a:pt x="595" y="1300"/>
                    <a:pt x="597" y="1302"/>
                  </a:cubicBezTo>
                  <a:cubicBezTo>
                    <a:pt x="598" y="1304"/>
                    <a:pt x="599" y="1307"/>
                    <a:pt x="598" y="1310"/>
                  </a:cubicBezTo>
                  <a:lnTo>
                    <a:pt x="573" y="1391"/>
                  </a:lnTo>
                  <a:lnTo>
                    <a:pt x="570" y="1382"/>
                  </a:lnTo>
                  <a:lnTo>
                    <a:pt x="686" y="1463"/>
                  </a:lnTo>
                  <a:lnTo>
                    <a:pt x="677" y="1463"/>
                  </a:lnTo>
                  <a:lnTo>
                    <a:pt x="749" y="1422"/>
                  </a:lnTo>
                  <a:lnTo>
                    <a:pt x="745" y="1429"/>
                  </a:lnTo>
                  <a:lnTo>
                    <a:pt x="745" y="1368"/>
                  </a:lnTo>
                  <a:cubicBezTo>
                    <a:pt x="745" y="1366"/>
                    <a:pt x="746" y="1363"/>
                    <a:pt x="748" y="1362"/>
                  </a:cubicBezTo>
                  <a:cubicBezTo>
                    <a:pt x="750" y="1360"/>
                    <a:pt x="753" y="1360"/>
                    <a:pt x="755" y="1360"/>
                  </a:cubicBezTo>
                  <a:lnTo>
                    <a:pt x="893" y="1401"/>
                  </a:lnTo>
                  <a:cubicBezTo>
                    <a:pt x="894" y="1401"/>
                    <a:pt x="896" y="1402"/>
                    <a:pt x="897" y="1404"/>
                  </a:cubicBezTo>
                  <a:lnTo>
                    <a:pt x="944" y="1465"/>
                  </a:lnTo>
                  <a:lnTo>
                    <a:pt x="939" y="1462"/>
                  </a:lnTo>
                  <a:lnTo>
                    <a:pt x="1054" y="1482"/>
                  </a:lnTo>
                  <a:lnTo>
                    <a:pt x="1170" y="1502"/>
                  </a:lnTo>
                  <a:cubicBezTo>
                    <a:pt x="1172" y="1503"/>
                    <a:pt x="1174" y="1504"/>
                    <a:pt x="1176" y="1506"/>
                  </a:cubicBezTo>
                  <a:lnTo>
                    <a:pt x="1222" y="1587"/>
                  </a:lnTo>
                  <a:lnTo>
                    <a:pt x="1219" y="1584"/>
                  </a:lnTo>
                  <a:lnTo>
                    <a:pt x="1291" y="1625"/>
                  </a:lnTo>
                  <a:lnTo>
                    <a:pt x="1283" y="1625"/>
                  </a:lnTo>
                  <a:lnTo>
                    <a:pt x="1373" y="1564"/>
                  </a:lnTo>
                  <a:cubicBezTo>
                    <a:pt x="1376" y="1562"/>
                    <a:pt x="1380" y="1563"/>
                    <a:pt x="1383" y="1565"/>
                  </a:cubicBezTo>
                  <a:lnTo>
                    <a:pt x="1455" y="1626"/>
                  </a:lnTo>
                  <a:cubicBezTo>
                    <a:pt x="1455" y="1626"/>
                    <a:pt x="1456" y="1627"/>
                    <a:pt x="1457" y="1628"/>
                  </a:cubicBezTo>
                  <a:lnTo>
                    <a:pt x="1479" y="1669"/>
                  </a:lnTo>
                  <a:lnTo>
                    <a:pt x="1472" y="1664"/>
                  </a:lnTo>
                  <a:lnTo>
                    <a:pt x="1540" y="1664"/>
                  </a:lnTo>
                  <a:lnTo>
                    <a:pt x="1535" y="1666"/>
                  </a:lnTo>
                  <a:lnTo>
                    <a:pt x="1604" y="1606"/>
                  </a:lnTo>
                  <a:cubicBezTo>
                    <a:pt x="1605" y="1604"/>
                    <a:pt x="1607" y="1604"/>
                    <a:pt x="1609" y="1604"/>
                  </a:cubicBezTo>
                  <a:lnTo>
                    <a:pt x="1703" y="1604"/>
                  </a:lnTo>
                  <a:lnTo>
                    <a:pt x="1699" y="1605"/>
                  </a:lnTo>
                  <a:lnTo>
                    <a:pt x="1768" y="1564"/>
                  </a:lnTo>
                  <a:cubicBezTo>
                    <a:pt x="1769" y="1563"/>
                    <a:pt x="1770" y="1563"/>
                    <a:pt x="1772" y="1563"/>
                  </a:cubicBezTo>
                  <a:lnTo>
                    <a:pt x="1890" y="1563"/>
                  </a:lnTo>
                  <a:cubicBezTo>
                    <a:pt x="1891" y="1563"/>
                    <a:pt x="1892" y="1563"/>
                    <a:pt x="1892" y="1563"/>
                  </a:cubicBezTo>
                  <a:lnTo>
                    <a:pt x="1961" y="1584"/>
                  </a:lnTo>
                  <a:lnTo>
                    <a:pt x="1960" y="1583"/>
                  </a:lnTo>
                  <a:lnTo>
                    <a:pt x="2122" y="1604"/>
                  </a:lnTo>
                  <a:cubicBezTo>
                    <a:pt x="2126" y="1604"/>
                    <a:pt x="2128" y="1606"/>
                    <a:pt x="2129" y="1609"/>
                  </a:cubicBezTo>
                  <a:cubicBezTo>
                    <a:pt x="2130" y="1612"/>
                    <a:pt x="2129" y="1616"/>
                    <a:pt x="2126" y="1618"/>
                  </a:cubicBezTo>
                  <a:lnTo>
                    <a:pt x="2102" y="1638"/>
                  </a:lnTo>
                  <a:lnTo>
                    <a:pt x="2095" y="1624"/>
                  </a:lnTo>
                  <a:lnTo>
                    <a:pt x="2189" y="1604"/>
                  </a:lnTo>
                  <a:lnTo>
                    <a:pt x="2182" y="1614"/>
                  </a:lnTo>
                  <a:lnTo>
                    <a:pt x="2136" y="1431"/>
                  </a:lnTo>
                  <a:close/>
                  <a:moveTo>
                    <a:pt x="2198" y="1610"/>
                  </a:moveTo>
                  <a:cubicBezTo>
                    <a:pt x="2199" y="1612"/>
                    <a:pt x="2198" y="1614"/>
                    <a:pt x="2197" y="1616"/>
                  </a:cubicBezTo>
                  <a:cubicBezTo>
                    <a:pt x="2196" y="1618"/>
                    <a:pt x="2194" y="1619"/>
                    <a:pt x="2192" y="1619"/>
                  </a:cubicBezTo>
                  <a:lnTo>
                    <a:pt x="2098" y="1640"/>
                  </a:lnTo>
                  <a:cubicBezTo>
                    <a:pt x="2095" y="1640"/>
                    <a:pt x="2091" y="1639"/>
                    <a:pt x="2089" y="1635"/>
                  </a:cubicBezTo>
                  <a:cubicBezTo>
                    <a:pt x="2088" y="1632"/>
                    <a:pt x="2089" y="1628"/>
                    <a:pt x="2092" y="1626"/>
                  </a:cubicBezTo>
                  <a:lnTo>
                    <a:pt x="2116" y="1605"/>
                  </a:lnTo>
                  <a:lnTo>
                    <a:pt x="2120" y="1620"/>
                  </a:lnTo>
                  <a:lnTo>
                    <a:pt x="1958" y="1599"/>
                  </a:lnTo>
                  <a:cubicBezTo>
                    <a:pt x="1958" y="1599"/>
                    <a:pt x="1957" y="1599"/>
                    <a:pt x="1957" y="1599"/>
                  </a:cubicBezTo>
                  <a:lnTo>
                    <a:pt x="1888" y="1579"/>
                  </a:lnTo>
                  <a:lnTo>
                    <a:pt x="1890" y="1579"/>
                  </a:lnTo>
                  <a:lnTo>
                    <a:pt x="1772" y="1579"/>
                  </a:lnTo>
                  <a:lnTo>
                    <a:pt x="1776" y="1578"/>
                  </a:lnTo>
                  <a:lnTo>
                    <a:pt x="1707" y="1618"/>
                  </a:lnTo>
                  <a:cubicBezTo>
                    <a:pt x="1706" y="1619"/>
                    <a:pt x="1704" y="1620"/>
                    <a:pt x="1703" y="1620"/>
                  </a:cubicBezTo>
                  <a:lnTo>
                    <a:pt x="1609" y="1620"/>
                  </a:lnTo>
                  <a:lnTo>
                    <a:pt x="1615" y="1618"/>
                  </a:lnTo>
                  <a:lnTo>
                    <a:pt x="1546" y="1678"/>
                  </a:lnTo>
                  <a:cubicBezTo>
                    <a:pt x="1544" y="1680"/>
                    <a:pt x="1542" y="1680"/>
                    <a:pt x="1540" y="1680"/>
                  </a:cubicBezTo>
                  <a:lnTo>
                    <a:pt x="1472" y="1680"/>
                  </a:lnTo>
                  <a:cubicBezTo>
                    <a:pt x="1469" y="1680"/>
                    <a:pt x="1466" y="1679"/>
                    <a:pt x="1465" y="1676"/>
                  </a:cubicBezTo>
                  <a:lnTo>
                    <a:pt x="1443" y="1636"/>
                  </a:lnTo>
                  <a:lnTo>
                    <a:pt x="1444" y="1638"/>
                  </a:lnTo>
                  <a:lnTo>
                    <a:pt x="1373" y="1577"/>
                  </a:lnTo>
                  <a:lnTo>
                    <a:pt x="1382" y="1578"/>
                  </a:lnTo>
                  <a:lnTo>
                    <a:pt x="1292" y="1639"/>
                  </a:lnTo>
                  <a:cubicBezTo>
                    <a:pt x="1289" y="1640"/>
                    <a:pt x="1286" y="1640"/>
                    <a:pt x="1283" y="1639"/>
                  </a:cubicBezTo>
                  <a:lnTo>
                    <a:pt x="1212" y="1598"/>
                  </a:lnTo>
                  <a:cubicBezTo>
                    <a:pt x="1210" y="1598"/>
                    <a:pt x="1209" y="1597"/>
                    <a:pt x="1209" y="1595"/>
                  </a:cubicBezTo>
                  <a:lnTo>
                    <a:pt x="1162" y="1514"/>
                  </a:lnTo>
                  <a:lnTo>
                    <a:pt x="1167" y="1518"/>
                  </a:lnTo>
                  <a:lnTo>
                    <a:pt x="1052" y="1498"/>
                  </a:lnTo>
                  <a:lnTo>
                    <a:pt x="936" y="1477"/>
                  </a:lnTo>
                  <a:cubicBezTo>
                    <a:pt x="934" y="1477"/>
                    <a:pt x="932" y="1476"/>
                    <a:pt x="931" y="1474"/>
                  </a:cubicBezTo>
                  <a:lnTo>
                    <a:pt x="884" y="1414"/>
                  </a:lnTo>
                  <a:lnTo>
                    <a:pt x="888" y="1416"/>
                  </a:lnTo>
                  <a:lnTo>
                    <a:pt x="751" y="1376"/>
                  </a:lnTo>
                  <a:lnTo>
                    <a:pt x="761" y="1368"/>
                  </a:lnTo>
                  <a:lnTo>
                    <a:pt x="761" y="1429"/>
                  </a:lnTo>
                  <a:cubicBezTo>
                    <a:pt x="761" y="1432"/>
                    <a:pt x="759" y="1434"/>
                    <a:pt x="757" y="1436"/>
                  </a:cubicBezTo>
                  <a:lnTo>
                    <a:pt x="685" y="1477"/>
                  </a:lnTo>
                  <a:cubicBezTo>
                    <a:pt x="683" y="1478"/>
                    <a:pt x="679" y="1478"/>
                    <a:pt x="677" y="1476"/>
                  </a:cubicBezTo>
                  <a:lnTo>
                    <a:pt x="561" y="1395"/>
                  </a:lnTo>
                  <a:cubicBezTo>
                    <a:pt x="558" y="1393"/>
                    <a:pt x="557" y="1389"/>
                    <a:pt x="558" y="1386"/>
                  </a:cubicBezTo>
                  <a:lnTo>
                    <a:pt x="583" y="1305"/>
                  </a:lnTo>
                  <a:lnTo>
                    <a:pt x="590" y="1315"/>
                  </a:lnTo>
                  <a:lnTo>
                    <a:pt x="475" y="1315"/>
                  </a:lnTo>
                  <a:cubicBezTo>
                    <a:pt x="474" y="1315"/>
                    <a:pt x="473" y="1315"/>
                    <a:pt x="472" y="1315"/>
                  </a:cubicBezTo>
                  <a:lnTo>
                    <a:pt x="354" y="1274"/>
                  </a:lnTo>
                  <a:cubicBezTo>
                    <a:pt x="353" y="1274"/>
                    <a:pt x="353" y="1274"/>
                    <a:pt x="353" y="1274"/>
                  </a:cubicBezTo>
                  <a:lnTo>
                    <a:pt x="237" y="1213"/>
                  </a:lnTo>
                  <a:cubicBezTo>
                    <a:pt x="234" y="1211"/>
                    <a:pt x="233" y="1209"/>
                    <a:pt x="233" y="1206"/>
                  </a:cubicBezTo>
                  <a:lnTo>
                    <a:pt x="233" y="1104"/>
                  </a:lnTo>
                  <a:lnTo>
                    <a:pt x="235" y="1109"/>
                  </a:lnTo>
                  <a:lnTo>
                    <a:pt x="166" y="1028"/>
                  </a:lnTo>
                  <a:cubicBezTo>
                    <a:pt x="164" y="1026"/>
                    <a:pt x="163" y="1023"/>
                    <a:pt x="165" y="1020"/>
                  </a:cubicBezTo>
                  <a:lnTo>
                    <a:pt x="211" y="918"/>
                  </a:lnTo>
                  <a:lnTo>
                    <a:pt x="212" y="926"/>
                  </a:lnTo>
                  <a:lnTo>
                    <a:pt x="143" y="825"/>
                  </a:lnTo>
                  <a:cubicBezTo>
                    <a:pt x="142" y="823"/>
                    <a:pt x="142" y="822"/>
                    <a:pt x="142" y="820"/>
                  </a:cubicBezTo>
                  <a:lnTo>
                    <a:pt x="142" y="739"/>
                  </a:lnTo>
                  <a:lnTo>
                    <a:pt x="146" y="746"/>
                  </a:lnTo>
                  <a:lnTo>
                    <a:pt x="5" y="665"/>
                  </a:lnTo>
                  <a:cubicBezTo>
                    <a:pt x="2" y="663"/>
                    <a:pt x="0" y="658"/>
                    <a:pt x="2" y="654"/>
                  </a:cubicBezTo>
                  <a:lnTo>
                    <a:pt x="71" y="532"/>
                  </a:lnTo>
                  <a:lnTo>
                    <a:pt x="71" y="538"/>
                  </a:lnTo>
                  <a:lnTo>
                    <a:pt x="48" y="456"/>
                  </a:lnTo>
                  <a:lnTo>
                    <a:pt x="26" y="335"/>
                  </a:lnTo>
                  <a:cubicBezTo>
                    <a:pt x="26" y="332"/>
                    <a:pt x="27" y="330"/>
                    <a:pt x="28" y="328"/>
                  </a:cubicBezTo>
                  <a:cubicBezTo>
                    <a:pt x="30" y="326"/>
                    <a:pt x="32" y="325"/>
                    <a:pt x="34" y="325"/>
                  </a:cubicBezTo>
                  <a:lnTo>
                    <a:pt x="78" y="325"/>
                  </a:lnTo>
                  <a:lnTo>
                    <a:pt x="76" y="326"/>
                  </a:lnTo>
                  <a:lnTo>
                    <a:pt x="354" y="224"/>
                  </a:lnTo>
                  <a:lnTo>
                    <a:pt x="472" y="184"/>
                  </a:lnTo>
                  <a:lnTo>
                    <a:pt x="467" y="189"/>
                  </a:lnTo>
                  <a:lnTo>
                    <a:pt x="489" y="108"/>
                  </a:lnTo>
                  <a:cubicBezTo>
                    <a:pt x="490" y="105"/>
                    <a:pt x="492" y="103"/>
                    <a:pt x="494" y="102"/>
                  </a:cubicBezTo>
                  <a:lnTo>
                    <a:pt x="703" y="21"/>
                  </a:lnTo>
                  <a:cubicBezTo>
                    <a:pt x="704" y="21"/>
                    <a:pt x="704" y="21"/>
                    <a:pt x="705" y="21"/>
                  </a:cubicBezTo>
                  <a:lnTo>
                    <a:pt x="820" y="1"/>
                  </a:lnTo>
                  <a:cubicBezTo>
                    <a:pt x="822" y="0"/>
                    <a:pt x="824" y="1"/>
                    <a:pt x="826" y="2"/>
                  </a:cubicBezTo>
                  <a:lnTo>
                    <a:pt x="920" y="63"/>
                  </a:lnTo>
                  <a:lnTo>
                    <a:pt x="919" y="62"/>
                  </a:lnTo>
                  <a:lnTo>
                    <a:pt x="1009" y="103"/>
                  </a:lnTo>
                  <a:lnTo>
                    <a:pt x="1008" y="102"/>
                  </a:lnTo>
                  <a:lnTo>
                    <a:pt x="1126" y="122"/>
                  </a:lnTo>
                  <a:lnTo>
                    <a:pt x="1121" y="123"/>
                  </a:lnTo>
                  <a:lnTo>
                    <a:pt x="1237" y="62"/>
                  </a:lnTo>
                  <a:cubicBezTo>
                    <a:pt x="1238" y="61"/>
                    <a:pt x="1240" y="61"/>
                    <a:pt x="1242" y="61"/>
                  </a:cubicBezTo>
                  <a:lnTo>
                    <a:pt x="1473" y="102"/>
                  </a:lnTo>
                  <a:lnTo>
                    <a:pt x="1470" y="102"/>
                  </a:lnTo>
                  <a:lnTo>
                    <a:pt x="1842" y="41"/>
                  </a:lnTo>
                  <a:cubicBezTo>
                    <a:pt x="1843" y="41"/>
                    <a:pt x="1845" y="41"/>
                    <a:pt x="1846" y="42"/>
                  </a:cubicBezTo>
                  <a:lnTo>
                    <a:pt x="2009" y="102"/>
                  </a:lnTo>
                  <a:cubicBezTo>
                    <a:pt x="2011" y="103"/>
                    <a:pt x="2012" y="105"/>
                    <a:pt x="2013" y="107"/>
                  </a:cubicBezTo>
                  <a:lnTo>
                    <a:pt x="2082" y="268"/>
                  </a:lnTo>
                  <a:lnTo>
                    <a:pt x="2197" y="471"/>
                  </a:lnTo>
                  <a:cubicBezTo>
                    <a:pt x="2199" y="474"/>
                    <a:pt x="2198" y="478"/>
                    <a:pt x="2196" y="481"/>
                  </a:cubicBezTo>
                  <a:lnTo>
                    <a:pt x="2080" y="602"/>
                  </a:lnTo>
                  <a:lnTo>
                    <a:pt x="2083" y="597"/>
                  </a:lnTo>
                  <a:lnTo>
                    <a:pt x="2083" y="658"/>
                  </a:lnTo>
                  <a:lnTo>
                    <a:pt x="2076" y="650"/>
                  </a:lnTo>
                  <a:lnTo>
                    <a:pt x="2170" y="670"/>
                  </a:lnTo>
                  <a:cubicBezTo>
                    <a:pt x="2173" y="671"/>
                    <a:pt x="2176" y="674"/>
                    <a:pt x="2176" y="677"/>
                  </a:cubicBezTo>
                  <a:lnTo>
                    <a:pt x="2198" y="819"/>
                  </a:lnTo>
                  <a:lnTo>
                    <a:pt x="2196" y="815"/>
                  </a:lnTo>
                  <a:lnTo>
                    <a:pt x="2265" y="896"/>
                  </a:lnTo>
                  <a:cubicBezTo>
                    <a:pt x="2265" y="897"/>
                    <a:pt x="2266" y="897"/>
                    <a:pt x="2266" y="897"/>
                  </a:cubicBezTo>
                  <a:lnTo>
                    <a:pt x="2360" y="1060"/>
                  </a:lnTo>
                  <a:cubicBezTo>
                    <a:pt x="2360" y="1060"/>
                    <a:pt x="2360" y="1061"/>
                    <a:pt x="2360" y="1062"/>
                  </a:cubicBezTo>
                  <a:lnTo>
                    <a:pt x="2385" y="1163"/>
                  </a:lnTo>
                  <a:cubicBezTo>
                    <a:pt x="2386" y="1165"/>
                    <a:pt x="2385" y="1168"/>
                    <a:pt x="2384" y="1169"/>
                  </a:cubicBezTo>
                  <a:cubicBezTo>
                    <a:pt x="2383" y="1171"/>
                    <a:pt x="2381" y="1173"/>
                    <a:pt x="2379" y="1173"/>
                  </a:cubicBezTo>
                  <a:lnTo>
                    <a:pt x="2286" y="1193"/>
                  </a:lnTo>
                  <a:lnTo>
                    <a:pt x="2291" y="1189"/>
                  </a:lnTo>
                  <a:lnTo>
                    <a:pt x="2150" y="1433"/>
                  </a:lnTo>
                  <a:lnTo>
                    <a:pt x="2151" y="1427"/>
                  </a:lnTo>
                  <a:lnTo>
                    <a:pt x="2198" y="1610"/>
                  </a:lnTo>
                  <a:close/>
                </a:path>
              </a:pathLst>
            </a:custGeom>
            <a:solidFill>
              <a:srgbClr val="000000"/>
            </a:solidFill>
            <a:ln w="0" cap="flat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189" name="Rectangle 156"/>
            <p:cNvSpPr>
              <a:spLocks noChangeArrowheads="1"/>
            </p:cNvSpPr>
            <p:nvPr/>
          </p:nvSpPr>
          <p:spPr bwMode="auto">
            <a:xfrm>
              <a:off x="4081" y="1985"/>
              <a:ext cx="52" cy="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sz="500" b="1">
                  <a:solidFill>
                    <a:srgbClr val="000000"/>
                  </a:solidFill>
                </a:rPr>
                <a:t>PL</a:t>
              </a:r>
              <a:endParaRPr lang="de-DE"/>
            </a:p>
          </p:txBody>
        </p:sp>
        <p:sp>
          <p:nvSpPr>
            <p:cNvPr id="7190" name="Freeform 157"/>
            <p:cNvSpPr>
              <a:spLocks/>
            </p:cNvSpPr>
            <p:nvPr/>
          </p:nvSpPr>
          <p:spPr bwMode="auto">
            <a:xfrm>
              <a:off x="3612" y="1804"/>
              <a:ext cx="49" cy="42"/>
            </a:xfrm>
            <a:custGeom>
              <a:avLst/>
              <a:gdLst>
                <a:gd name="T0" fmla="*/ 0 w 207"/>
                <a:gd name="T1" fmla="*/ 0 h 177"/>
                <a:gd name="T2" fmla="*/ 0 w 207"/>
                <a:gd name="T3" fmla="*/ 0 h 177"/>
                <a:gd name="T4" fmla="*/ 0 w 207"/>
                <a:gd name="T5" fmla="*/ 0 h 177"/>
                <a:gd name="T6" fmla="*/ 0 w 207"/>
                <a:gd name="T7" fmla="*/ 0 h 177"/>
                <a:gd name="T8" fmla="*/ 0 w 207"/>
                <a:gd name="T9" fmla="*/ 0 h 177"/>
                <a:gd name="T10" fmla="*/ 0 w 207"/>
                <a:gd name="T11" fmla="*/ 0 h 177"/>
                <a:gd name="T12" fmla="*/ 0 w 207"/>
                <a:gd name="T13" fmla="*/ 0 h 177"/>
                <a:gd name="T14" fmla="*/ 0 w 207"/>
                <a:gd name="T15" fmla="*/ 0 h 177"/>
                <a:gd name="T16" fmla="*/ 0 w 207"/>
                <a:gd name="T17" fmla="*/ 0 h 177"/>
                <a:gd name="T18" fmla="*/ 0 w 207"/>
                <a:gd name="T19" fmla="*/ 0 h 177"/>
                <a:gd name="T20" fmla="*/ 0 w 207"/>
                <a:gd name="T21" fmla="*/ 0 h 177"/>
                <a:gd name="T22" fmla="*/ 0 w 207"/>
                <a:gd name="T23" fmla="*/ 0 h 177"/>
                <a:gd name="T24" fmla="*/ 0 w 207"/>
                <a:gd name="T25" fmla="*/ 0 h 177"/>
                <a:gd name="T26" fmla="*/ 0 w 207"/>
                <a:gd name="T27" fmla="*/ 0 h 177"/>
                <a:gd name="T28" fmla="*/ 0 w 207"/>
                <a:gd name="T29" fmla="*/ 0 h 177"/>
                <a:gd name="T30" fmla="*/ 0 w 207"/>
                <a:gd name="T31" fmla="*/ 0 h 177"/>
                <a:gd name="T32" fmla="*/ 0 w 207"/>
                <a:gd name="T33" fmla="*/ 0 h 177"/>
                <a:gd name="T34" fmla="*/ 0 w 207"/>
                <a:gd name="T35" fmla="*/ 0 h 177"/>
                <a:gd name="T36" fmla="*/ 0 w 207"/>
                <a:gd name="T37" fmla="*/ 0 h 177"/>
                <a:gd name="T38" fmla="*/ 0 w 207"/>
                <a:gd name="T39" fmla="*/ 0 h 177"/>
                <a:gd name="T40" fmla="*/ 0 w 207"/>
                <a:gd name="T41" fmla="*/ 0 h 177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207"/>
                <a:gd name="T64" fmla="*/ 0 h 177"/>
                <a:gd name="T65" fmla="*/ 207 w 207"/>
                <a:gd name="T66" fmla="*/ 177 h 177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207" h="177">
                  <a:moveTo>
                    <a:pt x="13" y="64"/>
                  </a:moveTo>
                  <a:lnTo>
                    <a:pt x="62" y="144"/>
                  </a:lnTo>
                  <a:lnTo>
                    <a:pt x="57" y="141"/>
                  </a:lnTo>
                  <a:lnTo>
                    <a:pt x="154" y="161"/>
                  </a:lnTo>
                  <a:lnTo>
                    <a:pt x="147" y="162"/>
                  </a:lnTo>
                  <a:lnTo>
                    <a:pt x="193" y="122"/>
                  </a:lnTo>
                  <a:lnTo>
                    <a:pt x="191" y="130"/>
                  </a:lnTo>
                  <a:lnTo>
                    <a:pt x="168" y="10"/>
                  </a:lnTo>
                  <a:lnTo>
                    <a:pt x="176" y="16"/>
                  </a:lnTo>
                  <a:lnTo>
                    <a:pt x="7" y="36"/>
                  </a:lnTo>
                  <a:lnTo>
                    <a:pt x="6" y="21"/>
                  </a:lnTo>
                  <a:lnTo>
                    <a:pt x="175" y="1"/>
                  </a:lnTo>
                  <a:cubicBezTo>
                    <a:pt x="179" y="0"/>
                    <a:pt x="183" y="3"/>
                    <a:pt x="183" y="7"/>
                  </a:cubicBezTo>
                  <a:lnTo>
                    <a:pt x="206" y="127"/>
                  </a:lnTo>
                  <a:cubicBezTo>
                    <a:pt x="207" y="130"/>
                    <a:pt x="206" y="133"/>
                    <a:pt x="204" y="135"/>
                  </a:cubicBezTo>
                  <a:lnTo>
                    <a:pt x="158" y="175"/>
                  </a:lnTo>
                  <a:cubicBezTo>
                    <a:pt x="156" y="176"/>
                    <a:pt x="153" y="177"/>
                    <a:pt x="151" y="176"/>
                  </a:cubicBezTo>
                  <a:lnTo>
                    <a:pt x="54" y="156"/>
                  </a:lnTo>
                  <a:cubicBezTo>
                    <a:pt x="51" y="156"/>
                    <a:pt x="49" y="155"/>
                    <a:pt x="48" y="153"/>
                  </a:cubicBezTo>
                  <a:lnTo>
                    <a:pt x="0" y="73"/>
                  </a:lnTo>
                  <a:lnTo>
                    <a:pt x="13" y="64"/>
                  </a:lnTo>
                  <a:close/>
                </a:path>
              </a:pathLst>
            </a:custGeom>
            <a:solidFill>
              <a:srgbClr val="000000"/>
            </a:solidFill>
            <a:ln w="0" cap="flat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191" name="Freeform 158"/>
            <p:cNvSpPr>
              <a:spLocks/>
            </p:cNvSpPr>
            <p:nvPr/>
          </p:nvSpPr>
          <p:spPr bwMode="auto">
            <a:xfrm>
              <a:off x="3388" y="2199"/>
              <a:ext cx="38" cy="46"/>
            </a:xfrm>
            <a:custGeom>
              <a:avLst/>
              <a:gdLst>
                <a:gd name="T0" fmla="*/ 27 w 36"/>
                <a:gd name="T1" fmla="*/ 25 h 44"/>
                <a:gd name="T2" fmla="*/ 27 w 36"/>
                <a:gd name="T3" fmla="*/ 0 h 44"/>
                <a:gd name="T4" fmla="*/ 5 w 36"/>
                <a:gd name="T5" fmla="*/ 5 h 44"/>
                <a:gd name="T6" fmla="*/ 0 w 36"/>
                <a:gd name="T7" fmla="*/ 25 h 44"/>
                <a:gd name="T8" fmla="*/ 0 w 36"/>
                <a:gd name="T9" fmla="*/ 43 h 44"/>
                <a:gd name="T10" fmla="*/ 0 w 36"/>
                <a:gd name="T11" fmla="*/ 67 h 44"/>
                <a:gd name="T12" fmla="*/ 51 w 36"/>
                <a:gd name="T13" fmla="*/ 74 h 44"/>
                <a:gd name="T14" fmla="*/ 68 w 36"/>
                <a:gd name="T15" fmla="*/ 43 h 44"/>
                <a:gd name="T16" fmla="*/ 27 w 36"/>
                <a:gd name="T17" fmla="*/ 25 h 4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6"/>
                <a:gd name="T28" fmla="*/ 0 h 44"/>
                <a:gd name="T29" fmla="*/ 36 w 36"/>
                <a:gd name="T30" fmla="*/ 44 h 4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6" h="44">
                  <a:moveTo>
                    <a:pt x="15" y="13"/>
                  </a:moveTo>
                  <a:lnTo>
                    <a:pt x="15" y="0"/>
                  </a:lnTo>
                  <a:lnTo>
                    <a:pt x="5" y="5"/>
                  </a:lnTo>
                  <a:lnTo>
                    <a:pt x="0" y="13"/>
                  </a:lnTo>
                  <a:lnTo>
                    <a:pt x="0" y="26"/>
                  </a:lnTo>
                  <a:lnTo>
                    <a:pt x="0" y="39"/>
                  </a:lnTo>
                  <a:lnTo>
                    <a:pt x="26" y="44"/>
                  </a:lnTo>
                  <a:lnTo>
                    <a:pt x="36" y="26"/>
                  </a:lnTo>
                  <a:lnTo>
                    <a:pt x="15" y="13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cs-CZ"/>
            </a:p>
          </p:txBody>
        </p:sp>
        <p:sp>
          <p:nvSpPr>
            <p:cNvPr id="7192" name="Freeform 159"/>
            <p:cNvSpPr>
              <a:spLocks noEditPoints="1"/>
            </p:cNvSpPr>
            <p:nvPr/>
          </p:nvSpPr>
          <p:spPr bwMode="auto">
            <a:xfrm>
              <a:off x="3386" y="2196"/>
              <a:ext cx="43" cy="51"/>
            </a:xfrm>
            <a:custGeom>
              <a:avLst/>
              <a:gdLst>
                <a:gd name="T0" fmla="*/ 0 w 178"/>
                <a:gd name="T1" fmla="*/ 0 h 209"/>
                <a:gd name="T2" fmla="*/ 0 w 178"/>
                <a:gd name="T3" fmla="*/ 0 h 209"/>
                <a:gd name="T4" fmla="*/ 0 w 178"/>
                <a:gd name="T5" fmla="*/ 0 h 209"/>
                <a:gd name="T6" fmla="*/ 0 w 178"/>
                <a:gd name="T7" fmla="*/ 0 h 209"/>
                <a:gd name="T8" fmla="*/ 0 w 178"/>
                <a:gd name="T9" fmla="*/ 0 h 209"/>
                <a:gd name="T10" fmla="*/ 0 w 178"/>
                <a:gd name="T11" fmla="*/ 0 h 209"/>
                <a:gd name="T12" fmla="*/ 0 w 178"/>
                <a:gd name="T13" fmla="*/ 0 h 209"/>
                <a:gd name="T14" fmla="*/ 0 w 178"/>
                <a:gd name="T15" fmla="*/ 0 h 209"/>
                <a:gd name="T16" fmla="*/ 0 w 178"/>
                <a:gd name="T17" fmla="*/ 0 h 209"/>
                <a:gd name="T18" fmla="*/ 0 w 178"/>
                <a:gd name="T19" fmla="*/ 0 h 209"/>
                <a:gd name="T20" fmla="*/ 0 w 178"/>
                <a:gd name="T21" fmla="*/ 0 h 209"/>
                <a:gd name="T22" fmla="*/ 0 w 178"/>
                <a:gd name="T23" fmla="*/ 0 h 209"/>
                <a:gd name="T24" fmla="*/ 0 w 178"/>
                <a:gd name="T25" fmla="*/ 0 h 209"/>
                <a:gd name="T26" fmla="*/ 0 w 178"/>
                <a:gd name="T27" fmla="*/ 0 h 209"/>
                <a:gd name="T28" fmla="*/ 0 w 178"/>
                <a:gd name="T29" fmla="*/ 0 h 209"/>
                <a:gd name="T30" fmla="*/ 0 w 178"/>
                <a:gd name="T31" fmla="*/ 0 h 209"/>
                <a:gd name="T32" fmla="*/ 0 w 178"/>
                <a:gd name="T33" fmla="*/ 0 h 209"/>
                <a:gd name="T34" fmla="*/ 0 w 178"/>
                <a:gd name="T35" fmla="*/ 0 h 209"/>
                <a:gd name="T36" fmla="*/ 0 w 178"/>
                <a:gd name="T37" fmla="*/ 0 h 209"/>
                <a:gd name="T38" fmla="*/ 0 w 178"/>
                <a:gd name="T39" fmla="*/ 0 h 209"/>
                <a:gd name="T40" fmla="*/ 0 w 178"/>
                <a:gd name="T41" fmla="*/ 0 h 209"/>
                <a:gd name="T42" fmla="*/ 0 w 178"/>
                <a:gd name="T43" fmla="*/ 0 h 209"/>
                <a:gd name="T44" fmla="*/ 0 w 178"/>
                <a:gd name="T45" fmla="*/ 0 h 209"/>
                <a:gd name="T46" fmla="*/ 0 w 178"/>
                <a:gd name="T47" fmla="*/ 0 h 209"/>
                <a:gd name="T48" fmla="*/ 0 w 178"/>
                <a:gd name="T49" fmla="*/ 0 h 209"/>
                <a:gd name="T50" fmla="*/ 0 w 178"/>
                <a:gd name="T51" fmla="*/ 0 h 209"/>
                <a:gd name="T52" fmla="*/ 0 w 178"/>
                <a:gd name="T53" fmla="*/ 0 h 209"/>
                <a:gd name="T54" fmla="*/ 0 w 178"/>
                <a:gd name="T55" fmla="*/ 0 h 209"/>
                <a:gd name="T56" fmla="*/ 0 w 178"/>
                <a:gd name="T57" fmla="*/ 0 h 209"/>
                <a:gd name="T58" fmla="*/ 0 w 178"/>
                <a:gd name="T59" fmla="*/ 0 h 209"/>
                <a:gd name="T60" fmla="*/ 0 w 178"/>
                <a:gd name="T61" fmla="*/ 0 h 209"/>
                <a:gd name="T62" fmla="*/ 0 w 178"/>
                <a:gd name="T63" fmla="*/ 0 h 209"/>
                <a:gd name="T64" fmla="*/ 0 w 178"/>
                <a:gd name="T65" fmla="*/ 0 h 209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78"/>
                <a:gd name="T100" fmla="*/ 0 h 209"/>
                <a:gd name="T101" fmla="*/ 178 w 178"/>
                <a:gd name="T102" fmla="*/ 209 h 209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78" h="209">
                  <a:moveTo>
                    <a:pt x="72" y="73"/>
                  </a:moveTo>
                  <a:cubicBezTo>
                    <a:pt x="70" y="71"/>
                    <a:pt x="68" y="69"/>
                    <a:pt x="68" y="66"/>
                  </a:cubicBezTo>
                  <a:lnTo>
                    <a:pt x="68" y="8"/>
                  </a:lnTo>
                  <a:lnTo>
                    <a:pt x="79" y="16"/>
                  </a:lnTo>
                  <a:lnTo>
                    <a:pt x="33" y="35"/>
                  </a:lnTo>
                  <a:lnTo>
                    <a:pt x="37" y="32"/>
                  </a:lnTo>
                  <a:lnTo>
                    <a:pt x="15" y="70"/>
                  </a:lnTo>
                  <a:lnTo>
                    <a:pt x="16" y="66"/>
                  </a:lnTo>
                  <a:lnTo>
                    <a:pt x="16" y="124"/>
                  </a:lnTo>
                  <a:lnTo>
                    <a:pt x="16" y="181"/>
                  </a:lnTo>
                  <a:lnTo>
                    <a:pt x="10" y="173"/>
                  </a:lnTo>
                  <a:lnTo>
                    <a:pt x="124" y="193"/>
                  </a:lnTo>
                  <a:lnTo>
                    <a:pt x="115" y="196"/>
                  </a:lnTo>
                  <a:lnTo>
                    <a:pt x="162" y="120"/>
                  </a:lnTo>
                  <a:lnTo>
                    <a:pt x="164" y="130"/>
                  </a:lnTo>
                  <a:lnTo>
                    <a:pt x="72" y="73"/>
                  </a:lnTo>
                  <a:close/>
                  <a:moveTo>
                    <a:pt x="173" y="117"/>
                  </a:moveTo>
                  <a:cubicBezTo>
                    <a:pt x="176" y="119"/>
                    <a:pt x="178" y="124"/>
                    <a:pt x="175" y="128"/>
                  </a:cubicBezTo>
                  <a:lnTo>
                    <a:pt x="129" y="205"/>
                  </a:lnTo>
                  <a:cubicBezTo>
                    <a:pt x="128" y="207"/>
                    <a:pt x="124" y="209"/>
                    <a:pt x="121" y="208"/>
                  </a:cubicBezTo>
                  <a:lnTo>
                    <a:pt x="7" y="189"/>
                  </a:lnTo>
                  <a:cubicBezTo>
                    <a:pt x="3" y="189"/>
                    <a:pt x="0" y="185"/>
                    <a:pt x="0" y="181"/>
                  </a:cubicBezTo>
                  <a:lnTo>
                    <a:pt x="0" y="124"/>
                  </a:lnTo>
                  <a:lnTo>
                    <a:pt x="0" y="66"/>
                  </a:lnTo>
                  <a:cubicBezTo>
                    <a:pt x="0" y="65"/>
                    <a:pt x="1" y="63"/>
                    <a:pt x="1" y="62"/>
                  </a:cubicBezTo>
                  <a:lnTo>
                    <a:pt x="23" y="24"/>
                  </a:lnTo>
                  <a:cubicBezTo>
                    <a:pt x="24" y="22"/>
                    <a:pt x="25" y="21"/>
                    <a:pt x="27" y="20"/>
                  </a:cubicBezTo>
                  <a:lnTo>
                    <a:pt x="73" y="1"/>
                  </a:lnTo>
                  <a:cubicBezTo>
                    <a:pt x="76" y="0"/>
                    <a:pt x="78" y="0"/>
                    <a:pt x="81" y="2"/>
                  </a:cubicBezTo>
                  <a:cubicBezTo>
                    <a:pt x="83" y="3"/>
                    <a:pt x="84" y="6"/>
                    <a:pt x="84" y="8"/>
                  </a:cubicBezTo>
                  <a:lnTo>
                    <a:pt x="84" y="66"/>
                  </a:lnTo>
                  <a:lnTo>
                    <a:pt x="81" y="59"/>
                  </a:lnTo>
                  <a:lnTo>
                    <a:pt x="173" y="117"/>
                  </a:lnTo>
                  <a:close/>
                </a:path>
              </a:pathLst>
            </a:custGeom>
            <a:solidFill>
              <a:srgbClr val="000000"/>
            </a:solidFill>
            <a:ln w="0" cap="flat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193" name="Freeform 160"/>
            <p:cNvSpPr>
              <a:spLocks/>
            </p:cNvSpPr>
            <p:nvPr/>
          </p:nvSpPr>
          <p:spPr bwMode="auto">
            <a:xfrm>
              <a:off x="3384" y="2374"/>
              <a:ext cx="275" cy="142"/>
            </a:xfrm>
            <a:custGeom>
              <a:avLst/>
              <a:gdLst>
                <a:gd name="T0" fmla="*/ 414 w 262"/>
                <a:gd name="T1" fmla="*/ 110 h 135"/>
                <a:gd name="T2" fmla="*/ 394 w 262"/>
                <a:gd name="T3" fmla="*/ 94 h 135"/>
                <a:gd name="T4" fmla="*/ 367 w 262"/>
                <a:gd name="T5" fmla="*/ 76 h 135"/>
                <a:gd name="T6" fmla="*/ 375 w 262"/>
                <a:gd name="T7" fmla="*/ 33 h 135"/>
                <a:gd name="T8" fmla="*/ 375 w 262"/>
                <a:gd name="T9" fmla="*/ 26 h 135"/>
                <a:gd name="T10" fmla="*/ 284 w 262"/>
                <a:gd name="T11" fmla="*/ 0 h 135"/>
                <a:gd name="T12" fmla="*/ 246 w 262"/>
                <a:gd name="T13" fmla="*/ 22 h 135"/>
                <a:gd name="T14" fmla="*/ 187 w 262"/>
                <a:gd name="T15" fmla="*/ 26 h 135"/>
                <a:gd name="T16" fmla="*/ 160 w 262"/>
                <a:gd name="T17" fmla="*/ 22 h 135"/>
                <a:gd name="T18" fmla="*/ 132 w 262"/>
                <a:gd name="T19" fmla="*/ 33 h 135"/>
                <a:gd name="T20" fmla="*/ 93 w 262"/>
                <a:gd name="T21" fmla="*/ 43 h 135"/>
                <a:gd name="T22" fmla="*/ 85 w 262"/>
                <a:gd name="T23" fmla="*/ 76 h 135"/>
                <a:gd name="T24" fmla="*/ 58 w 262"/>
                <a:gd name="T25" fmla="*/ 94 h 135"/>
                <a:gd name="T26" fmla="*/ 45 w 262"/>
                <a:gd name="T27" fmla="*/ 120 h 135"/>
                <a:gd name="T28" fmla="*/ 6 w 262"/>
                <a:gd name="T29" fmla="*/ 163 h 135"/>
                <a:gd name="T30" fmla="*/ 0 w 262"/>
                <a:gd name="T31" fmla="*/ 197 h 135"/>
                <a:gd name="T32" fmla="*/ 37 w 262"/>
                <a:gd name="T33" fmla="*/ 180 h 135"/>
                <a:gd name="T34" fmla="*/ 85 w 262"/>
                <a:gd name="T35" fmla="*/ 197 h 135"/>
                <a:gd name="T36" fmla="*/ 93 w 262"/>
                <a:gd name="T37" fmla="*/ 212 h 135"/>
                <a:gd name="T38" fmla="*/ 112 w 262"/>
                <a:gd name="T39" fmla="*/ 239 h 135"/>
                <a:gd name="T40" fmla="*/ 196 w 262"/>
                <a:gd name="T41" fmla="*/ 231 h 135"/>
                <a:gd name="T42" fmla="*/ 246 w 262"/>
                <a:gd name="T43" fmla="*/ 163 h 135"/>
                <a:gd name="T44" fmla="*/ 319 w 262"/>
                <a:gd name="T45" fmla="*/ 247 h 135"/>
                <a:gd name="T46" fmla="*/ 348 w 262"/>
                <a:gd name="T47" fmla="*/ 163 h 135"/>
                <a:gd name="T48" fmla="*/ 394 w 262"/>
                <a:gd name="T49" fmla="*/ 171 h 135"/>
                <a:gd name="T50" fmla="*/ 422 w 262"/>
                <a:gd name="T51" fmla="*/ 155 h 135"/>
                <a:gd name="T52" fmla="*/ 460 w 262"/>
                <a:gd name="T53" fmla="*/ 155 h 135"/>
                <a:gd name="T54" fmla="*/ 468 w 262"/>
                <a:gd name="T55" fmla="*/ 145 h 135"/>
                <a:gd name="T56" fmla="*/ 460 w 262"/>
                <a:gd name="T57" fmla="*/ 103 h 135"/>
                <a:gd name="T58" fmla="*/ 414 w 262"/>
                <a:gd name="T59" fmla="*/ 110 h 135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262"/>
                <a:gd name="T91" fmla="*/ 0 h 135"/>
                <a:gd name="T92" fmla="*/ 262 w 262"/>
                <a:gd name="T93" fmla="*/ 135 h 135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262" h="135">
                  <a:moveTo>
                    <a:pt x="231" y="61"/>
                  </a:moveTo>
                  <a:lnTo>
                    <a:pt x="220" y="51"/>
                  </a:lnTo>
                  <a:lnTo>
                    <a:pt x="205" y="42"/>
                  </a:lnTo>
                  <a:lnTo>
                    <a:pt x="210" y="19"/>
                  </a:lnTo>
                  <a:lnTo>
                    <a:pt x="210" y="14"/>
                  </a:lnTo>
                  <a:lnTo>
                    <a:pt x="158" y="0"/>
                  </a:lnTo>
                  <a:lnTo>
                    <a:pt x="137" y="10"/>
                  </a:lnTo>
                  <a:lnTo>
                    <a:pt x="105" y="14"/>
                  </a:lnTo>
                  <a:lnTo>
                    <a:pt x="89" y="10"/>
                  </a:lnTo>
                  <a:lnTo>
                    <a:pt x="74" y="19"/>
                  </a:lnTo>
                  <a:lnTo>
                    <a:pt x="52" y="24"/>
                  </a:lnTo>
                  <a:lnTo>
                    <a:pt x="48" y="42"/>
                  </a:lnTo>
                  <a:lnTo>
                    <a:pt x="32" y="51"/>
                  </a:lnTo>
                  <a:lnTo>
                    <a:pt x="26" y="65"/>
                  </a:lnTo>
                  <a:lnTo>
                    <a:pt x="6" y="88"/>
                  </a:lnTo>
                  <a:lnTo>
                    <a:pt x="0" y="107"/>
                  </a:lnTo>
                  <a:lnTo>
                    <a:pt x="22" y="98"/>
                  </a:lnTo>
                  <a:lnTo>
                    <a:pt x="48" y="107"/>
                  </a:lnTo>
                  <a:lnTo>
                    <a:pt x="52" y="116"/>
                  </a:lnTo>
                  <a:lnTo>
                    <a:pt x="63" y="130"/>
                  </a:lnTo>
                  <a:lnTo>
                    <a:pt x="110" y="126"/>
                  </a:lnTo>
                  <a:lnTo>
                    <a:pt x="137" y="88"/>
                  </a:lnTo>
                  <a:lnTo>
                    <a:pt x="179" y="135"/>
                  </a:lnTo>
                  <a:lnTo>
                    <a:pt x="194" y="88"/>
                  </a:lnTo>
                  <a:lnTo>
                    <a:pt x="220" y="93"/>
                  </a:lnTo>
                  <a:lnTo>
                    <a:pt x="236" y="84"/>
                  </a:lnTo>
                  <a:lnTo>
                    <a:pt x="257" y="84"/>
                  </a:lnTo>
                  <a:lnTo>
                    <a:pt x="262" y="79"/>
                  </a:lnTo>
                  <a:lnTo>
                    <a:pt x="257" y="56"/>
                  </a:lnTo>
                  <a:lnTo>
                    <a:pt x="231" y="61"/>
                  </a:lnTo>
                  <a:close/>
                </a:path>
              </a:pathLst>
            </a:custGeom>
            <a:solidFill>
              <a:srgbClr val="FFC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cs-CZ"/>
            </a:p>
          </p:txBody>
        </p:sp>
        <p:sp>
          <p:nvSpPr>
            <p:cNvPr id="7194" name="Freeform 161"/>
            <p:cNvSpPr>
              <a:spLocks noEditPoints="1"/>
            </p:cNvSpPr>
            <p:nvPr/>
          </p:nvSpPr>
          <p:spPr bwMode="auto">
            <a:xfrm>
              <a:off x="3381" y="2372"/>
              <a:ext cx="280" cy="146"/>
            </a:xfrm>
            <a:custGeom>
              <a:avLst/>
              <a:gdLst>
                <a:gd name="T0" fmla="*/ 0 w 1169"/>
                <a:gd name="T1" fmla="*/ 0 h 609"/>
                <a:gd name="T2" fmla="*/ 0 w 1169"/>
                <a:gd name="T3" fmla="*/ 0 h 609"/>
                <a:gd name="T4" fmla="*/ 0 w 1169"/>
                <a:gd name="T5" fmla="*/ 0 h 609"/>
                <a:gd name="T6" fmla="*/ 0 w 1169"/>
                <a:gd name="T7" fmla="*/ 0 h 609"/>
                <a:gd name="T8" fmla="*/ 0 w 1169"/>
                <a:gd name="T9" fmla="*/ 0 h 609"/>
                <a:gd name="T10" fmla="*/ 0 w 1169"/>
                <a:gd name="T11" fmla="*/ 0 h 609"/>
                <a:gd name="T12" fmla="*/ 0 w 1169"/>
                <a:gd name="T13" fmla="*/ 0 h 609"/>
                <a:gd name="T14" fmla="*/ 0 w 1169"/>
                <a:gd name="T15" fmla="*/ 0 h 609"/>
                <a:gd name="T16" fmla="*/ 0 w 1169"/>
                <a:gd name="T17" fmla="*/ 0 h 609"/>
                <a:gd name="T18" fmla="*/ 0 w 1169"/>
                <a:gd name="T19" fmla="*/ 0 h 609"/>
                <a:gd name="T20" fmla="*/ 0 w 1169"/>
                <a:gd name="T21" fmla="*/ 0 h 609"/>
                <a:gd name="T22" fmla="*/ 0 w 1169"/>
                <a:gd name="T23" fmla="*/ 0 h 609"/>
                <a:gd name="T24" fmla="*/ 0 w 1169"/>
                <a:gd name="T25" fmla="*/ 0 h 609"/>
                <a:gd name="T26" fmla="*/ 0 w 1169"/>
                <a:gd name="T27" fmla="*/ 0 h 609"/>
                <a:gd name="T28" fmla="*/ 0 w 1169"/>
                <a:gd name="T29" fmla="*/ 0 h 609"/>
                <a:gd name="T30" fmla="*/ 0 w 1169"/>
                <a:gd name="T31" fmla="*/ 0 h 609"/>
                <a:gd name="T32" fmla="*/ 0 w 1169"/>
                <a:gd name="T33" fmla="*/ 0 h 609"/>
                <a:gd name="T34" fmla="*/ 0 w 1169"/>
                <a:gd name="T35" fmla="*/ 0 h 609"/>
                <a:gd name="T36" fmla="*/ 0 w 1169"/>
                <a:gd name="T37" fmla="*/ 0 h 609"/>
                <a:gd name="T38" fmla="*/ 0 w 1169"/>
                <a:gd name="T39" fmla="*/ 0 h 609"/>
                <a:gd name="T40" fmla="*/ 0 w 1169"/>
                <a:gd name="T41" fmla="*/ 0 h 609"/>
                <a:gd name="T42" fmla="*/ 0 w 1169"/>
                <a:gd name="T43" fmla="*/ 0 h 609"/>
                <a:gd name="T44" fmla="*/ 0 w 1169"/>
                <a:gd name="T45" fmla="*/ 0 h 609"/>
                <a:gd name="T46" fmla="*/ 0 w 1169"/>
                <a:gd name="T47" fmla="*/ 0 h 609"/>
                <a:gd name="T48" fmla="*/ 0 w 1169"/>
                <a:gd name="T49" fmla="*/ 0 h 609"/>
                <a:gd name="T50" fmla="*/ 0 w 1169"/>
                <a:gd name="T51" fmla="*/ 0 h 609"/>
                <a:gd name="T52" fmla="*/ 0 w 1169"/>
                <a:gd name="T53" fmla="*/ 0 h 609"/>
                <a:gd name="T54" fmla="*/ 0 w 1169"/>
                <a:gd name="T55" fmla="*/ 0 h 609"/>
                <a:gd name="T56" fmla="*/ 0 w 1169"/>
                <a:gd name="T57" fmla="*/ 0 h 609"/>
                <a:gd name="T58" fmla="*/ 0 w 1169"/>
                <a:gd name="T59" fmla="*/ 0 h 609"/>
                <a:gd name="T60" fmla="*/ 0 w 1169"/>
                <a:gd name="T61" fmla="*/ 0 h 609"/>
                <a:gd name="T62" fmla="*/ 0 w 1169"/>
                <a:gd name="T63" fmla="*/ 0 h 609"/>
                <a:gd name="T64" fmla="*/ 0 w 1169"/>
                <a:gd name="T65" fmla="*/ 0 h 609"/>
                <a:gd name="T66" fmla="*/ 0 w 1169"/>
                <a:gd name="T67" fmla="*/ 0 h 609"/>
                <a:gd name="T68" fmla="*/ 0 w 1169"/>
                <a:gd name="T69" fmla="*/ 0 h 609"/>
                <a:gd name="T70" fmla="*/ 0 w 1169"/>
                <a:gd name="T71" fmla="*/ 0 h 609"/>
                <a:gd name="T72" fmla="*/ 0 w 1169"/>
                <a:gd name="T73" fmla="*/ 0 h 609"/>
                <a:gd name="T74" fmla="*/ 0 w 1169"/>
                <a:gd name="T75" fmla="*/ 0 h 609"/>
                <a:gd name="T76" fmla="*/ 0 w 1169"/>
                <a:gd name="T77" fmla="*/ 0 h 609"/>
                <a:gd name="T78" fmla="*/ 0 w 1169"/>
                <a:gd name="T79" fmla="*/ 0 h 609"/>
                <a:gd name="T80" fmla="*/ 0 w 1169"/>
                <a:gd name="T81" fmla="*/ 0 h 609"/>
                <a:gd name="T82" fmla="*/ 0 w 1169"/>
                <a:gd name="T83" fmla="*/ 0 h 609"/>
                <a:gd name="T84" fmla="*/ 0 w 1169"/>
                <a:gd name="T85" fmla="*/ 0 h 609"/>
                <a:gd name="T86" fmla="*/ 0 w 1169"/>
                <a:gd name="T87" fmla="*/ 0 h 609"/>
                <a:gd name="T88" fmla="*/ 0 w 1169"/>
                <a:gd name="T89" fmla="*/ 0 h 609"/>
                <a:gd name="T90" fmla="*/ 0 w 1169"/>
                <a:gd name="T91" fmla="*/ 0 h 609"/>
                <a:gd name="T92" fmla="*/ 0 w 1169"/>
                <a:gd name="T93" fmla="*/ 0 h 609"/>
                <a:gd name="T94" fmla="*/ 0 w 1169"/>
                <a:gd name="T95" fmla="*/ 0 h 609"/>
                <a:gd name="T96" fmla="*/ 0 w 1169"/>
                <a:gd name="T97" fmla="*/ 0 h 609"/>
                <a:gd name="T98" fmla="*/ 0 w 1169"/>
                <a:gd name="T99" fmla="*/ 0 h 609"/>
                <a:gd name="T100" fmla="*/ 0 w 1169"/>
                <a:gd name="T101" fmla="*/ 0 h 609"/>
                <a:gd name="T102" fmla="*/ 0 w 1169"/>
                <a:gd name="T103" fmla="*/ 0 h 609"/>
                <a:gd name="T104" fmla="*/ 0 w 1169"/>
                <a:gd name="T105" fmla="*/ 0 h 609"/>
                <a:gd name="T106" fmla="*/ 0 w 1169"/>
                <a:gd name="T107" fmla="*/ 0 h 609"/>
                <a:gd name="T108" fmla="*/ 0 w 1169"/>
                <a:gd name="T109" fmla="*/ 0 h 609"/>
                <a:gd name="T110" fmla="*/ 0 w 1169"/>
                <a:gd name="T111" fmla="*/ 0 h 609"/>
                <a:gd name="T112" fmla="*/ 0 w 1169"/>
                <a:gd name="T113" fmla="*/ 0 h 609"/>
                <a:gd name="T114" fmla="*/ 0 w 1169"/>
                <a:gd name="T115" fmla="*/ 0 h 609"/>
                <a:gd name="T116" fmla="*/ 0 w 1169"/>
                <a:gd name="T117" fmla="*/ 0 h 609"/>
                <a:gd name="T118" fmla="*/ 0 w 1169"/>
                <a:gd name="T119" fmla="*/ 0 h 60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169"/>
                <a:gd name="T181" fmla="*/ 0 h 609"/>
                <a:gd name="T182" fmla="*/ 1169 w 1169"/>
                <a:gd name="T183" fmla="*/ 609 h 609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169" h="609">
                  <a:moveTo>
                    <a:pt x="1025" y="282"/>
                  </a:moveTo>
                  <a:cubicBezTo>
                    <a:pt x="1023" y="282"/>
                    <a:pt x="1020" y="281"/>
                    <a:pt x="1018" y="280"/>
                  </a:cubicBezTo>
                  <a:lnTo>
                    <a:pt x="972" y="239"/>
                  </a:lnTo>
                  <a:lnTo>
                    <a:pt x="973" y="240"/>
                  </a:lnTo>
                  <a:lnTo>
                    <a:pt x="905" y="199"/>
                  </a:lnTo>
                  <a:cubicBezTo>
                    <a:pt x="902" y="197"/>
                    <a:pt x="900" y="194"/>
                    <a:pt x="901" y="191"/>
                  </a:cubicBezTo>
                  <a:lnTo>
                    <a:pt x="923" y="88"/>
                  </a:lnTo>
                  <a:lnTo>
                    <a:pt x="923" y="90"/>
                  </a:lnTo>
                  <a:lnTo>
                    <a:pt x="923" y="70"/>
                  </a:lnTo>
                  <a:lnTo>
                    <a:pt x="929" y="77"/>
                  </a:lnTo>
                  <a:lnTo>
                    <a:pt x="699" y="16"/>
                  </a:lnTo>
                  <a:lnTo>
                    <a:pt x="704" y="16"/>
                  </a:lnTo>
                  <a:lnTo>
                    <a:pt x="611" y="57"/>
                  </a:lnTo>
                  <a:cubicBezTo>
                    <a:pt x="610" y="57"/>
                    <a:pt x="610" y="57"/>
                    <a:pt x="609" y="57"/>
                  </a:cubicBezTo>
                  <a:lnTo>
                    <a:pt x="472" y="78"/>
                  </a:lnTo>
                  <a:cubicBezTo>
                    <a:pt x="471" y="78"/>
                    <a:pt x="470" y="78"/>
                    <a:pt x="469" y="77"/>
                  </a:cubicBezTo>
                  <a:lnTo>
                    <a:pt x="398" y="57"/>
                  </a:lnTo>
                  <a:lnTo>
                    <a:pt x="404" y="56"/>
                  </a:lnTo>
                  <a:lnTo>
                    <a:pt x="335" y="97"/>
                  </a:lnTo>
                  <a:cubicBezTo>
                    <a:pt x="335" y="97"/>
                    <a:pt x="334" y="98"/>
                    <a:pt x="333" y="98"/>
                  </a:cubicBezTo>
                  <a:lnTo>
                    <a:pt x="240" y="118"/>
                  </a:lnTo>
                  <a:lnTo>
                    <a:pt x="246" y="113"/>
                  </a:lnTo>
                  <a:lnTo>
                    <a:pt x="224" y="194"/>
                  </a:lnTo>
                  <a:cubicBezTo>
                    <a:pt x="224" y="196"/>
                    <a:pt x="222" y="198"/>
                    <a:pt x="221" y="199"/>
                  </a:cubicBezTo>
                  <a:lnTo>
                    <a:pt x="152" y="240"/>
                  </a:lnTo>
                  <a:lnTo>
                    <a:pt x="155" y="236"/>
                  </a:lnTo>
                  <a:lnTo>
                    <a:pt x="131" y="297"/>
                  </a:lnTo>
                  <a:cubicBezTo>
                    <a:pt x="130" y="298"/>
                    <a:pt x="130" y="299"/>
                    <a:pt x="129" y="300"/>
                  </a:cubicBezTo>
                  <a:lnTo>
                    <a:pt x="39" y="402"/>
                  </a:lnTo>
                  <a:lnTo>
                    <a:pt x="41" y="399"/>
                  </a:lnTo>
                  <a:lnTo>
                    <a:pt x="16" y="480"/>
                  </a:lnTo>
                  <a:lnTo>
                    <a:pt x="5" y="471"/>
                  </a:lnTo>
                  <a:lnTo>
                    <a:pt x="98" y="430"/>
                  </a:lnTo>
                  <a:cubicBezTo>
                    <a:pt x="100" y="429"/>
                    <a:pt x="102" y="429"/>
                    <a:pt x="104" y="430"/>
                  </a:cubicBezTo>
                  <a:lnTo>
                    <a:pt x="219" y="470"/>
                  </a:lnTo>
                  <a:cubicBezTo>
                    <a:pt x="221" y="471"/>
                    <a:pt x="223" y="472"/>
                    <a:pt x="223" y="474"/>
                  </a:cubicBezTo>
                  <a:lnTo>
                    <a:pt x="245" y="515"/>
                  </a:lnTo>
                  <a:lnTo>
                    <a:pt x="245" y="514"/>
                  </a:lnTo>
                  <a:lnTo>
                    <a:pt x="291" y="575"/>
                  </a:lnTo>
                  <a:lnTo>
                    <a:pt x="284" y="572"/>
                  </a:lnTo>
                  <a:lnTo>
                    <a:pt x="492" y="552"/>
                  </a:lnTo>
                  <a:lnTo>
                    <a:pt x="486" y="555"/>
                  </a:lnTo>
                  <a:lnTo>
                    <a:pt x="601" y="392"/>
                  </a:lnTo>
                  <a:cubicBezTo>
                    <a:pt x="603" y="390"/>
                    <a:pt x="605" y="388"/>
                    <a:pt x="607" y="388"/>
                  </a:cubicBezTo>
                  <a:cubicBezTo>
                    <a:pt x="610" y="388"/>
                    <a:pt x="612" y="389"/>
                    <a:pt x="614" y="391"/>
                  </a:cubicBezTo>
                  <a:lnTo>
                    <a:pt x="800" y="595"/>
                  </a:lnTo>
                  <a:lnTo>
                    <a:pt x="786" y="598"/>
                  </a:lnTo>
                  <a:lnTo>
                    <a:pt x="855" y="394"/>
                  </a:lnTo>
                  <a:cubicBezTo>
                    <a:pt x="856" y="390"/>
                    <a:pt x="860" y="388"/>
                    <a:pt x="864" y="388"/>
                  </a:cubicBezTo>
                  <a:lnTo>
                    <a:pt x="979" y="409"/>
                  </a:lnTo>
                  <a:lnTo>
                    <a:pt x="973" y="410"/>
                  </a:lnTo>
                  <a:lnTo>
                    <a:pt x="1041" y="369"/>
                  </a:lnTo>
                  <a:cubicBezTo>
                    <a:pt x="1043" y="368"/>
                    <a:pt x="1044" y="368"/>
                    <a:pt x="1046" y="368"/>
                  </a:cubicBezTo>
                  <a:lnTo>
                    <a:pt x="1139" y="368"/>
                  </a:lnTo>
                  <a:lnTo>
                    <a:pt x="1133" y="370"/>
                  </a:lnTo>
                  <a:lnTo>
                    <a:pt x="1155" y="350"/>
                  </a:lnTo>
                  <a:lnTo>
                    <a:pt x="1153" y="357"/>
                  </a:lnTo>
                  <a:lnTo>
                    <a:pt x="1131" y="255"/>
                  </a:lnTo>
                  <a:lnTo>
                    <a:pt x="1140" y="261"/>
                  </a:lnTo>
                  <a:lnTo>
                    <a:pt x="1025" y="282"/>
                  </a:lnTo>
                  <a:close/>
                  <a:moveTo>
                    <a:pt x="1137" y="246"/>
                  </a:moveTo>
                  <a:cubicBezTo>
                    <a:pt x="1141" y="245"/>
                    <a:pt x="1145" y="248"/>
                    <a:pt x="1146" y="252"/>
                  </a:cubicBezTo>
                  <a:lnTo>
                    <a:pt x="1168" y="354"/>
                  </a:lnTo>
                  <a:cubicBezTo>
                    <a:pt x="1169" y="357"/>
                    <a:pt x="1168" y="359"/>
                    <a:pt x="1166" y="361"/>
                  </a:cubicBezTo>
                  <a:lnTo>
                    <a:pt x="1144" y="382"/>
                  </a:lnTo>
                  <a:cubicBezTo>
                    <a:pt x="1143" y="383"/>
                    <a:pt x="1141" y="384"/>
                    <a:pt x="1139" y="384"/>
                  </a:cubicBezTo>
                  <a:lnTo>
                    <a:pt x="1046" y="384"/>
                  </a:lnTo>
                  <a:lnTo>
                    <a:pt x="1050" y="383"/>
                  </a:lnTo>
                  <a:lnTo>
                    <a:pt x="981" y="424"/>
                  </a:lnTo>
                  <a:cubicBezTo>
                    <a:pt x="980" y="425"/>
                    <a:pt x="978" y="425"/>
                    <a:pt x="976" y="425"/>
                  </a:cubicBezTo>
                  <a:lnTo>
                    <a:pt x="861" y="404"/>
                  </a:lnTo>
                  <a:lnTo>
                    <a:pt x="870" y="399"/>
                  </a:lnTo>
                  <a:lnTo>
                    <a:pt x="801" y="603"/>
                  </a:lnTo>
                  <a:cubicBezTo>
                    <a:pt x="800" y="606"/>
                    <a:pt x="798" y="608"/>
                    <a:pt x="795" y="608"/>
                  </a:cubicBezTo>
                  <a:cubicBezTo>
                    <a:pt x="793" y="609"/>
                    <a:pt x="790" y="608"/>
                    <a:pt x="788" y="606"/>
                  </a:cubicBezTo>
                  <a:lnTo>
                    <a:pt x="602" y="402"/>
                  </a:lnTo>
                  <a:lnTo>
                    <a:pt x="614" y="401"/>
                  </a:lnTo>
                  <a:lnTo>
                    <a:pt x="499" y="564"/>
                  </a:lnTo>
                  <a:cubicBezTo>
                    <a:pt x="498" y="566"/>
                    <a:pt x="496" y="567"/>
                    <a:pt x="494" y="568"/>
                  </a:cubicBezTo>
                  <a:lnTo>
                    <a:pt x="286" y="588"/>
                  </a:lnTo>
                  <a:cubicBezTo>
                    <a:pt x="283" y="588"/>
                    <a:pt x="280" y="587"/>
                    <a:pt x="278" y="585"/>
                  </a:cubicBezTo>
                  <a:lnTo>
                    <a:pt x="232" y="524"/>
                  </a:lnTo>
                  <a:cubicBezTo>
                    <a:pt x="232" y="523"/>
                    <a:pt x="231" y="523"/>
                    <a:pt x="231" y="523"/>
                  </a:cubicBezTo>
                  <a:lnTo>
                    <a:pt x="209" y="482"/>
                  </a:lnTo>
                  <a:lnTo>
                    <a:pt x="214" y="486"/>
                  </a:lnTo>
                  <a:lnTo>
                    <a:pt x="99" y="445"/>
                  </a:lnTo>
                  <a:lnTo>
                    <a:pt x="105" y="444"/>
                  </a:lnTo>
                  <a:lnTo>
                    <a:pt x="12" y="485"/>
                  </a:lnTo>
                  <a:cubicBezTo>
                    <a:pt x="9" y="487"/>
                    <a:pt x="5" y="486"/>
                    <a:pt x="3" y="484"/>
                  </a:cubicBezTo>
                  <a:cubicBezTo>
                    <a:pt x="1" y="482"/>
                    <a:pt x="0" y="479"/>
                    <a:pt x="1" y="476"/>
                  </a:cubicBezTo>
                  <a:lnTo>
                    <a:pt x="25" y="394"/>
                  </a:lnTo>
                  <a:cubicBezTo>
                    <a:pt x="26" y="393"/>
                    <a:pt x="26" y="392"/>
                    <a:pt x="27" y="391"/>
                  </a:cubicBezTo>
                  <a:lnTo>
                    <a:pt x="117" y="289"/>
                  </a:lnTo>
                  <a:lnTo>
                    <a:pt x="116" y="291"/>
                  </a:lnTo>
                  <a:lnTo>
                    <a:pt x="141" y="230"/>
                  </a:lnTo>
                  <a:cubicBezTo>
                    <a:pt x="141" y="228"/>
                    <a:pt x="142" y="227"/>
                    <a:pt x="144" y="226"/>
                  </a:cubicBezTo>
                  <a:lnTo>
                    <a:pt x="212" y="185"/>
                  </a:lnTo>
                  <a:lnTo>
                    <a:pt x="209" y="190"/>
                  </a:lnTo>
                  <a:lnTo>
                    <a:pt x="231" y="108"/>
                  </a:lnTo>
                  <a:cubicBezTo>
                    <a:pt x="231" y="106"/>
                    <a:pt x="234" y="103"/>
                    <a:pt x="237" y="103"/>
                  </a:cubicBezTo>
                  <a:lnTo>
                    <a:pt x="330" y="82"/>
                  </a:lnTo>
                  <a:lnTo>
                    <a:pt x="327" y="83"/>
                  </a:lnTo>
                  <a:lnTo>
                    <a:pt x="396" y="42"/>
                  </a:lnTo>
                  <a:cubicBezTo>
                    <a:pt x="398" y="41"/>
                    <a:pt x="400" y="41"/>
                    <a:pt x="402" y="42"/>
                  </a:cubicBezTo>
                  <a:lnTo>
                    <a:pt x="473" y="62"/>
                  </a:lnTo>
                  <a:lnTo>
                    <a:pt x="470" y="62"/>
                  </a:lnTo>
                  <a:lnTo>
                    <a:pt x="607" y="41"/>
                  </a:lnTo>
                  <a:lnTo>
                    <a:pt x="605" y="42"/>
                  </a:lnTo>
                  <a:lnTo>
                    <a:pt x="698" y="1"/>
                  </a:lnTo>
                  <a:cubicBezTo>
                    <a:pt x="699" y="0"/>
                    <a:pt x="701" y="0"/>
                    <a:pt x="703" y="1"/>
                  </a:cubicBezTo>
                  <a:lnTo>
                    <a:pt x="933" y="62"/>
                  </a:lnTo>
                  <a:cubicBezTo>
                    <a:pt x="936" y="63"/>
                    <a:pt x="939" y="66"/>
                    <a:pt x="939" y="70"/>
                  </a:cubicBezTo>
                  <a:lnTo>
                    <a:pt x="939" y="90"/>
                  </a:lnTo>
                  <a:cubicBezTo>
                    <a:pt x="939" y="91"/>
                    <a:pt x="939" y="91"/>
                    <a:pt x="938" y="92"/>
                  </a:cubicBezTo>
                  <a:lnTo>
                    <a:pt x="917" y="194"/>
                  </a:lnTo>
                  <a:lnTo>
                    <a:pt x="913" y="185"/>
                  </a:lnTo>
                  <a:lnTo>
                    <a:pt x="981" y="226"/>
                  </a:lnTo>
                  <a:cubicBezTo>
                    <a:pt x="982" y="226"/>
                    <a:pt x="982" y="227"/>
                    <a:pt x="982" y="227"/>
                  </a:cubicBezTo>
                  <a:lnTo>
                    <a:pt x="1029" y="268"/>
                  </a:lnTo>
                  <a:lnTo>
                    <a:pt x="1022" y="266"/>
                  </a:lnTo>
                  <a:lnTo>
                    <a:pt x="1137" y="246"/>
                  </a:lnTo>
                  <a:close/>
                </a:path>
              </a:pathLst>
            </a:custGeom>
            <a:solidFill>
              <a:srgbClr val="000000"/>
            </a:solidFill>
            <a:ln w="0" cap="flat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195" name="Freeform 162"/>
            <p:cNvSpPr>
              <a:spLocks/>
            </p:cNvSpPr>
            <p:nvPr/>
          </p:nvSpPr>
          <p:spPr bwMode="auto">
            <a:xfrm>
              <a:off x="3743" y="2126"/>
              <a:ext cx="379" cy="187"/>
            </a:xfrm>
            <a:custGeom>
              <a:avLst/>
              <a:gdLst>
                <a:gd name="T0" fmla="*/ 570 w 360"/>
                <a:gd name="T1" fmla="*/ 257 h 178"/>
                <a:gd name="T2" fmla="*/ 607 w 360"/>
                <a:gd name="T3" fmla="*/ 206 h 178"/>
                <a:gd name="T4" fmla="*/ 636 w 360"/>
                <a:gd name="T5" fmla="*/ 183 h 178"/>
                <a:gd name="T6" fmla="*/ 667 w 360"/>
                <a:gd name="T7" fmla="*/ 158 h 178"/>
                <a:gd name="T8" fmla="*/ 645 w 360"/>
                <a:gd name="T9" fmla="*/ 124 h 178"/>
                <a:gd name="T10" fmla="*/ 599 w 360"/>
                <a:gd name="T11" fmla="*/ 116 h 178"/>
                <a:gd name="T12" fmla="*/ 550 w 360"/>
                <a:gd name="T13" fmla="*/ 106 h 178"/>
                <a:gd name="T14" fmla="*/ 534 w 360"/>
                <a:gd name="T15" fmla="*/ 83 h 178"/>
                <a:gd name="T16" fmla="*/ 475 w 360"/>
                <a:gd name="T17" fmla="*/ 66 h 178"/>
                <a:gd name="T18" fmla="*/ 475 w 360"/>
                <a:gd name="T19" fmla="*/ 91 h 178"/>
                <a:gd name="T20" fmla="*/ 444 w 360"/>
                <a:gd name="T21" fmla="*/ 106 h 178"/>
                <a:gd name="T22" fmla="*/ 397 w 360"/>
                <a:gd name="T23" fmla="*/ 72 h 178"/>
                <a:gd name="T24" fmla="*/ 407 w 360"/>
                <a:gd name="T25" fmla="*/ 40 h 178"/>
                <a:gd name="T26" fmla="*/ 358 w 360"/>
                <a:gd name="T27" fmla="*/ 40 h 178"/>
                <a:gd name="T28" fmla="*/ 310 w 360"/>
                <a:gd name="T29" fmla="*/ 26 h 178"/>
                <a:gd name="T30" fmla="*/ 260 w 360"/>
                <a:gd name="T31" fmla="*/ 0 h 178"/>
                <a:gd name="T32" fmla="*/ 260 w 360"/>
                <a:gd name="T33" fmla="*/ 26 h 178"/>
                <a:gd name="T34" fmla="*/ 234 w 360"/>
                <a:gd name="T35" fmla="*/ 5 h 178"/>
                <a:gd name="T36" fmla="*/ 192 w 360"/>
                <a:gd name="T37" fmla="*/ 5 h 178"/>
                <a:gd name="T38" fmla="*/ 182 w 360"/>
                <a:gd name="T39" fmla="*/ 40 h 178"/>
                <a:gd name="T40" fmla="*/ 134 w 360"/>
                <a:gd name="T41" fmla="*/ 59 h 178"/>
                <a:gd name="T42" fmla="*/ 87 w 360"/>
                <a:gd name="T43" fmla="*/ 83 h 178"/>
                <a:gd name="T44" fmla="*/ 37 w 360"/>
                <a:gd name="T45" fmla="*/ 91 h 178"/>
                <a:gd name="T46" fmla="*/ 0 w 360"/>
                <a:gd name="T47" fmla="*/ 116 h 178"/>
                <a:gd name="T48" fmla="*/ 37 w 360"/>
                <a:gd name="T49" fmla="*/ 158 h 178"/>
                <a:gd name="T50" fmla="*/ 28 w 360"/>
                <a:gd name="T51" fmla="*/ 183 h 178"/>
                <a:gd name="T52" fmla="*/ 97 w 360"/>
                <a:gd name="T53" fmla="*/ 231 h 178"/>
                <a:gd name="T54" fmla="*/ 182 w 360"/>
                <a:gd name="T55" fmla="*/ 288 h 178"/>
                <a:gd name="T56" fmla="*/ 173 w 360"/>
                <a:gd name="T57" fmla="*/ 297 h 178"/>
                <a:gd name="T58" fmla="*/ 223 w 360"/>
                <a:gd name="T59" fmla="*/ 320 h 178"/>
                <a:gd name="T60" fmla="*/ 279 w 360"/>
                <a:gd name="T61" fmla="*/ 305 h 178"/>
                <a:gd name="T62" fmla="*/ 310 w 360"/>
                <a:gd name="T63" fmla="*/ 257 h 178"/>
                <a:gd name="T64" fmla="*/ 397 w 360"/>
                <a:gd name="T65" fmla="*/ 282 h 178"/>
                <a:gd name="T66" fmla="*/ 492 w 360"/>
                <a:gd name="T67" fmla="*/ 282 h 178"/>
                <a:gd name="T68" fmla="*/ 492 w 360"/>
                <a:gd name="T69" fmla="*/ 288 h 178"/>
                <a:gd name="T70" fmla="*/ 522 w 360"/>
                <a:gd name="T71" fmla="*/ 257 h 178"/>
                <a:gd name="T72" fmla="*/ 570 w 360"/>
                <a:gd name="T73" fmla="*/ 257 h 178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360"/>
                <a:gd name="T112" fmla="*/ 0 h 178"/>
                <a:gd name="T113" fmla="*/ 360 w 360"/>
                <a:gd name="T114" fmla="*/ 178 h 178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360" h="178">
                  <a:moveTo>
                    <a:pt x="308" y="142"/>
                  </a:moveTo>
                  <a:lnTo>
                    <a:pt x="329" y="114"/>
                  </a:lnTo>
                  <a:lnTo>
                    <a:pt x="344" y="101"/>
                  </a:lnTo>
                  <a:lnTo>
                    <a:pt x="360" y="87"/>
                  </a:lnTo>
                  <a:lnTo>
                    <a:pt x="349" y="69"/>
                  </a:lnTo>
                  <a:lnTo>
                    <a:pt x="323" y="64"/>
                  </a:lnTo>
                  <a:lnTo>
                    <a:pt x="297" y="59"/>
                  </a:lnTo>
                  <a:lnTo>
                    <a:pt x="287" y="46"/>
                  </a:lnTo>
                  <a:lnTo>
                    <a:pt x="256" y="37"/>
                  </a:lnTo>
                  <a:lnTo>
                    <a:pt x="256" y="50"/>
                  </a:lnTo>
                  <a:lnTo>
                    <a:pt x="240" y="59"/>
                  </a:lnTo>
                  <a:lnTo>
                    <a:pt x="214" y="41"/>
                  </a:lnTo>
                  <a:lnTo>
                    <a:pt x="219" y="23"/>
                  </a:lnTo>
                  <a:lnTo>
                    <a:pt x="193" y="23"/>
                  </a:lnTo>
                  <a:lnTo>
                    <a:pt x="167" y="14"/>
                  </a:lnTo>
                  <a:lnTo>
                    <a:pt x="140" y="0"/>
                  </a:lnTo>
                  <a:lnTo>
                    <a:pt x="140" y="14"/>
                  </a:lnTo>
                  <a:lnTo>
                    <a:pt x="125" y="5"/>
                  </a:lnTo>
                  <a:lnTo>
                    <a:pt x="104" y="5"/>
                  </a:lnTo>
                  <a:lnTo>
                    <a:pt x="99" y="23"/>
                  </a:lnTo>
                  <a:lnTo>
                    <a:pt x="73" y="32"/>
                  </a:lnTo>
                  <a:lnTo>
                    <a:pt x="47" y="46"/>
                  </a:lnTo>
                  <a:lnTo>
                    <a:pt x="21" y="50"/>
                  </a:lnTo>
                  <a:lnTo>
                    <a:pt x="0" y="64"/>
                  </a:lnTo>
                  <a:lnTo>
                    <a:pt x="21" y="87"/>
                  </a:lnTo>
                  <a:lnTo>
                    <a:pt x="16" y="101"/>
                  </a:lnTo>
                  <a:lnTo>
                    <a:pt x="52" y="128"/>
                  </a:lnTo>
                  <a:lnTo>
                    <a:pt x="99" y="160"/>
                  </a:lnTo>
                  <a:lnTo>
                    <a:pt x="94" y="164"/>
                  </a:lnTo>
                  <a:lnTo>
                    <a:pt x="120" y="178"/>
                  </a:lnTo>
                  <a:lnTo>
                    <a:pt x="151" y="169"/>
                  </a:lnTo>
                  <a:lnTo>
                    <a:pt x="167" y="142"/>
                  </a:lnTo>
                  <a:lnTo>
                    <a:pt x="214" y="155"/>
                  </a:lnTo>
                  <a:lnTo>
                    <a:pt x="266" y="155"/>
                  </a:lnTo>
                  <a:lnTo>
                    <a:pt x="266" y="160"/>
                  </a:lnTo>
                  <a:lnTo>
                    <a:pt x="282" y="142"/>
                  </a:lnTo>
                  <a:lnTo>
                    <a:pt x="308" y="142"/>
                  </a:lnTo>
                  <a:close/>
                </a:path>
              </a:pathLst>
            </a:custGeom>
            <a:solidFill>
              <a:srgbClr val="FFC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cs-CZ"/>
            </a:p>
          </p:txBody>
        </p:sp>
        <p:sp>
          <p:nvSpPr>
            <p:cNvPr id="7196" name="Freeform 163"/>
            <p:cNvSpPr>
              <a:spLocks noEditPoints="1"/>
            </p:cNvSpPr>
            <p:nvPr/>
          </p:nvSpPr>
          <p:spPr bwMode="auto">
            <a:xfrm>
              <a:off x="3741" y="2124"/>
              <a:ext cx="383" cy="191"/>
            </a:xfrm>
            <a:custGeom>
              <a:avLst/>
              <a:gdLst>
                <a:gd name="T0" fmla="*/ 0 w 1601"/>
                <a:gd name="T1" fmla="*/ 0 h 801"/>
                <a:gd name="T2" fmla="*/ 0 w 1601"/>
                <a:gd name="T3" fmla="*/ 0 h 801"/>
                <a:gd name="T4" fmla="*/ 0 w 1601"/>
                <a:gd name="T5" fmla="*/ 0 h 801"/>
                <a:gd name="T6" fmla="*/ 0 w 1601"/>
                <a:gd name="T7" fmla="*/ 0 h 801"/>
                <a:gd name="T8" fmla="*/ 0 w 1601"/>
                <a:gd name="T9" fmla="*/ 0 h 801"/>
                <a:gd name="T10" fmla="*/ 0 w 1601"/>
                <a:gd name="T11" fmla="*/ 0 h 801"/>
                <a:gd name="T12" fmla="*/ 0 w 1601"/>
                <a:gd name="T13" fmla="*/ 0 h 801"/>
                <a:gd name="T14" fmla="*/ 0 w 1601"/>
                <a:gd name="T15" fmla="*/ 0 h 801"/>
                <a:gd name="T16" fmla="*/ 0 w 1601"/>
                <a:gd name="T17" fmla="*/ 0 h 801"/>
                <a:gd name="T18" fmla="*/ 0 w 1601"/>
                <a:gd name="T19" fmla="*/ 0 h 801"/>
                <a:gd name="T20" fmla="*/ 0 w 1601"/>
                <a:gd name="T21" fmla="*/ 0 h 801"/>
                <a:gd name="T22" fmla="*/ 0 w 1601"/>
                <a:gd name="T23" fmla="*/ 0 h 801"/>
                <a:gd name="T24" fmla="*/ 0 w 1601"/>
                <a:gd name="T25" fmla="*/ 0 h 801"/>
                <a:gd name="T26" fmla="*/ 0 w 1601"/>
                <a:gd name="T27" fmla="*/ 0 h 801"/>
                <a:gd name="T28" fmla="*/ 0 w 1601"/>
                <a:gd name="T29" fmla="*/ 0 h 801"/>
                <a:gd name="T30" fmla="*/ 0 w 1601"/>
                <a:gd name="T31" fmla="*/ 0 h 801"/>
                <a:gd name="T32" fmla="*/ 0 w 1601"/>
                <a:gd name="T33" fmla="*/ 0 h 801"/>
                <a:gd name="T34" fmla="*/ 0 w 1601"/>
                <a:gd name="T35" fmla="*/ 0 h 801"/>
                <a:gd name="T36" fmla="*/ 0 w 1601"/>
                <a:gd name="T37" fmla="*/ 0 h 801"/>
                <a:gd name="T38" fmla="*/ 0 w 1601"/>
                <a:gd name="T39" fmla="*/ 0 h 801"/>
                <a:gd name="T40" fmla="*/ 0 w 1601"/>
                <a:gd name="T41" fmla="*/ 0 h 801"/>
                <a:gd name="T42" fmla="*/ 0 w 1601"/>
                <a:gd name="T43" fmla="*/ 0 h 801"/>
                <a:gd name="T44" fmla="*/ 0 w 1601"/>
                <a:gd name="T45" fmla="*/ 0 h 801"/>
                <a:gd name="T46" fmla="*/ 0 w 1601"/>
                <a:gd name="T47" fmla="*/ 0 h 801"/>
                <a:gd name="T48" fmla="*/ 0 w 1601"/>
                <a:gd name="T49" fmla="*/ 0 h 801"/>
                <a:gd name="T50" fmla="*/ 0 w 1601"/>
                <a:gd name="T51" fmla="*/ 0 h 801"/>
                <a:gd name="T52" fmla="*/ 0 w 1601"/>
                <a:gd name="T53" fmla="*/ 0 h 801"/>
                <a:gd name="T54" fmla="*/ 0 w 1601"/>
                <a:gd name="T55" fmla="*/ 0 h 801"/>
                <a:gd name="T56" fmla="*/ 0 w 1601"/>
                <a:gd name="T57" fmla="*/ 0 h 801"/>
                <a:gd name="T58" fmla="*/ 0 w 1601"/>
                <a:gd name="T59" fmla="*/ 0 h 801"/>
                <a:gd name="T60" fmla="*/ 0 w 1601"/>
                <a:gd name="T61" fmla="*/ 0 h 801"/>
                <a:gd name="T62" fmla="*/ 0 w 1601"/>
                <a:gd name="T63" fmla="*/ 0 h 801"/>
                <a:gd name="T64" fmla="*/ 0 w 1601"/>
                <a:gd name="T65" fmla="*/ 0 h 801"/>
                <a:gd name="T66" fmla="*/ 0 w 1601"/>
                <a:gd name="T67" fmla="*/ 0 h 801"/>
                <a:gd name="T68" fmla="*/ 0 w 1601"/>
                <a:gd name="T69" fmla="*/ 0 h 801"/>
                <a:gd name="T70" fmla="*/ 0 w 1601"/>
                <a:gd name="T71" fmla="*/ 0 h 801"/>
                <a:gd name="T72" fmla="*/ 0 w 1601"/>
                <a:gd name="T73" fmla="*/ 0 h 801"/>
                <a:gd name="T74" fmla="*/ 0 w 1601"/>
                <a:gd name="T75" fmla="*/ 0 h 801"/>
                <a:gd name="T76" fmla="*/ 0 w 1601"/>
                <a:gd name="T77" fmla="*/ 0 h 801"/>
                <a:gd name="T78" fmla="*/ 0 w 1601"/>
                <a:gd name="T79" fmla="*/ 0 h 801"/>
                <a:gd name="T80" fmla="*/ 0 w 1601"/>
                <a:gd name="T81" fmla="*/ 0 h 801"/>
                <a:gd name="T82" fmla="*/ 0 w 1601"/>
                <a:gd name="T83" fmla="*/ 0 h 801"/>
                <a:gd name="T84" fmla="*/ 0 w 1601"/>
                <a:gd name="T85" fmla="*/ 0 h 801"/>
                <a:gd name="T86" fmla="*/ 0 w 1601"/>
                <a:gd name="T87" fmla="*/ 0 h 801"/>
                <a:gd name="T88" fmla="*/ 0 w 1601"/>
                <a:gd name="T89" fmla="*/ 0 h 801"/>
                <a:gd name="T90" fmla="*/ 0 w 1601"/>
                <a:gd name="T91" fmla="*/ 0 h 801"/>
                <a:gd name="T92" fmla="*/ 0 w 1601"/>
                <a:gd name="T93" fmla="*/ 0 h 801"/>
                <a:gd name="T94" fmla="*/ 0 w 1601"/>
                <a:gd name="T95" fmla="*/ 0 h 801"/>
                <a:gd name="T96" fmla="*/ 0 w 1601"/>
                <a:gd name="T97" fmla="*/ 0 h 80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1601"/>
                <a:gd name="T148" fmla="*/ 0 h 801"/>
                <a:gd name="T149" fmla="*/ 1601 w 1601"/>
                <a:gd name="T150" fmla="*/ 801 h 801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1601" h="801">
                  <a:moveTo>
                    <a:pt x="1363" y="624"/>
                  </a:moveTo>
                  <a:lnTo>
                    <a:pt x="1357" y="627"/>
                  </a:lnTo>
                  <a:lnTo>
                    <a:pt x="1450" y="506"/>
                  </a:lnTo>
                  <a:cubicBezTo>
                    <a:pt x="1450" y="506"/>
                    <a:pt x="1450" y="505"/>
                    <a:pt x="1451" y="505"/>
                  </a:cubicBezTo>
                  <a:lnTo>
                    <a:pt x="1519" y="445"/>
                  </a:lnTo>
                  <a:lnTo>
                    <a:pt x="1587" y="384"/>
                  </a:lnTo>
                  <a:lnTo>
                    <a:pt x="1586" y="394"/>
                  </a:lnTo>
                  <a:lnTo>
                    <a:pt x="1539" y="314"/>
                  </a:lnTo>
                  <a:lnTo>
                    <a:pt x="1545" y="318"/>
                  </a:lnTo>
                  <a:lnTo>
                    <a:pt x="1430" y="298"/>
                  </a:lnTo>
                  <a:lnTo>
                    <a:pt x="1316" y="278"/>
                  </a:lnTo>
                  <a:cubicBezTo>
                    <a:pt x="1314" y="277"/>
                    <a:pt x="1312" y="276"/>
                    <a:pt x="1311" y="275"/>
                  </a:cubicBezTo>
                  <a:lnTo>
                    <a:pt x="1264" y="214"/>
                  </a:lnTo>
                  <a:lnTo>
                    <a:pt x="1268" y="217"/>
                  </a:lnTo>
                  <a:lnTo>
                    <a:pt x="1132" y="177"/>
                  </a:lnTo>
                  <a:lnTo>
                    <a:pt x="1142" y="169"/>
                  </a:lnTo>
                  <a:lnTo>
                    <a:pt x="1142" y="230"/>
                  </a:lnTo>
                  <a:cubicBezTo>
                    <a:pt x="1142" y="232"/>
                    <a:pt x="1141" y="235"/>
                    <a:pt x="1138" y="237"/>
                  </a:cubicBezTo>
                  <a:lnTo>
                    <a:pt x="1068" y="277"/>
                  </a:lnTo>
                  <a:cubicBezTo>
                    <a:pt x="1065" y="278"/>
                    <a:pt x="1061" y="278"/>
                    <a:pt x="1059" y="276"/>
                  </a:cubicBezTo>
                  <a:lnTo>
                    <a:pt x="944" y="196"/>
                  </a:lnTo>
                  <a:cubicBezTo>
                    <a:pt x="942" y="194"/>
                    <a:pt x="940" y="190"/>
                    <a:pt x="941" y="187"/>
                  </a:cubicBezTo>
                  <a:lnTo>
                    <a:pt x="966" y="107"/>
                  </a:lnTo>
                  <a:lnTo>
                    <a:pt x="974" y="117"/>
                  </a:lnTo>
                  <a:lnTo>
                    <a:pt x="859" y="117"/>
                  </a:lnTo>
                  <a:cubicBezTo>
                    <a:pt x="858" y="117"/>
                    <a:pt x="857" y="117"/>
                    <a:pt x="856" y="117"/>
                  </a:cubicBezTo>
                  <a:lnTo>
                    <a:pt x="739" y="76"/>
                  </a:lnTo>
                  <a:cubicBezTo>
                    <a:pt x="739" y="76"/>
                    <a:pt x="738" y="76"/>
                    <a:pt x="738" y="76"/>
                  </a:cubicBezTo>
                  <a:lnTo>
                    <a:pt x="624" y="16"/>
                  </a:lnTo>
                  <a:lnTo>
                    <a:pt x="635" y="8"/>
                  </a:lnTo>
                  <a:lnTo>
                    <a:pt x="635" y="69"/>
                  </a:lnTo>
                  <a:cubicBezTo>
                    <a:pt x="635" y="72"/>
                    <a:pt x="634" y="74"/>
                    <a:pt x="631" y="76"/>
                  </a:cubicBezTo>
                  <a:cubicBezTo>
                    <a:pt x="629" y="77"/>
                    <a:pt x="626" y="77"/>
                    <a:pt x="623" y="76"/>
                  </a:cubicBezTo>
                  <a:lnTo>
                    <a:pt x="555" y="35"/>
                  </a:lnTo>
                  <a:lnTo>
                    <a:pt x="559" y="37"/>
                  </a:lnTo>
                  <a:lnTo>
                    <a:pt x="466" y="37"/>
                  </a:lnTo>
                  <a:lnTo>
                    <a:pt x="474" y="31"/>
                  </a:lnTo>
                  <a:lnTo>
                    <a:pt x="452" y="111"/>
                  </a:lnTo>
                  <a:cubicBezTo>
                    <a:pt x="452" y="114"/>
                    <a:pt x="450" y="116"/>
                    <a:pt x="447" y="117"/>
                  </a:cubicBezTo>
                  <a:lnTo>
                    <a:pt x="333" y="157"/>
                  </a:lnTo>
                  <a:lnTo>
                    <a:pt x="334" y="156"/>
                  </a:lnTo>
                  <a:lnTo>
                    <a:pt x="219" y="217"/>
                  </a:lnTo>
                  <a:cubicBezTo>
                    <a:pt x="219" y="217"/>
                    <a:pt x="218" y="217"/>
                    <a:pt x="217" y="217"/>
                  </a:cubicBezTo>
                  <a:lnTo>
                    <a:pt x="103" y="237"/>
                  </a:lnTo>
                  <a:lnTo>
                    <a:pt x="106" y="236"/>
                  </a:lnTo>
                  <a:lnTo>
                    <a:pt x="13" y="297"/>
                  </a:lnTo>
                  <a:lnTo>
                    <a:pt x="14" y="284"/>
                  </a:lnTo>
                  <a:lnTo>
                    <a:pt x="107" y="385"/>
                  </a:lnTo>
                  <a:cubicBezTo>
                    <a:pt x="109" y="387"/>
                    <a:pt x="110" y="391"/>
                    <a:pt x="109" y="393"/>
                  </a:cubicBezTo>
                  <a:lnTo>
                    <a:pt x="84" y="454"/>
                  </a:lnTo>
                  <a:lnTo>
                    <a:pt x="81" y="444"/>
                  </a:lnTo>
                  <a:lnTo>
                    <a:pt x="242" y="565"/>
                  </a:lnTo>
                  <a:lnTo>
                    <a:pt x="449" y="705"/>
                  </a:lnTo>
                  <a:cubicBezTo>
                    <a:pt x="451" y="707"/>
                    <a:pt x="452" y="709"/>
                    <a:pt x="453" y="711"/>
                  </a:cubicBezTo>
                  <a:cubicBezTo>
                    <a:pt x="453" y="714"/>
                    <a:pt x="452" y="716"/>
                    <a:pt x="450" y="718"/>
                  </a:cubicBezTo>
                  <a:lnTo>
                    <a:pt x="428" y="738"/>
                  </a:lnTo>
                  <a:lnTo>
                    <a:pt x="427" y="725"/>
                  </a:lnTo>
                  <a:lnTo>
                    <a:pt x="541" y="785"/>
                  </a:lnTo>
                  <a:lnTo>
                    <a:pt x="535" y="785"/>
                  </a:lnTo>
                  <a:lnTo>
                    <a:pt x="671" y="745"/>
                  </a:lnTo>
                  <a:lnTo>
                    <a:pt x="667" y="748"/>
                  </a:lnTo>
                  <a:lnTo>
                    <a:pt x="735" y="628"/>
                  </a:lnTo>
                  <a:cubicBezTo>
                    <a:pt x="737" y="624"/>
                    <a:pt x="741" y="623"/>
                    <a:pt x="744" y="624"/>
                  </a:cubicBezTo>
                  <a:lnTo>
                    <a:pt x="951" y="684"/>
                  </a:lnTo>
                  <a:lnTo>
                    <a:pt x="949" y="684"/>
                  </a:lnTo>
                  <a:lnTo>
                    <a:pt x="1181" y="684"/>
                  </a:lnTo>
                  <a:cubicBezTo>
                    <a:pt x="1185" y="684"/>
                    <a:pt x="1189" y="688"/>
                    <a:pt x="1189" y="692"/>
                  </a:cubicBezTo>
                  <a:lnTo>
                    <a:pt x="1189" y="712"/>
                  </a:lnTo>
                  <a:lnTo>
                    <a:pt x="1175" y="707"/>
                  </a:lnTo>
                  <a:lnTo>
                    <a:pt x="1243" y="626"/>
                  </a:lnTo>
                  <a:cubicBezTo>
                    <a:pt x="1244" y="625"/>
                    <a:pt x="1247" y="624"/>
                    <a:pt x="1249" y="624"/>
                  </a:cubicBezTo>
                  <a:lnTo>
                    <a:pt x="1363" y="624"/>
                  </a:lnTo>
                  <a:close/>
                  <a:moveTo>
                    <a:pt x="1249" y="640"/>
                  </a:moveTo>
                  <a:lnTo>
                    <a:pt x="1255" y="637"/>
                  </a:lnTo>
                  <a:lnTo>
                    <a:pt x="1187" y="717"/>
                  </a:lnTo>
                  <a:cubicBezTo>
                    <a:pt x="1185" y="720"/>
                    <a:pt x="1181" y="721"/>
                    <a:pt x="1178" y="720"/>
                  </a:cubicBezTo>
                  <a:cubicBezTo>
                    <a:pt x="1175" y="718"/>
                    <a:pt x="1173" y="715"/>
                    <a:pt x="1173" y="712"/>
                  </a:cubicBezTo>
                  <a:lnTo>
                    <a:pt x="1173" y="692"/>
                  </a:lnTo>
                  <a:lnTo>
                    <a:pt x="1181" y="700"/>
                  </a:lnTo>
                  <a:lnTo>
                    <a:pt x="949" y="700"/>
                  </a:lnTo>
                  <a:cubicBezTo>
                    <a:pt x="948" y="700"/>
                    <a:pt x="948" y="700"/>
                    <a:pt x="947" y="700"/>
                  </a:cubicBezTo>
                  <a:lnTo>
                    <a:pt x="740" y="639"/>
                  </a:lnTo>
                  <a:lnTo>
                    <a:pt x="749" y="636"/>
                  </a:lnTo>
                  <a:lnTo>
                    <a:pt x="681" y="756"/>
                  </a:lnTo>
                  <a:cubicBezTo>
                    <a:pt x="680" y="758"/>
                    <a:pt x="678" y="759"/>
                    <a:pt x="676" y="760"/>
                  </a:cubicBezTo>
                  <a:lnTo>
                    <a:pt x="540" y="800"/>
                  </a:lnTo>
                  <a:cubicBezTo>
                    <a:pt x="538" y="801"/>
                    <a:pt x="535" y="801"/>
                    <a:pt x="534" y="800"/>
                  </a:cubicBezTo>
                  <a:lnTo>
                    <a:pt x="419" y="739"/>
                  </a:lnTo>
                  <a:cubicBezTo>
                    <a:pt x="417" y="738"/>
                    <a:pt x="415" y="736"/>
                    <a:pt x="415" y="733"/>
                  </a:cubicBezTo>
                  <a:cubicBezTo>
                    <a:pt x="415" y="731"/>
                    <a:pt x="416" y="728"/>
                    <a:pt x="417" y="726"/>
                  </a:cubicBezTo>
                  <a:lnTo>
                    <a:pt x="439" y="706"/>
                  </a:lnTo>
                  <a:lnTo>
                    <a:pt x="440" y="719"/>
                  </a:lnTo>
                  <a:lnTo>
                    <a:pt x="233" y="578"/>
                  </a:lnTo>
                  <a:lnTo>
                    <a:pt x="72" y="457"/>
                  </a:lnTo>
                  <a:cubicBezTo>
                    <a:pt x="69" y="455"/>
                    <a:pt x="68" y="451"/>
                    <a:pt x="69" y="448"/>
                  </a:cubicBezTo>
                  <a:lnTo>
                    <a:pt x="94" y="387"/>
                  </a:lnTo>
                  <a:lnTo>
                    <a:pt x="95" y="396"/>
                  </a:lnTo>
                  <a:lnTo>
                    <a:pt x="3" y="295"/>
                  </a:lnTo>
                  <a:cubicBezTo>
                    <a:pt x="1" y="294"/>
                    <a:pt x="0" y="291"/>
                    <a:pt x="1" y="289"/>
                  </a:cubicBezTo>
                  <a:cubicBezTo>
                    <a:pt x="1" y="287"/>
                    <a:pt x="2" y="284"/>
                    <a:pt x="4" y="283"/>
                  </a:cubicBezTo>
                  <a:lnTo>
                    <a:pt x="97" y="223"/>
                  </a:lnTo>
                  <a:cubicBezTo>
                    <a:pt x="98" y="222"/>
                    <a:pt x="99" y="222"/>
                    <a:pt x="100" y="222"/>
                  </a:cubicBezTo>
                  <a:lnTo>
                    <a:pt x="214" y="202"/>
                  </a:lnTo>
                  <a:lnTo>
                    <a:pt x="212" y="202"/>
                  </a:lnTo>
                  <a:lnTo>
                    <a:pt x="326" y="142"/>
                  </a:lnTo>
                  <a:cubicBezTo>
                    <a:pt x="327" y="142"/>
                    <a:pt x="327" y="142"/>
                    <a:pt x="328" y="142"/>
                  </a:cubicBezTo>
                  <a:lnTo>
                    <a:pt x="442" y="101"/>
                  </a:lnTo>
                  <a:lnTo>
                    <a:pt x="437" y="107"/>
                  </a:lnTo>
                  <a:lnTo>
                    <a:pt x="459" y="26"/>
                  </a:lnTo>
                  <a:cubicBezTo>
                    <a:pt x="460" y="23"/>
                    <a:pt x="463" y="21"/>
                    <a:pt x="466" y="21"/>
                  </a:cubicBezTo>
                  <a:lnTo>
                    <a:pt x="559" y="21"/>
                  </a:lnTo>
                  <a:cubicBezTo>
                    <a:pt x="561" y="21"/>
                    <a:pt x="562" y="21"/>
                    <a:pt x="563" y="22"/>
                  </a:cubicBezTo>
                  <a:lnTo>
                    <a:pt x="631" y="62"/>
                  </a:lnTo>
                  <a:lnTo>
                    <a:pt x="619" y="69"/>
                  </a:lnTo>
                  <a:lnTo>
                    <a:pt x="619" y="8"/>
                  </a:lnTo>
                  <a:cubicBezTo>
                    <a:pt x="619" y="6"/>
                    <a:pt x="621" y="3"/>
                    <a:pt x="623" y="2"/>
                  </a:cubicBezTo>
                  <a:cubicBezTo>
                    <a:pt x="626" y="0"/>
                    <a:pt x="629" y="0"/>
                    <a:pt x="631" y="1"/>
                  </a:cubicBezTo>
                  <a:lnTo>
                    <a:pt x="746" y="62"/>
                  </a:lnTo>
                  <a:lnTo>
                    <a:pt x="744" y="61"/>
                  </a:lnTo>
                  <a:lnTo>
                    <a:pt x="862" y="101"/>
                  </a:lnTo>
                  <a:lnTo>
                    <a:pt x="859" y="101"/>
                  </a:lnTo>
                  <a:lnTo>
                    <a:pt x="974" y="101"/>
                  </a:lnTo>
                  <a:cubicBezTo>
                    <a:pt x="976" y="101"/>
                    <a:pt x="979" y="102"/>
                    <a:pt x="980" y="104"/>
                  </a:cubicBezTo>
                  <a:cubicBezTo>
                    <a:pt x="982" y="106"/>
                    <a:pt x="982" y="109"/>
                    <a:pt x="981" y="111"/>
                  </a:cubicBezTo>
                  <a:lnTo>
                    <a:pt x="957" y="192"/>
                  </a:lnTo>
                  <a:lnTo>
                    <a:pt x="954" y="183"/>
                  </a:lnTo>
                  <a:lnTo>
                    <a:pt x="1068" y="263"/>
                  </a:lnTo>
                  <a:lnTo>
                    <a:pt x="1060" y="263"/>
                  </a:lnTo>
                  <a:lnTo>
                    <a:pt x="1130" y="223"/>
                  </a:lnTo>
                  <a:lnTo>
                    <a:pt x="1126" y="230"/>
                  </a:lnTo>
                  <a:lnTo>
                    <a:pt x="1126" y="169"/>
                  </a:lnTo>
                  <a:cubicBezTo>
                    <a:pt x="1126" y="167"/>
                    <a:pt x="1128" y="164"/>
                    <a:pt x="1130" y="163"/>
                  </a:cubicBezTo>
                  <a:cubicBezTo>
                    <a:pt x="1132" y="161"/>
                    <a:pt x="1134" y="161"/>
                    <a:pt x="1137" y="162"/>
                  </a:cubicBezTo>
                  <a:lnTo>
                    <a:pt x="1273" y="202"/>
                  </a:lnTo>
                  <a:cubicBezTo>
                    <a:pt x="1275" y="202"/>
                    <a:pt x="1276" y="203"/>
                    <a:pt x="1277" y="205"/>
                  </a:cubicBezTo>
                  <a:lnTo>
                    <a:pt x="1323" y="265"/>
                  </a:lnTo>
                  <a:lnTo>
                    <a:pt x="1318" y="262"/>
                  </a:lnTo>
                  <a:lnTo>
                    <a:pt x="1433" y="282"/>
                  </a:lnTo>
                  <a:lnTo>
                    <a:pt x="1548" y="302"/>
                  </a:lnTo>
                  <a:cubicBezTo>
                    <a:pt x="1550" y="303"/>
                    <a:pt x="1552" y="304"/>
                    <a:pt x="1553" y="306"/>
                  </a:cubicBezTo>
                  <a:lnTo>
                    <a:pt x="1599" y="386"/>
                  </a:lnTo>
                  <a:cubicBezTo>
                    <a:pt x="1601" y="390"/>
                    <a:pt x="1601" y="394"/>
                    <a:pt x="1598" y="396"/>
                  </a:cubicBezTo>
                  <a:lnTo>
                    <a:pt x="1530" y="457"/>
                  </a:lnTo>
                  <a:lnTo>
                    <a:pt x="1461" y="517"/>
                  </a:lnTo>
                  <a:lnTo>
                    <a:pt x="1462" y="516"/>
                  </a:lnTo>
                  <a:lnTo>
                    <a:pt x="1370" y="637"/>
                  </a:lnTo>
                  <a:cubicBezTo>
                    <a:pt x="1368" y="638"/>
                    <a:pt x="1366" y="640"/>
                    <a:pt x="1363" y="640"/>
                  </a:cubicBezTo>
                  <a:lnTo>
                    <a:pt x="1249" y="640"/>
                  </a:lnTo>
                  <a:close/>
                </a:path>
              </a:pathLst>
            </a:custGeom>
            <a:solidFill>
              <a:srgbClr val="000000"/>
            </a:solidFill>
            <a:ln w="0" cap="flat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197" name="Freeform 164"/>
            <p:cNvSpPr>
              <a:spLocks/>
            </p:cNvSpPr>
            <p:nvPr/>
          </p:nvSpPr>
          <p:spPr bwMode="auto">
            <a:xfrm>
              <a:off x="3842" y="2420"/>
              <a:ext cx="180" cy="122"/>
            </a:xfrm>
            <a:custGeom>
              <a:avLst/>
              <a:gdLst>
                <a:gd name="T0" fmla="*/ 58 w 171"/>
                <a:gd name="T1" fmla="*/ 205 h 116"/>
                <a:gd name="T2" fmla="*/ 104 w 171"/>
                <a:gd name="T3" fmla="*/ 171 h 116"/>
                <a:gd name="T4" fmla="*/ 133 w 171"/>
                <a:gd name="T5" fmla="*/ 187 h 116"/>
                <a:gd name="T6" fmla="*/ 172 w 171"/>
                <a:gd name="T7" fmla="*/ 197 h 116"/>
                <a:gd name="T8" fmla="*/ 192 w 171"/>
                <a:gd name="T9" fmla="*/ 163 h 116"/>
                <a:gd name="T10" fmla="*/ 232 w 171"/>
                <a:gd name="T11" fmla="*/ 155 h 116"/>
                <a:gd name="T12" fmla="*/ 232 w 171"/>
                <a:gd name="T13" fmla="*/ 110 h 116"/>
                <a:gd name="T14" fmla="*/ 267 w 171"/>
                <a:gd name="T15" fmla="*/ 67 h 116"/>
                <a:gd name="T16" fmla="*/ 316 w 171"/>
                <a:gd name="T17" fmla="*/ 52 h 116"/>
                <a:gd name="T18" fmla="*/ 267 w 171"/>
                <a:gd name="T19" fmla="*/ 0 h 116"/>
                <a:gd name="T20" fmla="*/ 260 w 171"/>
                <a:gd name="T21" fmla="*/ 5 h 116"/>
                <a:gd name="T22" fmla="*/ 260 w 171"/>
                <a:gd name="T23" fmla="*/ 31 h 116"/>
                <a:gd name="T24" fmla="*/ 212 w 171"/>
                <a:gd name="T25" fmla="*/ 41 h 116"/>
                <a:gd name="T26" fmla="*/ 154 w 171"/>
                <a:gd name="T27" fmla="*/ 41 h 116"/>
                <a:gd name="T28" fmla="*/ 115 w 171"/>
                <a:gd name="T29" fmla="*/ 67 h 116"/>
                <a:gd name="T30" fmla="*/ 47 w 171"/>
                <a:gd name="T31" fmla="*/ 67 h 116"/>
                <a:gd name="T32" fmla="*/ 5 w 171"/>
                <a:gd name="T33" fmla="*/ 76 h 116"/>
                <a:gd name="T34" fmla="*/ 0 w 171"/>
                <a:gd name="T35" fmla="*/ 103 h 116"/>
                <a:gd name="T36" fmla="*/ 5 w 171"/>
                <a:gd name="T37" fmla="*/ 163 h 116"/>
                <a:gd name="T38" fmla="*/ 0 w 171"/>
                <a:gd name="T39" fmla="*/ 171 h 116"/>
                <a:gd name="T40" fmla="*/ 28 w 171"/>
                <a:gd name="T41" fmla="*/ 163 h 116"/>
                <a:gd name="T42" fmla="*/ 5 w 171"/>
                <a:gd name="T43" fmla="*/ 187 h 116"/>
                <a:gd name="T44" fmla="*/ 5 w 171"/>
                <a:gd name="T45" fmla="*/ 212 h 116"/>
                <a:gd name="T46" fmla="*/ 22 w 171"/>
                <a:gd name="T47" fmla="*/ 212 h 116"/>
                <a:gd name="T48" fmla="*/ 58 w 171"/>
                <a:gd name="T49" fmla="*/ 205 h 11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71"/>
                <a:gd name="T76" fmla="*/ 0 h 116"/>
                <a:gd name="T77" fmla="*/ 171 w 171"/>
                <a:gd name="T78" fmla="*/ 116 h 11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71" h="116">
                  <a:moveTo>
                    <a:pt x="31" y="112"/>
                  </a:moveTo>
                  <a:lnTo>
                    <a:pt x="57" y="93"/>
                  </a:lnTo>
                  <a:lnTo>
                    <a:pt x="72" y="102"/>
                  </a:lnTo>
                  <a:lnTo>
                    <a:pt x="93" y="107"/>
                  </a:lnTo>
                  <a:lnTo>
                    <a:pt x="104" y="88"/>
                  </a:lnTo>
                  <a:lnTo>
                    <a:pt x="125" y="84"/>
                  </a:lnTo>
                  <a:lnTo>
                    <a:pt x="125" y="61"/>
                  </a:lnTo>
                  <a:lnTo>
                    <a:pt x="145" y="37"/>
                  </a:lnTo>
                  <a:lnTo>
                    <a:pt x="171" y="28"/>
                  </a:lnTo>
                  <a:lnTo>
                    <a:pt x="145" y="0"/>
                  </a:lnTo>
                  <a:lnTo>
                    <a:pt x="140" y="5"/>
                  </a:lnTo>
                  <a:lnTo>
                    <a:pt x="140" y="18"/>
                  </a:lnTo>
                  <a:lnTo>
                    <a:pt x="114" y="23"/>
                  </a:lnTo>
                  <a:lnTo>
                    <a:pt x="83" y="23"/>
                  </a:lnTo>
                  <a:lnTo>
                    <a:pt x="63" y="37"/>
                  </a:lnTo>
                  <a:lnTo>
                    <a:pt x="26" y="37"/>
                  </a:lnTo>
                  <a:lnTo>
                    <a:pt x="5" y="42"/>
                  </a:lnTo>
                  <a:lnTo>
                    <a:pt x="0" y="56"/>
                  </a:lnTo>
                  <a:lnTo>
                    <a:pt x="5" y="88"/>
                  </a:lnTo>
                  <a:lnTo>
                    <a:pt x="0" y="93"/>
                  </a:lnTo>
                  <a:lnTo>
                    <a:pt x="16" y="88"/>
                  </a:lnTo>
                  <a:lnTo>
                    <a:pt x="5" y="102"/>
                  </a:lnTo>
                  <a:lnTo>
                    <a:pt x="5" y="116"/>
                  </a:lnTo>
                  <a:lnTo>
                    <a:pt x="10" y="116"/>
                  </a:lnTo>
                  <a:lnTo>
                    <a:pt x="31" y="112"/>
                  </a:lnTo>
                  <a:close/>
                </a:path>
              </a:pathLst>
            </a:custGeom>
            <a:solidFill>
              <a:srgbClr val="FFC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cs-CZ"/>
            </a:p>
          </p:txBody>
        </p:sp>
        <p:sp>
          <p:nvSpPr>
            <p:cNvPr id="7198" name="Freeform 165"/>
            <p:cNvSpPr>
              <a:spLocks noEditPoints="1"/>
            </p:cNvSpPr>
            <p:nvPr/>
          </p:nvSpPr>
          <p:spPr bwMode="auto">
            <a:xfrm>
              <a:off x="3841" y="2418"/>
              <a:ext cx="183" cy="126"/>
            </a:xfrm>
            <a:custGeom>
              <a:avLst/>
              <a:gdLst>
                <a:gd name="T0" fmla="*/ 0 w 769"/>
                <a:gd name="T1" fmla="*/ 0 h 528"/>
                <a:gd name="T2" fmla="*/ 0 w 769"/>
                <a:gd name="T3" fmla="*/ 0 h 528"/>
                <a:gd name="T4" fmla="*/ 0 w 769"/>
                <a:gd name="T5" fmla="*/ 0 h 528"/>
                <a:gd name="T6" fmla="*/ 0 w 769"/>
                <a:gd name="T7" fmla="*/ 0 h 528"/>
                <a:gd name="T8" fmla="*/ 0 w 769"/>
                <a:gd name="T9" fmla="*/ 0 h 528"/>
                <a:gd name="T10" fmla="*/ 0 w 769"/>
                <a:gd name="T11" fmla="*/ 0 h 528"/>
                <a:gd name="T12" fmla="*/ 0 w 769"/>
                <a:gd name="T13" fmla="*/ 0 h 528"/>
                <a:gd name="T14" fmla="*/ 0 w 769"/>
                <a:gd name="T15" fmla="*/ 0 h 528"/>
                <a:gd name="T16" fmla="*/ 0 w 769"/>
                <a:gd name="T17" fmla="*/ 0 h 528"/>
                <a:gd name="T18" fmla="*/ 0 w 769"/>
                <a:gd name="T19" fmla="*/ 0 h 528"/>
                <a:gd name="T20" fmla="*/ 0 w 769"/>
                <a:gd name="T21" fmla="*/ 0 h 528"/>
                <a:gd name="T22" fmla="*/ 0 w 769"/>
                <a:gd name="T23" fmla="*/ 0 h 528"/>
                <a:gd name="T24" fmla="*/ 0 w 769"/>
                <a:gd name="T25" fmla="*/ 0 h 528"/>
                <a:gd name="T26" fmla="*/ 0 w 769"/>
                <a:gd name="T27" fmla="*/ 0 h 528"/>
                <a:gd name="T28" fmla="*/ 0 w 769"/>
                <a:gd name="T29" fmla="*/ 0 h 528"/>
                <a:gd name="T30" fmla="*/ 0 w 769"/>
                <a:gd name="T31" fmla="*/ 0 h 528"/>
                <a:gd name="T32" fmla="*/ 0 w 769"/>
                <a:gd name="T33" fmla="*/ 0 h 528"/>
                <a:gd name="T34" fmla="*/ 0 w 769"/>
                <a:gd name="T35" fmla="*/ 0 h 528"/>
                <a:gd name="T36" fmla="*/ 0 w 769"/>
                <a:gd name="T37" fmla="*/ 0 h 528"/>
                <a:gd name="T38" fmla="*/ 0 w 769"/>
                <a:gd name="T39" fmla="*/ 0 h 528"/>
                <a:gd name="T40" fmla="*/ 0 w 769"/>
                <a:gd name="T41" fmla="*/ 0 h 528"/>
                <a:gd name="T42" fmla="*/ 0 w 769"/>
                <a:gd name="T43" fmla="*/ 0 h 528"/>
                <a:gd name="T44" fmla="*/ 0 w 769"/>
                <a:gd name="T45" fmla="*/ 0 h 528"/>
                <a:gd name="T46" fmla="*/ 0 w 769"/>
                <a:gd name="T47" fmla="*/ 0 h 528"/>
                <a:gd name="T48" fmla="*/ 0 w 769"/>
                <a:gd name="T49" fmla="*/ 0 h 528"/>
                <a:gd name="T50" fmla="*/ 0 w 769"/>
                <a:gd name="T51" fmla="*/ 0 h 528"/>
                <a:gd name="T52" fmla="*/ 0 w 769"/>
                <a:gd name="T53" fmla="*/ 0 h 528"/>
                <a:gd name="T54" fmla="*/ 0 w 769"/>
                <a:gd name="T55" fmla="*/ 0 h 528"/>
                <a:gd name="T56" fmla="*/ 0 w 769"/>
                <a:gd name="T57" fmla="*/ 0 h 528"/>
                <a:gd name="T58" fmla="*/ 0 w 769"/>
                <a:gd name="T59" fmla="*/ 0 h 528"/>
                <a:gd name="T60" fmla="*/ 0 w 769"/>
                <a:gd name="T61" fmla="*/ 0 h 528"/>
                <a:gd name="T62" fmla="*/ 0 w 769"/>
                <a:gd name="T63" fmla="*/ 0 h 528"/>
                <a:gd name="T64" fmla="*/ 0 w 769"/>
                <a:gd name="T65" fmla="*/ 0 h 528"/>
                <a:gd name="T66" fmla="*/ 0 w 769"/>
                <a:gd name="T67" fmla="*/ 0 h 528"/>
                <a:gd name="T68" fmla="*/ 0 w 769"/>
                <a:gd name="T69" fmla="*/ 0 h 528"/>
                <a:gd name="T70" fmla="*/ 0 w 769"/>
                <a:gd name="T71" fmla="*/ 0 h 528"/>
                <a:gd name="T72" fmla="*/ 0 w 769"/>
                <a:gd name="T73" fmla="*/ 0 h 528"/>
                <a:gd name="T74" fmla="*/ 0 w 769"/>
                <a:gd name="T75" fmla="*/ 0 h 528"/>
                <a:gd name="T76" fmla="*/ 0 w 769"/>
                <a:gd name="T77" fmla="*/ 0 h 528"/>
                <a:gd name="T78" fmla="*/ 0 w 769"/>
                <a:gd name="T79" fmla="*/ 0 h 528"/>
                <a:gd name="T80" fmla="*/ 0 w 769"/>
                <a:gd name="T81" fmla="*/ 0 h 528"/>
                <a:gd name="T82" fmla="*/ 0 w 769"/>
                <a:gd name="T83" fmla="*/ 0 h 528"/>
                <a:gd name="T84" fmla="*/ 0 w 769"/>
                <a:gd name="T85" fmla="*/ 0 h 528"/>
                <a:gd name="T86" fmla="*/ 0 w 769"/>
                <a:gd name="T87" fmla="*/ 0 h 528"/>
                <a:gd name="T88" fmla="*/ 0 w 769"/>
                <a:gd name="T89" fmla="*/ 0 h 528"/>
                <a:gd name="T90" fmla="*/ 0 w 769"/>
                <a:gd name="T91" fmla="*/ 0 h 528"/>
                <a:gd name="T92" fmla="*/ 0 w 769"/>
                <a:gd name="T93" fmla="*/ 0 h 528"/>
                <a:gd name="T94" fmla="*/ 0 w 769"/>
                <a:gd name="T95" fmla="*/ 0 h 528"/>
                <a:gd name="T96" fmla="*/ 0 w 769"/>
                <a:gd name="T97" fmla="*/ 0 h 528"/>
                <a:gd name="T98" fmla="*/ 0 w 769"/>
                <a:gd name="T99" fmla="*/ 0 h 52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769"/>
                <a:gd name="T151" fmla="*/ 0 h 528"/>
                <a:gd name="T152" fmla="*/ 769 w 769"/>
                <a:gd name="T153" fmla="*/ 528 h 528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769" h="528">
                  <a:moveTo>
                    <a:pt x="142" y="492"/>
                  </a:moveTo>
                  <a:lnTo>
                    <a:pt x="139" y="493"/>
                  </a:lnTo>
                  <a:lnTo>
                    <a:pt x="253" y="412"/>
                  </a:lnTo>
                  <a:cubicBezTo>
                    <a:pt x="255" y="410"/>
                    <a:pt x="259" y="410"/>
                    <a:pt x="261" y="411"/>
                  </a:cubicBezTo>
                  <a:lnTo>
                    <a:pt x="329" y="452"/>
                  </a:lnTo>
                  <a:lnTo>
                    <a:pt x="327" y="451"/>
                  </a:lnTo>
                  <a:lnTo>
                    <a:pt x="419" y="472"/>
                  </a:lnTo>
                  <a:lnTo>
                    <a:pt x="410" y="476"/>
                  </a:lnTo>
                  <a:lnTo>
                    <a:pt x="456" y="394"/>
                  </a:lnTo>
                  <a:cubicBezTo>
                    <a:pt x="457" y="392"/>
                    <a:pt x="459" y="390"/>
                    <a:pt x="461" y="390"/>
                  </a:cubicBezTo>
                  <a:lnTo>
                    <a:pt x="553" y="369"/>
                  </a:lnTo>
                  <a:lnTo>
                    <a:pt x="547" y="377"/>
                  </a:lnTo>
                  <a:lnTo>
                    <a:pt x="547" y="275"/>
                  </a:lnTo>
                  <a:cubicBezTo>
                    <a:pt x="547" y="273"/>
                    <a:pt x="548" y="271"/>
                    <a:pt x="549" y="269"/>
                  </a:cubicBezTo>
                  <a:lnTo>
                    <a:pt x="638" y="167"/>
                  </a:lnTo>
                  <a:cubicBezTo>
                    <a:pt x="639" y="166"/>
                    <a:pt x="640" y="165"/>
                    <a:pt x="641" y="165"/>
                  </a:cubicBezTo>
                  <a:lnTo>
                    <a:pt x="758" y="124"/>
                  </a:lnTo>
                  <a:lnTo>
                    <a:pt x="755" y="137"/>
                  </a:lnTo>
                  <a:lnTo>
                    <a:pt x="638" y="14"/>
                  </a:lnTo>
                  <a:lnTo>
                    <a:pt x="650" y="14"/>
                  </a:lnTo>
                  <a:lnTo>
                    <a:pt x="628" y="35"/>
                  </a:lnTo>
                  <a:lnTo>
                    <a:pt x="631" y="29"/>
                  </a:lnTo>
                  <a:lnTo>
                    <a:pt x="631" y="90"/>
                  </a:lnTo>
                  <a:cubicBezTo>
                    <a:pt x="631" y="94"/>
                    <a:pt x="628" y="98"/>
                    <a:pt x="624" y="98"/>
                  </a:cubicBezTo>
                  <a:lnTo>
                    <a:pt x="510" y="119"/>
                  </a:lnTo>
                  <a:cubicBezTo>
                    <a:pt x="510" y="119"/>
                    <a:pt x="509" y="119"/>
                    <a:pt x="509" y="119"/>
                  </a:cubicBezTo>
                  <a:lnTo>
                    <a:pt x="371" y="119"/>
                  </a:lnTo>
                  <a:lnTo>
                    <a:pt x="375" y="117"/>
                  </a:lnTo>
                  <a:lnTo>
                    <a:pt x="286" y="179"/>
                  </a:lnTo>
                  <a:cubicBezTo>
                    <a:pt x="285" y="180"/>
                    <a:pt x="283" y="180"/>
                    <a:pt x="282" y="180"/>
                  </a:cubicBezTo>
                  <a:lnTo>
                    <a:pt x="122" y="180"/>
                  </a:lnTo>
                  <a:lnTo>
                    <a:pt x="124" y="180"/>
                  </a:lnTo>
                  <a:lnTo>
                    <a:pt x="32" y="201"/>
                  </a:lnTo>
                  <a:lnTo>
                    <a:pt x="38" y="195"/>
                  </a:lnTo>
                  <a:lnTo>
                    <a:pt x="16" y="257"/>
                  </a:lnTo>
                  <a:lnTo>
                    <a:pt x="16" y="253"/>
                  </a:lnTo>
                  <a:lnTo>
                    <a:pt x="38" y="396"/>
                  </a:lnTo>
                  <a:cubicBezTo>
                    <a:pt x="38" y="399"/>
                    <a:pt x="38" y="402"/>
                    <a:pt x="36" y="403"/>
                  </a:cubicBezTo>
                  <a:lnTo>
                    <a:pt x="14" y="424"/>
                  </a:lnTo>
                  <a:lnTo>
                    <a:pt x="6" y="410"/>
                  </a:lnTo>
                  <a:lnTo>
                    <a:pt x="74" y="390"/>
                  </a:lnTo>
                  <a:cubicBezTo>
                    <a:pt x="77" y="389"/>
                    <a:pt x="81" y="390"/>
                    <a:pt x="83" y="393"/>
                  </a:cubicBezTo>
                  <a:cubicBezTo>
                    <a:pt x="85" y="396"/>
                    <a:pt x="85" y="400"/>
                    <a:pt x="83" y="402"/>
                  </a:cubicBezTo>
                  <a:lnTo>
                    <a:pt x="37" y="464"/>
                  </a:lnTo>
                  <a:lnTo>
                    <a:pt x="38" y="459"/>
                  </a:lnTo>
                  <a:lnTo>
                    <a:pt x="38" y="520"/>
                  </a:lnTo>
                  <a:lnTo>
                    <a:pt x="30" y="512"/>
                  </a:lnTo>
                  <a:lnTo>
                    <a:pt x="52" y="512"/>
                  </a:lnTo>
                  <a:lnTo>
                    <a:pt x="50" y="513"/>
                  </a:lnTo>
                  <a:lnTo>
                    <a:pt x="142" y="492"/>
                  </a:lnTo>
                  <a:close/>
                  <a:moveTo>
                    <a:pt x="53" y="528"/>
                  </a:moveTo>
                  <a:cubicBezTo>
                    <a:pt x="53" y="528"/>
                    <a:pt x="52" y="528"/>
                    <a:pt x="52" y="528"/>
                  </a:cubicBezTo>
                  <a:lnTo>
                    <a:pt x="30" y="528"/>
                  </a:lnTo>
                  <a:cubicBezTo>
                    <a:pt x="26" y="528"/>
                    <a:pt x="22" y="525"/>
                    <a:pt x="22" y="520"/>
                  </a:cubicBezTo>
                  <a:lnTo>
                    <a:pt x="22" y="459"/>
                  </a:lnTo>
                  <a:cubicBezTo>
                    <a:pt x="22" y="457"/>
                    <a:pt x="23" y="456"/>
                    <a:pt x="24" y="454"/>
                  </a:cubicBezTo>
                  <a:lnTo>
                    <a:pt x="70" y="393"/>
                  </a:lnTo>
                  <a:lnTo>
                    <a:pt x="78" y="405"/>
                  </a:lnTo>
                  <a:lnTo>
                    <a:pt x="11" y="426"/>
                  </a:lnTo>
                  <a:cubicBezTo>
                    <a:pt x="7" y="427"/>
                    <a:pt x="3" y="425"/>
                    <a:pt x="2" y="422"/>
                  </a:cubicBezTo>
                  <a:cubicBezTo>
                    <a:pt x="0" y="419"/>
                    <a:pt x="0" y="415"/>
                    <a:pt x="3" y="412"/>
                  </a:cubicBezTo>
                  <a:lnTo>
                    <a:pt x="25" y="392"/>
                  </a:lnTo>
                  <a:lnTo>
                    <a:pt x="22" y="399"/>
                  </a:lnTo>
                  <a:lnTo>
                    <a:pt x="1" y="255"/>
                  </a:lnTo>
                  <a:cubicBezTo>
                    <a:pt x="0" y="254"/>
                    <a:pt x="0" y="253"/>
                    <a:pt x="1" y="252"/>
                  </a:cubicBezTo>
                  <a:lnTo>
                    <a:pt x="23" y="190"/>
                  </a:lnTo>
                  <a:cubicBezTo>
                    <a:pt x="23" y="188"/>
                    <a:pt x="26" y="186"/>
                    <a:pt x="28" y="185"/>
                  </a:cubicBezTo>
                  <a:lnTo>
                    <a:pt x="120" y="164"/>
                  </a:lnTo>
                  <a:cubicBezTo>
                    <a:pt x="121" y="164"/>
                    <a:pt x="121" y="164"/>
                    <a:pt x="122" y="164"/>
                  </a:cubicBezTo>
                  <a:lnTo>
                    <a:pt x="282" y="164"/>
                  </a:lnTo>
                  <a:lnTo>
                    <a:pt x="277" y="166"/>
                  </a:lnTo>
                  <a:lnTo>
                    <a:pt x="366" y="104"/>
                  </a:lnTo>
                  <a:cubicBezTo>
                    <a:pt x="368" y="103"/>
                    <a:pt x="369" y="103"/>
                    <a:pt x="371" y="103"/>
                  </a:cubicBezTo>
                  <a:lnTo>
                    <a:pt x="509" y="103"/>
                  </a:lnTo>
                  <a:lnTo>
                    <a:pt x="507" y="103"/>
                  </a:lnTo>
                  <a:lnTo>
                    <a:pt x="621" y="83"/>
                  </a:lnTo>
                  <a:lnTo>
                    <a:pt x="614" y="90"/>
                  </a:lnTo>
                  <a:lnTo>
                    <a:pt x="614" y="29"/>
                  </a:lnTo>
                  <a:cubicBezTo>
                    <a:pt x="614" y="27"/>
                    <a:pt x="615" y="25"/>
                    <a:pt x="617" y="23"/>
                  </a:cubicBezTo>
                  <a:lnTo>
                    <a:pt x="639" y="3"/>
                  </a:lnTo>
                  <a:cubicBezTo>
                    <a:pt x="642" y="0"/>
                    <a:pt x="647" y="0"/>
                    <a:pt x="650" y="3"/>
                  </a:cubicBezTo>
                  <a:lnTo>
                    <a:pt x="766" y="126"/>
                  </a:lnTo>
                  <a:cubicBezTo>
                    <a:pt x="768" y="128"/>
                    <a:pt x="769" y="131"/>
                    <a:pt x="768" y="133"/>
                  </a:cubicBezTo>
                  <a:cubicBezTo>
                    <a:pt x="768" y="136"/>
                    <a:pt x="766" y="138"/>
                    <a:pt x="763" y="139"/>
                  </a:cubicBezTo>
                  <a:lnTo>
                    <a:pt x="647" y="180"/>
                  </a:lnTo>
                  <a:lnTo>
                    <a:pt x="650" y="178"/>
                  </a:lnTo>
                  <a:lnTo>
                    <a:pt x="561" y="280"/>
                  </a:lnTo>
                  <a:lnTo>
                    <a:pt x="563" y="275"/>
                  </a:lnTo>
                  <a:lnTo>
                    <a:pt x="563" y="377"/>
                  </a:lnTo>
                  <a:cubicBezTo>
                    <a:pt x="563" y="381"/>
                    <a:pt x="560" y="384"/>
                    <a:pt x="557" y="385"/>
                  </a:cubicBezTo>
                  <a:lnTo>
                    <a:pt x="465" y="405"/>
                  </a:lnTo>
                  <a:lnTo>
                    <a:pt x="470" y="402"/>
                  </a:lnTo>
                  <a:lnTo>
                    <a:pt x="424" y="483"/>
                  </a:lnTo>
                  <a:cubicBezTo>
                    <a:pt x="422" y="487"/>
                    <a:pt x="419" y="488"/>
                    <a:pt x="415" y="487"/>
                  </a:cubicBezTo>
                  <a:lnTo>
                    <a:pt x="323" y="467"/>
                  </a:lnTo>
                  <a:cubicBezTo>
                    <a:pt x="322" y="467"/>
                    <a:pt x="322" y="466"/>
                    <a:pt x="321" y="466"/>
                  </a:cubicBezTo>
                  <a:lnTo>
                    <a:pt x="253" y="425"/>
                  </a:lnTo>
                  <a:lnTo>
                    <a:pt x="262" y="425"/>
                  </a:lnTo>
                  <a:lnTo>
                    <a:pt x="148" y="506"/>
                  </a:lnTo>
                  <a:cubicBezTo>
                    <a:pt x="148" y="507"/>
                    <a:pt x="147" y="508"/>
                    <a:pt x="145" y="508"/>
                  </a:cubicBezTo>
                  <a:lnTo>
                    <a:pt x="53" y="528"/>
                  </a:lnTo>
                  <a:close/>
                </a:path>
              </a:pathLst>
            </a:custGeom>
            <a:solidFill>
              <a:srgbClr val="000000"/>
            </a:solidFill>
            <a:ln w="0" cap="flat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199" name="Freeform 166"/>
            <p:cNvSpPr>
              <a:spLocks/>
            </p:cNvSpPr>
            <p:nvPr/>
          </p:nvSpPr>
          <p:spPr bwMode="auto">
            <a:xfrm>
              <a:off x="3846" y="2455"/>
              <a:ext cx="360" cy="251"/>
            </a:xfrm>
            <a:custGeom>
              <a:avLst/>
              <a:gdLst>
                <a:gd name="T0" fmla="*/ 446 w 342"/>
                <a:gd name="T1" fmla="*/ 372 h 239"/>
                <a:gd name="T2" fmla="*/ 437 w 342"/>
                <a:gd name="T3" fmla="*/ 355 h 239"/>
                <a:gd name="T4" fmla="*/ 398 w 342"/>
                <a:gd name="T5" fmla="*/ 338 h 239"/>
                <a:gd name="T6" fmla="*/ 372 w 342"/>
                <a:gd name="T7" fmla="*/ 306 h 239"/>
                <a:gd name="T8" fmla="*/ 311 w 342"/>
                <a:gd name="T9" fmla="*/ 273 h 239"/>
                <a:gd name="T10" fmla="*/ 274 w 342"/>
                <a:gd name="T11" fmla="*/ 224 h 239"/>
                <a:gd name="T12" fmla="*/ 235 w 342"/>
                <a:gd name="T13" fmla="*/ 207 h 239"/>
                <a:gd name="T14" fmla="*/ 253 w 342"/>
                <a:gd name="T15" fmla="*/ 156 h 239"/>
                <a:gd name="T16" fmla="*/ 274 w 342"/>
                <a:gd name="T17" fmla="*/ 156 h 239"/>
                <a:gd name="T18" fmla="*/ 311 w 342"/>
                <a:gd name="T19" fmla="*/ 175 h 239"/>
                <a:gd name="T20" fmla="*/ 320 w 342"/>
                <a:gd name="T21" fmla="*/ 149 h 239"/>
                <a:gd name="T22" fmla="*/ 360 w 342"/>
                <a:gd name="T23" fmla="*/ 141 h 239"/>
                <a:gd name="T24" fmla="*/ 412 w 342"/>
                <a:gd name="T25" fmla="*/ 149 h 239"/>
                <a:gd name="T26" fmla="*/ 465 w 342"/>
                <a:gd name="T27" fmla="*/ 156 h 239"/>
                <a:gd name="T28" fmla="*/ 507 w 342"/>
                <a:gd name="T29" fmla="*/ 149 h 239"/>
                <a:gd name="T30" fmla="*/ 542 w 342"/>
                <a:gd name="T31" fmla="*/ 156 h 239"/>
                <a:gd name="T32" fmla="*/ 603 w 342"/>
                <a:gd name="T33" fmla="*/ 167 h 239"/>
                <a:gd name="T34" fmla="*/ 603 w 342"/>
                <a:gd name="T35" fmla="*/ 131 h 239"/>
                <a:gd name="T36" fmla="*/ 633 w 342"/>
                <a:gd name="T37" fmla="*/ 124 h 239"/>
                <a:gd name="T38" fmla="*/ 603 w 342"/>
                <a:gd name="T39" fmla="*/ 116 h 239"/>
                <a:gd name="T40" fmla="*/ 573 w 342"/>
                <a:gd name="T41" fmla="*/ 83 h 239"/>
                <a:gd name="T42" fmla="*/ 552 w 342"/>
                <a:gd name="T43" fmla="*/ 48 h 239"/>
                <a:gd name="T44" fmla="*/ 487 w 342"/>
                <a:gd name="T45" fmla="*/ 72 h 239"/>
                <a:gd name="T46" fmla="*/ 446 w 342"/>
                <a:gd name="T47" fmla="*/ 72 h 239"/>
                <a:gd name="T48" fmla="*/ 437 w 342"/>
                <a:gd name="T49" fmla="*/ 48 h 239"/>
                <a:gd name="T50" fmla="*/ 398 w 342"/>
                <a:gd name="T51" fmla="*/ 59 h 239"/>
                <a:gd name="T52" fmla="*/ 372 w 342"/>
                <a:gd name="T53" fmla="*/ 40 h 239"/>
                <a:gd name="T54" fmla="*/ 341 w 342"/>
                <a:gd name="T55" fmla="*/ 9 h 239"/>
                <a:gd name="T56" fmla="*/ 303 w 342"/>
                <a:gd name="T57" fmla="*/ 0 h 239"/>
                <a:gd name="T58" fmla="*/ 262 w 342"/>
                <a:gd name="T59" fmla="*/ 4 h 239"/>
                <a:gd name="T60" fmla="*/ 224 w 342"/>
                <a:gd name="T61" fmla="*/ 48 h 239"/>
                <a:gd name="T62" fmla="*/ 224 w 342"/>
                <a:gd name="T63" fmla="*/ 91 h 239"/>
                <a:gd name="T64" fmla="*/ 185 w 342"/>
                <a:gd name="T65" fmla="*/ 100 h 239"/>
                <a:gd name="T66" fmla="*/ 164 w 342"/>
                <a:gd name="T67" fmla="*/ 131 h 239"/>
                <a:gd name="T68" fmla="*/ 126 w 342"/>
                <a:gd name="T69" fmla="*/ 124 h 239"/>
                <a:gd name="T70" fmla="*/ 97 w 342"/>
                <a:gd name="T71" fmla="*/ 107 h 239"/>
                <a:gd name="T72" fmla="*/ 47 w 342"/>
                <a:gd name="T73" fmla="*/ 141 h 239"/>
                <a:gd name="T74" fmla="*/ 5 w 342"/>
                <a:gd name="T75" fmla="*/ 149 h 239"/>
                <a:gd name="T76" fmla="*/ 0 w 342"/>
                <a:gd name="T77" fmla="*/ 149 h 239"/>
                <a:gd name="T78" fmla="*/ 0 w 342"/>
                <a:gd name="T79" fmla="*/ 156 h 239"/>
                <a:gd name="T80" fmla="*/ 37 w 342"/>
                <a:gd name="T81" fmla="*/ 224 h 239"/>
                <a:gd name="T82" fmla="*/ 97 w 342"/>
                <a:gd name="T83" fmla="*/ 156 h 239"/>
                <a:gd name="T84" fmla="*/ 97 w 342"/>
                <a:gd name="T85" fmla="*/ 224 h 239"/>
                <a:gd name="T86" fmla="*/ 146 w 342"/>
                <a:gd name="T87" fmla="*/ 198 h 239"/>
                <a:gd name="T88" fmla="*/ 146 w 342"/>
                <a:gd name="T89" fmla="*/ 248 h 239"/>
                <a:gd name="T90" fmla="*/ 203 w 342"/>
                <a:gd name="T91" fmla="*/ 273 h 239"/>
                <a:gd name="T92" fmla="*/ 185 w 342"/>
                <a:gd name="T93" fmla="*/ 284 h 239"/>
                <a:gd name="T94" fmla="*/ 253 w 342"/>
                <a:gd name="T95" fmla="*/ 322 h 239"/>
                <a:gd name="T96" fmla="*/ 262 w 342"/>
                <a:gd name="T97" fmla="*/ 348 h 239"/>
                <a:gd name="T98" fmla="*/ 293 w 342"/>
                <a:gd name="T99" fmla="*/ 365 h 239"/>
                <a:gd name="T100" fmla="*/ 360 w 342"/>
                <a:gd name="T101" fmla="*/ 372 h 239"/>
                <a:gd name="T102" fmla="*/ 426 w 342"/>
                <a:gd name="T103" fmla="*/ 398 h 239"/>
                <a:gd name="T104" fmla="*/ 360 w 342"/>
                <a:gd name="T105" fmla="*/ 409 h 239"/>
                <a:gd name="T106" fmla="*/ 481 w 342"/>
                <a:gd name="T107" fmla="*/ 432 h 239"/>
                <a:gd name="T108" fmla="*/ 481 w 342"/>
                <a:gd name="T109" fmla="*/ 398 h 239"/>
                <a:gd name="T110" fmla="*/ 446 w 342"/>
                <a:gd name="T111" fmla="*/ 372 h 239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342"/>
                <a:gd name="T169" fmla="*/ 0 h 239"/>
                <a:gd name="T170" fmla="*/ 342 w 342"/>
                <a:gd name="T171" fmla="*/ 239 h 239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342" h="239">
                  <a:moveTo>
                    <a:pt x="242" y="207"/>
                  </a:moveTo>
                  <a:lnTo>
                    <a:pt x="236" y="198"/>
                  </a:lnTo>
                  <a:lnTo>
                    <a:pt x="215" y="189"/>
                  </a:lnTo>
                  <a:lnTo>
                    <a:pt x="200" y="170"/>
                  </a:lnTo>
                  <a:lnTo>
                    <a:pt x="168" y="152"/>
                  </a:lnTo>
                  <a:lnTo>
                    <a:pt x="147" y="124"/>
                  </a:lnTo>
                  <a:lnTo>
                    <a:pt x="126" y="115"/>
                  </a:lnTo>
                  <a:lnTo>
                    <a:pt x="137" y="87"/>
                  </a:lnTo>
                  <a:lnTo>
                    <a:pt x="147" y="87"/>
                  </a:lnTo>
                  <a:lnTo>
                    <a:pt x="168" y="97"/>
                  </a:lnTo>
                  <a:lnTo>
                    <a:pt x="173" y="83"/>
                  </a:lnTo>
                  <a:lnTo>
                    <a:pt x="195" y="78"/>
                  </a:lnTo>
                  <a:lnTo>
                    <a:pt x="221" y="83"/>
                  </a:lnTo>
                  <a:lnTo>
                    <a:pt x="252" y="87"/>
                  </a:lnTo>
                  <a:lnTo>
                    <a:pt x="273" y="83"/>
                  </a:lnTo>
                  <a:lnTo>
                    <a:pt x="294" y="87"/>
                  </a:lnTo>
                  <a:lnTo>
                    <a:pt x="326" y="92"/>
                  </a:lnTo>
                  <a:lnTo>
                    <a:pt x="326" y="73"/>
                  </a:lnTo>
                  <a:lnTo>
                    <a:pt x="342" y="69"/>
                  </a:lnTo>
                  <a:lnTo>
                    <a:pt x="326" y="64"/>
                  </a:lnTo>
                  <a:lnTo>
                    <a:pt x="310" y="46"/>
                  </a:lnTo>
                  <a:lnTo>
                    <a:pt x="299" y="27"/>
                  </a:lnTo>
                  <a:lnTo>
                    <a:pt x="263" y="41"/>
                  </a:lnTo>
                  <a:lnTo>
                    <a:pt x="242" y="41"/>
                  </a:lnTo>
                  <a:lnTo>
                    <a:pt x="236" y="27"/>
                  </a:lnTo>
                  <a:lnTo>
                    <a:pt x="215" y="32"/>
                  </a:lnTo>
                  <a:lnTo>
                    <a:pt x="200" y="23"/>
                  </a:lnTo>
                  <a:lnTo>
                    <a:pt x="184" y="9"/>
                  </a:lnTo>
                  <a:lnTo>
                    <a:pt x="163" y="0"/>
                  </a:lnTo>
                  <a:lnTo>
                    <a:pt x="142" y="4"/>
                  </a:lnTo>
                  <a:lnTo>
                    <a:pt x="121" y="27"/>
                  </a:lnTo>
                  <a:lnTo>
                    <a:pt x="121" y="50"/>
                  </a:lnTo>
                  <a:lnTo>
                    <a:pt x="100" y="55"/>
                  </a:lnTo>
                  <a:lnTo>
                    <a:pt x="89" y="73"/>
                  </a:lnTo>
                  <a:lnTo>
                    <a:pt x="68" y="69"/>
                  </a:lnTo>
                  <a:lnTo>
                    <a:pt x="52" y="60"/>
                  </a:lnTo>
                  <a:lnTo>
                    <a:pt x="26" y="78"/>
                  </a:lnTo>
                  <a:lnTo>
                    <a:pt x="5" y="83"/>
                  </a:lnTo>
                  <a:lnTo>
                    <a:pt x="0" y="83"/>
                  </a:lnTo>
                  <a:lnTo>
                    <a:pt x="0" y="87"/>
                  </a:lnTo>
                  <a:lnTo>
                    <a:pt x="21" y="124"/>
                  </a:lnTo>
                  <a:lnTo>
                    <a:pt x="52" y="87"/>
                  </a:lnTo>
                  <a:lnTo>
                    <a:pt x="52" y="124"/>
                  </a:lnTo>
                  <a:lnTo>
                    <a:pt x="79" y="110"/>
                  </a:lnTo>
                  <a:lnTo>
                    <a:pt x="79" y="138"/>
                  </a:lnTo>
                  <a:lnTo>
                    <a:pt x="110" y="152"/>
                  </a:lnTo>
                  <a:lnTo>
                    <a:pt x="100" y="157"/>
                  </a:lnTo>
                  <a:lnTo>
                    <a:pt x="137" y="180"/>
                  </a:lnTo>
                  <a:lnTo>
                    <a:pt x="142" y="193"/>
                  </a:lnTo>
                  <a:lnTo>
                    <a:pt x="158" y="203"/>
                  </a:lnTo>
                  <a:lnTo>
                    <a:pt x="195" y="207"/>
                  </a:lnTo>
                  <a:lnTo>
                    <a:pt x="231" y="221"/>
                  </a:lnTo>
                  <a:lnTo>
                    <a:pt x="195" y="226"/>
                  </a:lnTo>
                  <a:lnTo>
                    <a:pt x="258" y="239"/>
                  </a:lnTo>
                  <a:lnTo>
                    <a:pt x="258" y="221"/>
                  </a:lnTo>
                  <a:lnTo>
                    <a:pt x="242" y="207"/>
                  </a:lnTo>
                  <a:close/>
                </a:path>
              </a:pathLst>
            </a:custGeom>
            <a:solidFill>
              <a:srgbClr val="92D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cs-CZ"/>
            </a:p>
          </p:txBody>
        </p:sp>
        <p:sp>
          <p:nvSpPr>
            <p:cNvPr id="7200" name="Freeform 167"/>
            <p:cNvSpPr>
              <a:spLocks noEditPoints="1"/>
            </p:cNvSpPr>
            <p:nvPr/>
          </p:nvSpPr>
          <p:spPr bwMode="auto">
            <a:xfrm>
              <a:off x="3844" y="2453"/>
              <a:ext cx="363" cy="256"/>
            </a:xfrm>
            <a:custGeom>
              <a:avLst/>
              <a:gdLst>
                <a:gd name="T0" fmla="*/ 0 w 1520"/>
                <a:gd name="T1" fmla="*/ 0 h 1073"/>
                <a:gd name="T2" fmla="*/ 0 w 1520"/>
                <a:gd name="T3" fmla="*/ 0 h 1073"/>
                <a:gd name="T4" fmla="*/ 0 w 1520"/>
                <a:gd name="T5" fmla="*/ 0 h 1073"/>
                <a:gd name="T6" fmla="*/ 0 w 1520"/>
                <a:gd name="T7" fmla="*/ 0 h 1073"/>
                <a:gd name="T8" fmla="*/ 0 w 1520"/>
                <a:gd name="T9" fmla="*/ 0 h 1073"/>
                <a:gd name="T10" fmla="*/ 0 w 1520"/>
                <a:gd name="T11" fmla="*/ 0 h 1073"/>
                <a:gd name="T12" fmla="*/ 0 w 1520"/>
                <a:gd name="T13" fmla="*/ 0 h 1073"/>
                <a:gd name="T14" fmla="*/ 0 w 1520"/>
                <a:gd name="T15" fmla="*/ 0 h 1073"/>
                <a:gd name="T16" fmla="*/ 0 w 1520"/>
                <a:gd name="T17" fmla="*/ 0 h 1073"/>
                <a:gd name="T18" fmla="*/ 0 w 1520"/>
                <a:gd name="T19" fmla="*/ 0 h 1073"/>
                <a:gd name="T20" fmla="*/ 0 w 1520"/>
                <a:gd name="T21" fmla="*/ 0 h 1073"/>
                <a:gd name="T22" fmla="*/ 0 w 1520"/>
                <a:gd name="T23" fmla="*/ 0 h 1073"/>
                <a:gd name="T24" fmla="*/ 0 w 1520"/>
                <a:gd name="T25" fmla="*/ 0 h 1073"/>
                <a:gd name="T26" fmla="*/ 0 w 1520"/>
                <a:gd name="T27" fmla="*/ 0 h 1073"/>
                <a:gd name="T28" fmla="*/ 0 w 1520"/>
                <a:gd name="T29" fmla="*/ 0 h 1073"/>
                <a:gd name="T30" fmla="*/ 0 w 1520"/>
                <a:gd name="T31" fmla="*/ 0 h 1073"/>
                <a:gd name="T32" fmla="*/ 0 w 1520"/>
                <a:gd name="T33" fmla="*/ 0 h 1073"/>
                <a:gd name="T34" fmla="*/ 0 w 1520"/>
                <a:gd name="T35" fmla="*/ 0 h 1073"/>
                <a:gd name="T36" fmla="*/ 0 w 1520"/>
                <a:gd name="T37" fmla="*/ 0 h 1073"/>
                <a:gd name="T38" fmla="*/ 0 w 1520"/>
                <a:gd name="T39" fmla="*/ 0 h 1073"/>
                <a:gd name="T40" fmla="*/ 0 w 1520"/>
                <a:gd name="T41" fmla="*/ 0 h 1073"/>
                <a:gd name="T42" fmla="*/ 0 w 1520"/>
                <a:gd name="T43" fmla="*/ 0 h 1073"/>
                <a:gd name="T44" fmla="*/ 0 w 1520"/>
                <a:gd name="T45" fmla="*/ 0 h 1073"/>
                <a:gd name="T46" fmla="*/ 0 w 1520"/>
                <a:gd name="T47" fmla="*/ 0 h 1073"/>
                <a:gd name="T48" fmla="*/ 0 w 1520"/>
                <a:gd name="T49" fmla="*/ 0 h 1073"/>
                <a:gd name="T50" fmla="*/ 0 w 1520"/>
                <a:gd name="T51" fmla="*/ 0 h 1073"/>
                <a:gd name="T52" fmla="*/ 0 w 1520"/>
                <a:gd name="T53" fmla="*/ 0 h 1073"/>
                <a:gd name="T54" fmla="*/ 0 w 1520"/>
                <a:gd name="T55" fmla="*/ 0 h 1073"/>
                <a:gd name="T56" fmla="*/ 0 w 1520"/>
                <a:gd name="T57" fmla="*/ 0 h 1073"/>
                <a:gd name="T58" fmla="*/ 0 w 1520"/>
                <a:gd name="T59" fmla="*/ 0 h 1073"/>
                <a:gd name="T60" fmla="*/ 0 w 1520"/>
                <a:gd name="T61" fmla="*/ 0 h 1073"/>
                <a:gd name="T62" fmla="*/ 0 w 1520"/>
                <a:gd name="T63" fmla="*/ 0 h 1073"/>
                <a:gd name="T64" fmla="*/ 0 w 1520"/>
                <a:gd name="T65" fmla="*/ 0 h 1073"/>
                <a:gd name="T66" fmla="*/ 0 w 1520"/>
                <a:gd name="T67" fmla="*/ 0 h 1073"/>
                <a:gd name="T68" fmla="*/ 0 w 1520"/>
                <a:gd name="T69" fmla="*/ 0 h 1073"/>
                <a:gd name="T70" fmla="*/ 0 w 1520"/>
                <a:gd name="T71" fmla="*/ 0 h 1073"/>
                <a:gd name="T72" fmla="*/ 0 w 1520"/>
                <a:gd name="T73" fmla="*/ 0 h 1073"/>
                <a:gd name="T74" fmla="*/ 0 w 1520"/>
                <a:gd name="T75" fmla="*/ 0 h 1073"/>
                <a:gd name="T76" fmla="*/ 0 w 1520"/>
                <a:gd name="T77" fmla="*/ 0 h 1073"/>
                <a:gd name="T78" fmla="*/ 0 w 1520"/>
                <a:gd name="T79" fmla="*/ 0 h 1073"/>
                <a:gd name="T80" fmla="*/ 0 w 1520"/>
                <a:gd name="T81" fmla="*/ 0 h 1073"/>
                <a:gd name="T82" fmla="*/ 0 w 1520"/>
                <a:gd name="T83" fmla="*/ 0 h 1073"/>
                <a:gd name="T84" fmla="*/ 0 w 1520"/>
                <a:gd name="T85" fmla="*/ 0 h 1073"/>
                <a:gd name="T86" fmla="*/ 0 w 1520"/>
                <a:gd name="T87" fmla="*/ 0 h 1073"/>
                <a:gd name="T88" fmla="*/ 0 w 1520"/>
                <a:gd name="T89" fmla="*/ 0 h 1073"/>
                <a:gd name="T90" fmla="*/ 0 w 1520"/>
                <a:gd name="T91" fmla="*/ 0 h 1073"/>
                <a:gd name="T92" fmla="*/ 0 w 1520"/>
                <a:gd name="T93" fmla="*/ 0 h 1073"/>
                <a:gd name="T94" fmla="*/ 0 w 1520"/>
                <a:gd name="T95" fmla="*/ 0 h 1073"/>
                <a:gd name="T96" fmla="*/ 0 w 1520"/>
                <a:gd name="T97" fmla="*/ 0 h 1073"/>
                <a:gd name="T98" fmla="*/ 0 w 1520"/>
                <a:gd name="T99" fmla="*/ 0 h 1073"/>
                <a:gd name="T100" fmla="*/ 0 w 1520"/>
                <a:gd name="T101" fmla="*/ 0 h 1073"/>
                <a:gd name="T102" fmla="*/ 0 w 1520"/>
                <a:gd name="T103" fmla="*/ 0 h 1073"/>
                <a:gd name="T104" fmla="*/ 0 w 1520"/>
                <a:gd name="T105" fmla="*/ 0 h 1073"/>
                <a:gd name="T106" fmla="*/ 0 w 1520"/>
                <a:gd name="T107" fmla="*/ 0 h 1073"/>
                <a:gd name="T108" fmla="*/ 0 w 1520"/>
                <a:gd name="T109" fmla="*/ 0 h 1073"/>
                <a:gd name="T110" fmla="*/ 0 w 1520"/>
                <a:gd name="T111" fmla="*/ 0 h 1073"/>
                <a:gd name="T112" fmla="*/ 0 w 1520"/>
                <a:gd name="T113" fmla="*/ 0 h 1073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520"/>
                <a:gd name="T172" fmla="*/ 0 h 1073"/>
                <a:gd name="T173" fmla="*/ 1520 w 1520"/>
                <a:gd name="T174" fmla="*/ 1073 h 1073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520" h="1073">
                  <a:moveTo>
                    <a:pt x="1068" y="928"/>
                  </a:moveTo>
                  <a:cubicBezTo>
                    <a:pt x="1067" y="928"/>
                    <a:pt x="1067" y="927"/>
                    <a:pt x="1066" y="926"/>
                  </a:cubicBezTo>
                  <a:lnTo>
                    <a:pt x="1042" y="886"/>
                  </a:lnTo>
                  <a:lnTo>
                    <a:pt x="1045" y="889"/>
                  </a:lnTo>
                  <a:lnTo>
                    <a:pt x="952" y="848"/>
                  </a:lnTo>
                  <a:cubicBezTo>
                    <a:pt x="951" y="848"/>
                    <a:pt x="950" y="847"/>
                    <a:pt x="949" y="846"/>
                  </a:cubicBezTo>
                  <a:lnTo>
                    <a:pt x="881" y="765"/>
                  </a:lnTo>
                  <a:lnTo>
                    <a:pt x="883" y="767"/>
                  </a:lnTo>
                  <a:lnTo>
                    <a:pt x="745" y="686"/>
                  </a:lnTo>
                  <a:cubicBezTo>
                    <a:pt x="745" y="685"/>
                    <a:pt x="744" y="684"/>
                    <a:pt x="743" y="683"/>
                  </a:cubicBezTo>
                  <a:lnTo>
                    <a:pt x="650" y="562"/>
                  </a:lnTo>
                  <a:lnTo>
                    <a:pt x="653" y="564"/>
                  </a:lnTo>
                  <a:lnTo>
                    <a:pt x="560" y="524"/>
                  </a:lnTo>
                  <a:cubicBezTo>
                    <a:pt x="556" y="522"/>
                    <a:pt x="554" y="517"/>
                    <a:pt x="555" y="513"/>
                  </a:cubicBezTo>
                  <a:lnTo>
                    <a:pt x="602" y="391"/>
                  </a:lnTo>
                  <a:cubicBezTo>
                    <a:pt x="603" y="388"/>
                    <a:pt x="606" y="386"/>
                    <a:pt x="610" y="386"/>
                  </a:cubicBezTo>
                  <a:lnTo>
                    <a:pt x="656" y="386"/>
                  </a:lnTo>
                  <a:cubicBezTo>
                    <a:pt x="657" y="386"/>
                    <a:pt x="658" y="387"/>
                    <a:pt x="659" y="387"/>
                  </a:cubicBezTo>
                  <a:lnTo>
                    <a:pt x="753" y="428"/>
                  </a:lnTo>
                  <a:lnTo>
                    <a:pt x="742" y="432"/>
                  </a:lnTo>
                  <a:lnTo>
                    <a:pt x="764" y="371"/>
                  </a:lnTo>
                  <a:cubicBezTo>
                    <a:pt x="765" y="369"/>
                    <a:pt x="767" y="367"/>
                    <a:pt x="770" y="366"/>
                  </a:cubicBezTo>
                  <a:lnTo>
                    <a:pt x="863" y="346"/>
                  </a:lnTo>
                  <a:cubicBezTo>
                    <a:pt x="864" y="346"/>
                    <a:pt x="865" y="346"/>
                    <a:pt x="866" y="346"/>
                  </a:cubicBezTo>
                  <a:lnTo>
                    <a:pt x="981" y="366"/>
                  </a:lnTo>
                  <a:lnTo>
                    <a:pt x="1118" y="386"/>
                  </a:lnTo>
                  <a:lnTo>
                    <a:pt x="1116" y="386"/>
                  </a:lnTo>
                  <a:lnTo>
                    <a:pt x="1209" y="366"/>
                  </a:lnTo>
                  <a:cubicBezTo>
                    <a:pt x="1210" y="366"/>
                    <a:pt x="1211" y="366"/>
                    <a:pt x="1212" y="366"/>
                  </a:cubicBezTo>
                  <a:lnTo>
                    <a:pt x="1306" y="386"/>
                  </a:lnTo>
                  <a:lnTo>
                    <a:pt x="1442" y="407"/>
                  </a:lnTo>
                  <a:lnTo>
                    <a:pt x="1433" y="415"/>
                  </a:lnTo>
                  <a:lnTo>
                    <a:pt x="1433" y="333"/>
                  </a:lnTo>
                  <a:cubicBezTo>
                    <a:pt x="1433" y="330"/>
                    <a:pt x="1435" y="327"/>
                    <a:pt x="1439" y="326"/>
                  </a:cubicBezTo>
                  <a:lnTo>
                    <a:pt x="1510" y="305"/>
                  </a:lnTo>
                  <a:lnTo>
                    <a:pt x="1510" y="321"/>
                  </a:lnTo>
                  <a:lnTo>
                    <a:pt x="1439" y="300"/>
                  </a:lnTo>
                  <a:cubicBezTo>
                    <a:pt x="1437" y="300"/>
                    <a:pt x="1436" y="299"/>
                    <a:pt x="1435" y="298"/>
                  </a:cubicBezTo>
                  <a:lnTo>
                    <a:pt x="1366" y="217"/>
                  </a:lnTo>
                  <a:cubicBezTo>
                    <a:pt x="1366" y="216"/>
                    <a:pt x="1366" y="216"/>
                    <a:pt x="1366" y="216"/>
                  </a:cubicBezTo>
                  <a:lnTo>
                    <a:pt x="1319" y="134"/>
                  </a:lnTo>
                  <a:lnTo>
                    <a:pt x="1329" y="138"/>
                  </a:lnTo>
                  <a:lnTo>
                    <a:pt x="1167" y="199"/>
                  </a:lnTo>
                  <a:cubicBezTo>
                    <a:pt x="1166" y="199"/>
                    <a:pt x="1165" y="199"/>
                    <a:pt x="1164" y="199"/>
                  </a:cubicBezTo>
                  <a:lnTo>
                    <a:pt x="1073" y="199"/>
                  </a:lnTo>
                  <a:cubicBezTo>
                    <a:pt x="1070" y="199"/>
                    <a:pt x="1067" y="197"/>
                    <a:pt x="1066" y="194"/>
                  </a:cubicBezTo>
                  <a:lnTo>
                    <a:pt x="1041" y="133"/>
                  </a:lnTo>
                  <a:lnTo>
                    <a:pt x="1050" y="138"/>
                  </a:lnTo>
                  <a:lnTo>
                    <a:pt x="957" y="158"/>
                  </a:lnTo>
                  <a:cubicBezTo>
                    <a:pt x="955" y="159"/>
                    <a:pt x="953" y="159"/>
                    <a:pt x="951" y="158"/>
                  </a:cubicBezTo>
                  <a:lnTo>
                    <a:pt x="883" y="117"/>
                  </a:lnTo>
                  <a:cubicBezTo>
                    <a:pt x="882" y="117"/>
                    <a:pt x="882" y="116"/>
                    <a:pt x="881" y="116"/>
                  </a:cubicBezTo>
                  <a:lnTo>
                    <a:pt x="813" y="55"/>
                  </a:lnTo>
                  <a:lnTo>
                    <a:pt x="815" y="56"/>
                  </a:lnTo>
                  <a:lnTo>
                    <a:pt x="722" y="16"/>
                  </a:lnTo>
                  <a:lnTo>
                    <a:pt x="726" y="16"/>
                  </a:lnTo>
                  <a:lnTo>
                    <a:pt x="633" y="37"/>
                  </a:lnTo>
                  <a:lnTo>
                    <a:pt x="637" y="34"/>
                  </a:lnTo>
                  <a:lnTo>
                    <a:pt x="547" y="136"/>
                  </a:lnTo>
                  <a:lnTo>
                    <a:pt x="549" y="130"/>
                  </a:lnTo>
                  <a:lnTo>
                    <a:pt x="549" y="232"/>
                  </a:lnTo>
                  <a:cubicBezTo>
                    <a:pt x="549" y="236"/>
                    <a:pt x="546" y="239"/>
                    <a:pt x="543" y="240"/>
                  </a:cubicBezTo>
                  <a:lnTo>
                    <a:pt x="449" y="260"/>
                  </a:lnTo>
                  <a:lnTo>
                    <a:pt x="455" y="256"/>
                  </a:lnTo>
                  <a:lnTo>
                    <a:pt x="408" y="337"/>
                  </a:lnTo>
                  <a:cubicBezTo>
                    <a:pt x="406" y="340"/>
                    <a:pt x="403" y="342"/>
                    <a:pt x="399" y="341"/>
                  </a:cubicBezTo>
                  <a:lnTo>
                    <a:pt x="306" y="321"/>
                  </a:lnTo>
                  <a:cubicBezTo>
                    <a:pt x="305" y="321"/>
                    <a:pt x="304" y="320"/>
                    <a:pt x="304" y="320"/>
                  </a:cubicBezTo>
                  <a:lnTo>
                    <a:pt x="235" y="279"/>
                  </a:lnTo>
                  <a:lnTo>
                    <a:pt x="244" y="279"/>
                  </a:lnTo>
                  <a:lnTo>
                    <a:pt x="128" y="360"/>
                  </a:lnTo>
                  <a:cubicBezTo>
                    <a:pt x="127" y="361"/>
                    <a:pt x="126" y="361"/>
                    <a:pt x="125" y="362"/>
                  </a:cubicBezTo>
                  <a:lnTo>
                    <a:pt x="32" y="382"/>
                  </a:lnTo>
                  <a:cubicBezTo>
                    <a:pt x="32" y="382"/>
                    <a:pt x="31" y="382"/>
                    <a:pt x="30" y="382"/>
                  </a:cubicBezTo>
                  <a:lnTo>
                    <a:pt x="8" y="382"/>
                  </a:lnTo>
                  <a:lnTo>
                    <a:pt x="16" y="374"/>
                  </a:lnTo>
                  <a:lnTo>
                    <a:pt x="16" y="394"/>
                  </a:lnTo>
                  <a:lnTo>
                    <a:pt x="15" y="390"/>
                  </a:lnTo>
                  <a:lnTo>
                    <a:pt x="109" y="553"/>
                  </a:lnTo>
                  <a:lnTo>
                    <a:pt x="96" y="552"/>
                  </a:lnTo>
                  <a:lnTo>
                    <a:pt x="233" y="389"/>
                  </a:lnTo>
                  <a:cubicBezTo>
                    <a:pt x="235" y="387"/>
                    <a:pt x="239" y="386"/>
                    <a:pt x="242" y="387"/>
                  </a:cubicBezTo>
                  <a:cubicBezTo>
                    <a:pt x="245" y="388"/>
                    <a:pt x="247" y="391"/>
                    <a:pt x="247" y="394"/>
                  </a:cubicBezTo>
                  <a:lnTo>
                    <a:pt x="247" y="557"/>
                  </a:lnTo>
                  <a:lnTo>
                    <a:pt x="235" y="550"/>
                  </a:lnTo>
                  <a:lnTo>
                    <a:pt x="351" y="489"/>
                  </a:lnTo>
                  <a:cubicBezTo>
                    <a:pt x="353" y="487"/>
                    <a:pt x="356" y="488"/>
                    <a:pt x="358" y="489"/>
                  </a:cubicBezTo>
                  <a:cubicBezTo>
                    <a:pt x="361" y="490"/>
                    <a:pt x="362" y="493"/>
                    <a:pt x="362" y="496"/>
                  </a:cubicBezTo>
                  <a:lnTo>
                    <a:pt x="362" y="618"/>
                  </a:lnTo>
                  <a:lnTo>
                    <a:pt x="357" y="610"/>
                  </a:lnTo>
                  <a:lnTo>
                    <a:pt x="497" y="671"/>
                  </a:lnTo>
                  <a:cubicBezTo>
                    <a:pt x="500" y="673"/>
                    <a:pt x="502" y="675"/>
                    <a:pt x="502" y="679"/>
                  </a:cubicBezTo>
                  <a:cubicBezTo>
                    <a:pt x="502" y="682"/>
                    <a:pt x="500" y="685"/>
                    <a:pt x="497" y="686"/>
                  </a:cubicBezTo>
                  <a:lnTo>
                    <a:pt x="451" y="706"/>
                  </a:lnTo>
                  <a:lnTo>
                    <a:pt x="452" y="692"/>
                  </a:lnTo>
                  <a:lnTo>
                    <a:pt x="614" y="794"/>
                  </a:lnTo>
                  <a:cubicBezTo>
                    <a:pt x="615" y="795"/>
                    <a:pt x="616" y="796"/>
                    <a:pt x="617" y="798"/>
                  </a:cubicBezTo>
                  <a:lnTo>
                    <a:pt x="639" y="859"/>
                  </a:lnTo>
                  <a:lnTo>
                    <a:pt x="635" y="854"/>
                  </a:lnTo>
                  <a:lnTo>
                    <a:pt x="707" y="895"/>
                  </a:lnTo>
                  <a:lnTo>
                    <a:pt x="704" y="894"/>
                  </a:lnTo>
                  <a:lnTo>
                    <a:pt x="866" y="914"/>
                  </a:lnTo>
                  <a:cubicBezTo>
                    <a:pt x="866" y="914"/>
                    <a:pt x="867" y="915"/>
                    <a:pt x="868" y="915"/>
                  </a:cubicBezTo>
                  <a:lnTo>
                    <a:pt x="1030" y="976"/>
                  </a:lnTo>
                  <a:cubicBezTo>
                    <a:pt x="1033" y="977"/>
                    <a:pt x="1035" y="981"/>
                    <a:pt x="1035" y="984"/>
                  </a:cubicBezTo>
                  <a:cubicBezTo>
                    <a:pt x="1034" y="988"/>
                    <a:pt x="1031" y="991"/>
                    <a:pt x="1028" y="991"/>
                  </a:cubicBezTo>
                  <a:lnTo>
                    <a:pt x="866" y="1011"/>
                  </a:lnTo>
                  <a:lnTo>
                    <a:pt x="866" y="996"/>
                  </a:lnTo>
                  <a:lnTo>
                    <a:pt x="1144" y="1057"/>
                  </a:lnTo>
                  <a:lnTo>
                    <a:pt x="1134" y="1064"/>
                  </a:lnTo>
                  <a:lnTo>
                    <a:pt x="1134" y="983"/>
                  </a:lnTo>
                  <a:lnTo>
                    <a:pt x="1137" y="989"/>
                  </a:lnTo>
                  <a:lnTo>
                    <a:pt x="1068" y="928"/>
                  </a:lnTo>
                  <a:close/>
                  <a:moveTo>
                    <a:pt x="1147" y="977"/>
                  </a:moveTo>
                  <a:cubicBezTo>
                    <a:pt x="1149" y="979"/>
                    <a:pt x="1150" y="981"/>
                    <a:pt x="1150" y="983"/>
                  </a:cubicBezTo>
                  <a:lnTo>
                    <a:pt x="1150" y="1064"/>
                  </a:lnTo>
                  <a:cubicBezTo>
                    <a:pt x="1150" y="1067"/>
                    <a:pt x="1149" y="1069"/>
                    <a:pt x="1147" y="1071"/>
                  </a:cubicBezTo>
                  <a:cubicBezTo>
                    <a:pt x="1145" y="1072"/>
                    <a:pt x="1143" y="1073"/>
                    <a:pt x="1140" y="1072"/>
                  </a:cubicBezTo>
                  <a:lnTo>
                    <a:pt x="863" y="1011"/>
                  </a:lnTo>
                  <a:cubicBezTo>
                    <a:pt x="859" y="1011"/>
                    <a:pt x="857" y="1007"/>
                    <a:pt x="857" y="1003"/>
                  </a:cubicBezTo>
                  <a:cubicBezTo>
                    <a:pt x="857" y="999"/>
                    <a:pt x="860" y="996"/>
                    <a:pt x="864" y="996"/>
                  </a:cubicBezTo>
                  <a:lnTo>
                    <a:pt x="1026" y="975"/>
                  </a:lnTo>
                  <a:lnTo>
                    <a:pt x="1024" y="991"/>
                  </a:lnTo>
                  <a:lnTo>
                    <a:pt x="862" y="930"/>
                  </a:lnTo>
                  <a:lnTo>
                    <a:pt x="864" y="930"/>
                  </a:lnTo>
                  <a:lnTo>
                    <a:pt x="702" y="910"/>
                  </a:lnTo>
                  <a:cubicBezTo>
                    <a:pt x="701" y="910"/>
                    <a:pt x="700" y="909"/>
                    <a:pt x="699" y="909"/>
                  </a:cubicBezTo>
                  <a:lnTo>
                    <a:pt x="628" y="868"/>
                  </a:lnTo>
                  <a:cubicBezTo>
                    <a:pt x="626" y="867"/>
                    <a:pt x="625" y="866"/>
                    <a:pt x="624" y="864"/>
                  </a:cubicBezTo>
                  <a:lnTo>
                    <a:pt x="602" y="803"/>
                  </a:lnTo>
                  <a:lnTo>
                    <a:pt x="605" y="807"/>
                  </a:lnTo>
                  <a:lnTo>
                    <a:pt x="443" y="706"/>
                  </a:lnTo>
                  <a:cubicBezTo>
                    <a:pt x="441" y="704"/>
                    <a:pt x="439" y="701"/>
                    <a:pt x="440" y="698"/>
                  </a:cubicBezTo>
                  <a:cubicBezTo>
                    <a:pt x="440" y="695"/>
                    <a:pt x="442" y="693"/>
                    <a:pt x="444" y="692"/>
                  </a:cubicBezTo>
                  <a:lnTo>
                    <a:pt x="491" y="671"/>
                  </a:lnTo>
                  <a:lnTo>
                    <a:pt x="491" y="686"/>
                  </a:lnTo>
                  <a:lnTo>
                    <a:pt x="351" y="625"/>
                  </a:lnTo>
                  <a:cubicBezTo>
                    <a:pt x="348" y="624"/>
                    <a:pt x="346" y="621"/>
                    <a:pt x="346" y="618"/>
                  </a:cubicBezTo>
                  <a:lnTo>
                    <a:pt x="346" y="496"/>
                  </a:lnTo>
                  <a:lnTo>
                    <a:pt x="358" y="503"/>
                  </a:lnTo>
                  <a:lnTo>
                    <a:pt x="243" y="564"/>
                  </a:lnTo>
                  <a:cubicBezTo>
                    <a:pt x="240" y="565"/>
                    <a:pt x="237" y="565"/>
                    <a:pt x="235" y="564"/>
                  </a:cubicBezTo>
                  <a:cubicBezTo>
                    <a:pt x="232" y="562"/>
                    <a:pt x="231" y="560"/>
                    <a:pt x="231" y="557"/>
                  </a:cubicBezTo>
                  <a:lnTo>
                    <a:pt x="231" y="394"/>
                  </a:lnTo>
                  <a:lnTo>
                    <a:pt x="245" y="399"/>
                  </a:lnTo>
                  <a:lnTo>
                    <a:pt x="108" y="562"/>
                  </a:lnTo>
                  <a:cubicBezTo>
                    <a:pt x="106" y="564"/>
                    <a:pt x="104" y="565"/>
                    <a:pt x="101" y="565"/>
                  </a:cubicBezTo>
                  <a:cubicBezTo>
                    <a:pt x="98" y="565"/>
                    <a:pt x="96" y="563"/>
                    <a:pt x="95" y="561"/>
                  </a:cubicBezTo>
                  <a:lnTo>
                    <a:pt x="2" y="398"/>
                  </a:lnTo>
                  <a:cubicBezTo>
                    <a:pt x="1" y="397"/>
                    <a:pt x="0" y="396"/>
                    <a:pt x="0" y="394"/>
                  </a:cubicBezTo>
                  <a:lnTo>
                    <a:pt x="0" y="374"/>
                  </a:lnTo>
                  <a:cubicBezTo>
                    <a:pt x="0" y="370"/>
                    <a:pt x="4" y="366"/>
                    <a:pt x="8" y="366"/>
                  </a:cubicBezTo>
                  <a:lnTo>
                    <a:pt x="30" y="366"/>
                  </a:lnTo>
                  <a:lnTo>
                    <a:pt x="29" y="366"/>
                  </a:lnTo>
                  <a:lnTo>
                    <a:pt x="122" y="346"/>
                  </a:lnTo>
                  <a:lnTo>
                    <a:pt x="119" y="347"/>
                  </a:lnTo>
                  <a:lnTo>
                    <a:pt x="234" y="266"/>
                  </a:lnTo>
                  <a:cubicBezTo>
                    <a:pt x="237" y="264"/>
                    <a:pt x="240" y="264"/>
                    <a:pt x="243" y="266"/>
                  </a:cubicBezTo>
                  <a:lnTo>
                    <a:pt x="312" y="306"/>
                  </a:lnTo>
                  <a:lnTo>
                    <a:pt x="309" y="305"/>
                  </a:lnTo>
                  <a:lnTo>
                    <a:pt x="403" y="326"/>
                  </a:lnTo>
                  <a:lnTo>
                    <a:pt x="394" y="329"/>
                  </a:lnTo>
                  <a:lnTo>
                    <a:pt x="441" y="248"/>
                  </a:lnTo>
                  <a:cubicBezTo>
                    <a:pt x="442" y="246"/>
                    <a:pt x="444" y="245"/>
                    <a:pt x="446" y="244"/>
                  </a:cubicBezTo>
                  <a:lnTo>
                    <a:pt x="539" y="224"/>
                  </a:lnTo>
                  <a:lnTo>
                    <a:pt x="533" y="232"/>
                  </a:lnTo>
                  <a:lnTo>
                    <a:pt x="533" y="130"/>
                  </a:lnTo>
                  <a:cubicBezTo>
                    <a:pt x="533" y="128"/>
                    <a:pt x="534" y="126"/>
                    <a:pt x="535" y="125"/>
                  </a:cubicBezTo>
                  <a:lnTo>
                    <a:pt x="625" y="23"/>
                  </a:lnTo>
                  <a:cubicBezTo>
                    <a:pt x="627" y="22"/>
                    <a:pt x="628" y="21"/>
                    <a:pt x="630" y="21"/>
                  </a:cubicBezTo>
                  <a:lnTo>
                    <a:pt x="723" y="1"/>
                  </a:lnTo>
                  <a:cubicBezTo>
                    <a:pt x="725" y="0"/>
                    <a:pt x="726" y="0"/>
                    <a:pt x="728" y="1"/>
                  </a:cubicBezTo>
                  <a:lnTo>
                    <a:pt x="821" y="42"/>
                  </a:lnTo>
                  <a:cubicBezTo>
                    <a:pt x="822" y="42"/>
                    <a:pt x="823" y="43"/>
                    <a:pt x="823" y="43"/>
                  </a:cubicBezTo>
                  <a:lnTo>
                    <a:pt x="892" y="104"/>
                  </a:lnTo>
                  <a:lnTo>
                    <a:pt x="891" y="103"/>
                  </a:lnTo>
                  <a:lnTo>
                    <a:pt x="959" y="144"/>
                  </a:lnTo>
                  <a:lnTo>
                    <a:pt x="954" y="143"/>
                  </a:lnTo>
                  <a:lnTo>
                    <a:pt x="1047" y="122"/>
                  </a:lnTo>
                  <a:cubicBezTo>
                    <a:pt x="1051" y="122"/>
                    <a:pt x="1055" y="124"/>
                    <a:pt x="1056" y="127"/>
                  </a:cubicBezTo>
                  <a:lnTo>
                    <a:pt x="1081" y="188"/>
                  </a:lnTo>
                  <a:lnTo>
                    <a:pt x="1073" y="183"/>
                  </a:lnTo>
                  <a:lnTo>
                    <a:pt x="1164" y="183"/>
                  </a:lnTo>
                  <a:lnTo>
                    <a:pt x="1161" y="184"/>
                  </a:lnTo>
                  <a:lnTo>
                    <a:pt x="1323" y="123"/>
                  </a:lnTo>
                  <a:cubicBezTo>
                    <a:pt x="1327" y="121"/>
                    <a:pt x="1331" y="123"/>
                    <a:pt x="1333" y="126"/>
                  </a:cubicBezTo>
                  <a:lnTo>
                    <a:pt x="1379" y="208"/>
                  </a:lnTo>
                  <a:lnTo>
                    <a:pt x="1379" y="206"/>
                  </a:lnTo>
                  <a:lnTo>
                    <a:pt x="1447" y="288"/>
                  </a:lnTo>
                  <a:lnTo>
                    <a:pt x="1443" y="285"/>
                  </a:lnTo>
                  <a:lnTo>
                    <a:pt x="1515" y="305"/>
                  </a:lnTo>
                  <a:cubicBezTo>
                    <a:pt x="1518" y="306"/>
                    <a:pt x="1520" y="310"/>
                    <a:pt x="1520" y="313"/>
                  </a:cubicBezTo>
                  <a:cubicBezTo>
                    <a:pt x="1520" y="317"/>
                    <a:pt x="1518" y="320"/>
                    <a:pt x="1515" y="321"/>
                  </a:cubicBezTo>
                  <a:lnTo>
                    <a:pt x="1443" y="341"/>
                  </a:lnTo>
                  <a:lnTo>
                    <a:pt x="1449" y="333"/>
                  </a:lnTo>
                  <a:lnTo>
                    <a:pt x="1449" y="415"/>
                  </a:lnTo>
                  <a:cubicBezTo>
                    <a:pt x="1449" y="417"/>
                    <a:pt x="1448" y="419"/>
                    <a:pt x="1446" y="421"/>
                  </a:cubicBezTo>
                  <a:cubicBezTo>
                    <a:pt x="1445" y="422"/>
                    <a:pt x="1442" y="423"/>
                    <a:pt x="1440" y="423"/>
                  </a:cubicBezTo>
                  <a:lnTo>
                    <a:pt x="1302" y="402"/>
                  </a:lnTo>
                  <a:lnTo>
                    <a:pt x="1209" y="382"/>
                  </a:lnTo>
                  <a:lnTo>
                    <a:pt x="1212" y="382"/>
                  </a:lnTo>
                  <a:lnTo>
                    <a:pt x="1119" y="402"/>
                  </a:lnTo>
                  <a:cubicBezTo>
                    <a:pt x="1118" y="402"/>
                    <a:pt x="1117" y="402"/>
                    <a:pt x="1116" y="402"/>
                  </a:cubicBezTo>
                  <a:lnTo>
                    <a:pt x="979" y="382"/>
                  </a:lnTo>
                  <a:lnTo>
                    <a:pt x="863" y="362"/>
                  </a:lnTo>
                  <a:lnTo>
                    <a:pt x="866" y="362"/>
                  </a:lnTo>
                  <a:lnTo>
                    <a:pt x="773" y="382"/>
                  </a:lnTo>
                  <a:lnTo>
                    <a:pt x="779" y="377"/>
                  </a:lnTo>
                  <a:lnTo>
                    <a:pt x="757" y="438"/>
                  </a:lnTo>
                  <a:cubicBezTo>
                    <a:pt x="756" y="440"/>
                    <a:pt x="755" y="441"/>
                    <a:pt x="753" y="442"/>
                  </a:cubicBezTo>
                  <a:cubicBezTo>
                    <a:pt x="751" y="443"/>
                    <a:pt x="748" y="443"/>
                    <a:pt x="746" y="442"/>
                  </a:cubicBezTo>
                  <a:lnTo>
                    <a:pt x="653" y="402"/>
                  </a:lnTo>
                  <a:lnTo>
                    <a:pt x="656" y="402"/>
                  </a:lnTo>
                  <a:lnTo>
                    <a:pt x="610" y="402"/>
                  </a:lnTo>
                  <a:lnTo>
                    <a:pt x="617" y="397"/>
                  </a:lnTo>
                  <a:lnTo>
                    <a:pt x="570" y="519"/>
                  </a:lnTo>
                  <a:lnTo>
                    <a:pt x="566" y="509"/>
                  </a:lnTo>
                  <a:lnTo>
                    <a:pt x="659" y="549"/>
                  </a:lnTo>
                  <a:cubicBezTo>
                    <a:pt x="661" y="550"/>
                    <a:pt x="662" y="551"/>
                    <a:pt x="663" y="552"/>
                  </a:cubicBezTo>
                  <a:lnTo>
                    <a:pt x="756" y="674"/>
                  </a:lnTo>
                  <a:lnTo>
                    <a:pt x="754" y="672"/>
                  </a:lnTo>
                  <a:lnTo>
                    <a:pt x="891" y="753"/>
                  </a:lnTo>
                  <a:cubicBezTo>
                    <a:pt x="892" y="753"/>
                    <a:pt x="892" y="754"/>
                    <a:pt x="893" y="755"/>
                  </a:cubicBezTo>
                  <a:lnTo>
                    <a:pt x="961" y="836"/>
                  </a:lnTo>
                  <a:lnTo>
                    <a:pt x="959" y="834"/>
                  </a:lnTo>
                  <a:lnTo>
                    <a:pt x="1052" y="874"/>
                  </a:lnTo>
                  <a:cubicBezTo>
                    <a:pt x="1053" y="875"/>
                    <a:pt x="1055" y="876"/>
                    <a:pt x="1055" y="878"/>
                  </a:cubicBezTo>
                  <a:lnTo>
                    <a:pt x="1080" y="918"/>
                  </a:lnTo>
                  <a:lnTo>
                    <a:pt x="1079" y="916"/>
                  </a:lnTo>
                  <a:lnTo>
                    <a:pt x="1147" y="977"/>
                  </a:lnTo>
                  <a:close/>
                </a:path>
              </a:pathLst>
            </a:custGeom>
            <a:solidFill>
              <a:srgbClr val="000000"/>
            </a:solidFill>
            <a:ln w="0" cap="flat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201" name="Freeform 168"/>
            <p:cNvSpPr>
              <a:spLocks/>
            </p:cNvSpPr>
            <p:nvPr/>
          </p:nvSpPr>
          <p:spPr bwMode="auto">
            <a:xfrm>
              <a:off x="3980" y="2534"/>
              <a:ext cx="252" cy="195"/>
            </a:xfrm>
            <a:custGeom>
              <a:avLst/>
              <a:gdLst>
                <a:gd name="T0" fmla="*/ 320 w 240"/>
                <a:gd name="T1" fmla="*/ 288 h 185"/>
                <a:gd name="T2" fmla="*/ 348 w 240"/>
                <a:gd name="T3" fmla="*/ 272 h 185"/>
                <a:gd name="T4" fmla="*/ 355 w 240"/>
                <a:gd name="T5" fmla="*/ 235 h 185"/>
                <a:gd name="T6" fmla="*/ 384 w 240"/>
                <a:gd name="T7" fmla="*/ 235 h 185"/>
                <a:gd name="T8" fmla="*/ 375 w 240"/>
                <a:gd name="T9" fmla="*/ 209 h 185"/>
                <a:gd name="T10" fmla="*/ 433 w 240"/>
                <a:gd name="T11" fmla="*/ 192 h 185"/>
                <a:gd name="T12" fmla="*/ 402 w 240"/>
                <a:gd name="T13" fmla="*/ 148 h 185"/>
                <a:gd name="T14" fmla="*/ 433 w 240"/>
                <a:gd name="T15" fmla="*/ 130 h 185"/>
                <a:gd name="T16" fmla="*/ 384 w 240"/>
                <a:gd name="T17" fmla="*/ 105 h 185"/>
                <a:gd name="T18" fmla="*/ 375 w 240"/>
                <a:gd name="T19" fmla="*/ 69 h 185"/>
                <a:gd name="T20" fmla="*/ 375 w 240"/>
                <a:gd name="T21" fmla="*/ 34 h 185"/>
                <a:gd name="T22" fmla="*/ 337 w 240"/>
                <a:gd name="T23" fmla="*/ 34 h 185"/>
                <a:gd name="T24" fmla="*/ 330 w 240"/>
                <a:gd name="T25" fmla="*/ 9 h 185"/>
                <a:gd name="T26" fmla="*/ 300 w 240"/>
                <a:gd name="T27" fmla="*/ 9 h 185"/>
                <a:gd name="T28" fmla="*/ 261 w 240"/>
                <a:gd name="T29" fmla="*/ 5 h 185"/>
                <a:gd name="T30" fmla="*/ 225 w 240"/>
                <a:gd name="T31" fmla="*/ 9 h 185"/>
                <a:gd name="T32" fmla="*/ 169 w 240"/>
                <a:gd name="T33" fmla="*/ 5 h 185"/>
                <a:gd name="T34" fmla="*/ 123 w 240"/>
                <a:gd name="T35" fmla="*/ 0 h 185"/>
                <a:gd name="T36" fmla="*/ 84 w 240"/>
                <a:gd name="T37" fmla="*/ 5 h 185"/>
                <a:gd name="T38" fmla="*/ 75 w 240"/>
                <a:gd name="T39" fmla="*/ 34 h 185"/>
                <a:gd name="T40" fmla="*/ 36 w 240"/>
                <a:gd name="T41" fmla="*/ 9 h 185"/>
                <a:gd name="T42" fmla="*/ 23 w 240"/>
                <a:gd name="T43" fmla="*/ 9 h 185"/>
                <a:gd name="T44" fmla="*/ 0 w 240"/>
                <a:gd name="T45" fmla="*/ 69 h 185"/>
                <a:gd name="T46" fmla="*/ 36 w 240"/>
                <a:gd name="T47" fmla="*/ 86 h 185"/>
                <a:gd name="T48" fmla="*/ 75 w 240"/>
                <a:gd name="T49" fmla="*/ 138 h 185"/>
                <a:gd name="T50" fmla="*/ 131 w 240"/>
                <a:gd name="T51" fmla="*/ 176 h 185"/>
                <a:gd name="T52" fmla="*/ 160 w 240"/>
                <a:gd name="T53" fmla="*/ 209 h 185"/>
                <a:gd name="T54" fmla="*/ 198 w 240"/>
                <a:gd name="T55" fmla="*/ 230 h 185"/>
                <a:gd name="T56" fmla="*/ 207 w 240"/>
                <a:gd name="T57" fmla="*/ 245 h 185"/>
                <a:gd name="T58" fmla="*/ 236 w 240"/>
                <a:gd name="T59" fmla="*/ 272 h 185"/>
                <a:gd name="T60" fmla="*/ 236 w 240"/>
                <a:gd name="T61" fmla="*/ 305 h 185"/>
                <a:gd name="T62" fmla="*/ 330 w 240"/>
                <a:gd name="T63" fmla="*/ 348 h 185"/>
                <a:gd name="T64" fmla="*/ 330 w 240"/>
                <a:gd name="T65" fmla="*/ 305 h 185"/>
                <a:gd name="T66" fmla="*/ 320 w 240"/>
                <a:gd name="T67" fmla="*/ 288 h 185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40"/>
                <a:gd name="T103" fmla="*/ 0 h 185"/>
                <a:gd name="T104" fmla="*/ 240 w 240"/>
                <a:gd name="T105" fmla="*/ 185 h 185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40" h="185">
                  <a:moveTo>
                    <a:pt x="178" y="153"/>
                  </a:moveTo>
                  <a:lnTo>
                    <a:pt x="193" y="144"/>
                  </a:lnTo>
                  <a:lnTo>
                    <a:pt x="198" y="125"/>
                  </a:lnTo>
                  <a:lnTo>
                    <a:pt x="214" y="125"/>
                  </a:lnTo>
                  <a:lnTo>
                    <a:pt x="209" y="111"/>
                  </a:lnTo>
                  <a:lnTo>
                    <a:pt x="240" y="102"/>
                  </a:lnTo>
                  <a:lnTo>
                    <a:pt x="224" y="79"/>
                  </a:lnTo>
                  <a:lnTo>
                    <a:pt x="240" y="69"/>
                  </a:lnTo>
                  <a:lnTo>
                    <a:pt x="214" y="56"/>
                  </a:lnTo>
                  <a:lnTo>
                    <a:pt x="209" y="37"/>
                  </a:lnTo>
                  <a:lnTo>
                    <a:pt x="209" y="19"/>
                  </a:lnTo>
                  <a:lnTo>
                    <a:pt x="188" y="19"/>
                  </a:lnTo>
                  <a:lnTo>
                    <a:pt x="183" y="9"/>
                  </a:lnTo>
                  <a:lnTo>
                    <a:pt x="167" y="9"/>
                  </a:lnTo>
                  <a:lnTo>
                    <a:pt x="146" y="5"/>
                  </a:lnTo>
                  <a:lnTo>
                    <a:pt x="125" y="9"/>
                  </a:lnTo>
                  <a:lnTo>
                    <a:pt x="94" y="5"/>
                  </a:lnTo>
                  <a:lnTo>
                    <a:pt x="68" y="0"/>
                  </a:lnTo>
                  <a:lnTo>
                    <a:pt x="47" y="5"/>
                  </a:lnTo>
                  <a:lnTo>
                    <a:pt x="42" y="19"/>
                  </a:lnTo>
                  <a:lnTo>
                    <a:pt x="21" y="9"/>
                  </a:lnTo>
                  <a:lnTo>
                    <a:pt x="11" y="9"/>
                  </a:lnTo>
                  <a:lnTo>
                    <a:pt x="0" y="37"/>
                  </a:lnTo>
                  <a:lnTo>
                    <a:pt x="21" y="46"/>
                  </a:lnTo>
                  <a:lnTo>
                    <a:pt x="42" y="74"/>
                  </a:lnTo>
                  <a:lnTo>
                    <a:pt x="73" y="93"/>
                  </a:lnTo>
                  <a:lnTo>
                    <a:pt x="89" y="111"/>
                  </a:lnTo>
                  <a:lnTo>
                    <a:pt x="110" y="121"/>
                  </a:lnTo>
                  <a:lnTo>
                    <a:pt x="115" y="130"/>
                  </a:lnTo>
                  <a:lnTo>
                    <a:pt x="131" y="144"/>
                  </a:lnTo>
                  <a:lnTo>
                    <a:pt x="131" y="162"/>
                  </a:lnTo>
                  <a:lnTo>
                    <a:pt x="183" y="185"/>
                  </a:lnTo>
                  <a:lnTo>
                    <a:pt x="183" y="162"/>
                  </a:lnTo>
                  <a:lnTo>
                    <a:pt x="178" y="153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cs-CZ"/>
            </a:p>
          </p:txBody>
        </p:sp>
        <p:sp>
          <p:nvSpPr>
            <p:cNvPr id="7202" name="Freeform 169"/>
            <p:cNvSpPr>
              <a:spLocks noEditPoints="1"/>
            </p:cNvSpPr>
            <p:nvPr/>
          </p:nvSpPr>
          <p:spPr bwMode="auto">
            <a:xfrm>
              <a:off x="3978" y="2532"/>
              <a:ext cx="257" cy="199"/>
            </a:xfrm>
            <a:custGeom>
              <a:avLst/>
              <a:gdLst>
                <a:gd name="T0" fmla="*/ 0 w 1074"/>
                <a:gd name="T1" fmla="*/ 0 h 833"/>
                <a:gd name="T2" fmla="*/ 0 w 1074"/>
                <a:gd name="T3" fmla="*/ 0 h 833"/>
                <a:gd name="T4" fmla="*/ 0 w 1074"/>
                <a:gd name="T5" fmla="*/ 0 h 833"/>
                <a:gd name="T6" fmla="*/ 0 w 1074"/>
                <a:gd name="T7" fmla="*/ 0 h 833"/>
                <a:gd name="T8" fmla="*/ 0 w 1074"/>
                <a:gd name="T9" fmla="*/ 0 h 833"/>
                <a:gd name="T10" fmla="*/ 0 w 1074"/>
                <a:gd name="T11" fmla="*/ 0 h 833"/>
                <a:gd name="T12" fmla="*/ 0 w 1074"/>
                <a:gd name="T13" fmla="*/ 0 h 833"/>
                <a:gd name="T14" fmla="*/ 0 w 1074"/>
                <a:gd name="T15" fmla="*/ 0 h 833"/>
                <a:gd name="T16" fmla="*/ 0 w 1074"/>
                <a:gd name="T17" fmla="*/ 0 h 833"/>
                <a:gd name="T18" fmla="*/ 0 w 1074"/>
                <a:gd name="T19" fmla="*/ 0 h 833"/>
                <a:gd name="T20" fmla="*/ 0 w 1074"/>
                <a:gd name="T21" fmla="*/ 0 h 833"/>
                <a:gd name="T22" fmla="*/ 0 w 1074"/>
                <a:gd name="T23" fmla="*/ 0 h 833"/>
                <a:gd name="T24" fmla="*/ 0 w 1074"/>
                <a:gd name="T25" fmla="*/ 0 h 833"/>
                <a:gd name="T26" fmla="*/ 0 w 1074"/>
                <a:gd name="T27" fmla="*/ 0 h 833"/>
                <a:gd name="T28" fmla="*/ 0 w 1074"/>
                <a:gd name="T29" fmla="*/ 0 h 833"/>
                <a:gd name="T30" fmla="*/ 0 w 1074"/>
                <a:gd name="T31" fmla="*/ 0 h 833"/>
                <a:gd name="T32" fmla="*/ 0 w 1074"/>
                <a:gd name="T33" fmla="*/ 0 h 833"/>
                <a:gd name="T34" fmla="*/ 0 w 1074"/>
                <a:gd name="T35" fmla="*/ 0 h 833"/>
                <a:gd name="T36" fmla="*/ 0 w 1074"/>
                <a:gd name="T37" fmla="*/ 0 h 833"/>
                <a:gd name="T38" fmla="*/ 0 w 1074"/>
                <a:gd name="T39" fmla="*/ 0 h 833"/>
                <a:gd name="T40" fmla="*/ 0 w 1074"/>
                <a:gd name="T41" fmla="*/ 0 h 833"/>
                <a:gd name="T42" fmla="*/ 0 w 1074"/>
                <a:gd name="T43" fmla="*/ 0 h 833"/>
                <a:gd name="T44" fmla="*/ 0 w 1074"/>
                <a:gd name="T45" fmla="*/ 0 h 833"/>
                <a:gd name="T46" fmla="*/ 0 w 1074"/>
                <a:gd name="T47" fmla="*/ 0 h 833"/>
                <a:gd name="T48" fmla="*/ 0 w 1074"/>
                <a:gd name="T49" fmla="*/ 0 h 833"/>
                <a:gd name="T50" fmla="*/ 0 w 1074"/>
                <a:gd name="T51" fmla="*/ 0 h 833"/>
                <a:gd name="T52" fmla="*/ 0 w 1074"/>
                <a:gd name="T53" fmla="*/ 0 h 833"/>
                <a:gd name="T54" fmla="*/ 0 w 1074"/>
                <a:gd name="T55" fmla="*/ 0 h 833"/>
                <a:gd name="T56" fmla="*/ 0 w 1074"/>
                <a:gd name="T57" fmla="*/ 0 h 833"/>
                <a:gd name="T58" fmla="*/ 0 w 1074"/>
                <a:gd name="T59" fmla="*/ 0 h 833"/>
                <a:gd name="T60" fmla="*/ 0 w 1074"/>
                <a:gd name="T61" fmla="*/ 0 h 833"/>
                <a:gd name="T62" fmla="*/ 0 w 1074"/>
                <a:gd name="T63" fmla="*/ 0 h 833"/>
                <a:gd name="T64" fmla="*/ 0 w 1074"/>
                <a:gd name="T65" fmla="*/ 0 h 833"/>
                <a:gd name="T66" fmla="*/ 0 w 1074"/>
                <a:gd name="T67" fmla="*/ 0 h 833"/>
                <a:gd name="T68" fmla="*/ 0 w 1074"/>
                <a:gd name="T69" fmla="*/ 0 h 833"/>
                <a:gd name="T70" fmla="*/ 0 w 1074"/>
                <a:gd name="T71" fmla="*/ 0 h 833"/>
                <a:gd name="T72" fmla="*/ 0 w 1074"/>
                <a:gd name="T73" fmla="*/ 0 h 833"/>
                <a:gd name="T74" fmla="*/ 0 w 1074"/>
                <a:gd name="T75" fmla="*/ 0 h 833"/>
                <a:gd name="T76" fmla="*/ 0 w 1074"/>
                <a:gd name="T77" fmla="*/ 0 h 833"/>
                <a:gd name="T78" fmla="*/ 0 w 1074"/>
                <a:gd name="T79" fmla="*/ 0 h 833"/>
                <a:gd name="T80" fmla="*/ 0 w 1074"/>
                <a:gd name="T81" fmla="*/ 0 h 833"/>
                <a:gd name="T82" fmla="*/ 0 w 1074"/>
                <a:gd name="T83" fmla="*/ 0 h 833"/>
                <a:gd name="T84" fmla="*/ 0 w 1074"/>
                <a:gd name="T85" fmla="*/ 0 h 833"/>
                <a:gd name="T86" fmla="*/ 0 w 1074"/>
                <a:gd name="T87" fmla="*/ 0 h 833"/>
                <a:gd name="T88" fmla="*/ 0 w 1074"/>
                <a:gd name="T89" fmla="*/ 0 h 833"/>
                <a:gd name="T90" fmla="*/ 0 w 1074"/>
                <a:gd name="T91" fmla="*/ 0 h 833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074"/>
                <a:gd name="T139" fmla="*/ 0 h 833"/>
                <a:gd name="T140" fmla="*/ 1074 w 1074"/>
                <a:gd name="T141" fmla="*/ 833 h 833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074" h="833">
                  <a:moveTo>
                    <a:pt x="784" y="685"/>
                  </a:moveTo>
                  <a:cubicBezTo>
                    <a:pt x="782" y="682"/>
                    <a:pt x="783" y="677"/>
                    <a:pt x="786" y="675"/>
                  </a:cubicBezTo>
                  <a:lnTo>
                    <a:pt x="855" y="634"/>
                  </a:lnTo>
                  <a:lnTo>
                    <a:pt x="851" y="639"/>
                  </a:lnTo>
                  <a:lnTo>
                    <a:pt x="873" y="557"/>
                  </a:lnTo>
                  <a:cubicBezTo>
                    <a:pt x="874" y="554"/>
                    <a:pt x="877" y="551"/>
                    <a:pt x="880" y="551"/>
                  </a:cubicBezTo>
                  <a:lnTo>
                    <a:pt x="951" y="551"/>
                  </a:lnTo>
                  <a:lnTo>
                    <a:pt x="944" y="562"/>
                  </a:lnTo>
                  <a:lnTo>
                    <a:pt x="919" y="501"/>
                  </a:lnTo>
                  <a:cubicBezTo>
                    <a:pt x="918" y="499"/>
                    <a:pt x="918" y="497"/>
                    <a:pt x="919" y="495"/>
                  </a:cubicBezTo>
                  <a:cubicBezTo>
                    <a:pt x="920" y="493"/>
                    <a:pt x="922" y="491"/>
                    <a:pt x="924" y="490"/>
                  </a:cubicBezTo>
                  <a:lnTo>
                    <a:pt x="1063" y="450"/>
                  </a:lnTo>
                  <a:lnTo>
                    <a:pt x="1059" y="462"/>
                  </a:lnTo>
                  <a:lnTo>
                    <a:pt x="988" y="360"/>
                  </a:lnTo>
                  <a:cubicBezTo>
                    <a:pt x="987" y="358"/>
                    <a:pt x="986" y="356"/>
                    <a:pt x="987" y="354"/>
                  </a:cubicBezTo>
                  <a:cubicBezTo>
                    <a:pt x="987" y="351"/>
                    <a:pt x="989" y="349"/>
                    <a:pt x="991" y="348"/>
                  </a:cubicBezTo>
                  <a:lnTo>
                    <a:pt x="1061" y="308"/>
                  </a:lnTo>
                  <a:lnTo>
                    <a:pt x="1062" y="322"/>
                  </a:lnTo>
                  <a:lnTo>
                    <a:pt x="947" y="260"/>
                  </a:lnTo>
                  <a:cubicBezTo>
                    <a:pt x="945" y="259"/>
                    <a:pt x="944" y="258"/>
                    <a:pt x="943" y="256"/>
                  </a:cubicBezTo>
                  <a:lnTo>
                    <a:pt x="919" y="174"/>
                  </a:lnTo>
                  <a:cubicBezTo>
                    <a:pt x="919" y="173"/>
                    <a:pt x="919" y="172"/>
                    <a:pt x="919" y="172"/>
                  </a:cubicBezTo>
                  <a:lnTo>
                    <a:pt x="919" y="90"/>
                  </a:lnTo>
                  <a:lnTo>
                    <a:pt x="927" y="98"/>
                  </a:lnTo>
                  <a:lnTo>
                    <a:pt x="837" y="98"/>
                  </a:lnTo>
                  <a:cubicBezTo>
                    <a:pt x="834" y="98"/>
                    <a:pt x="831" y="97"/>
                    <a:pt x="830" y="94"/>
                  </a:cubicBezTo>
                  <a:lnTo>
                    <a:pt x="805" y="53"/>
                  </a:lnTo>
                  <a:lnTo>
                    <a:pt x="812" y="57"/>
                  </a:lnTo>
                  <a:lnTo>
                    <a:pt x="744" y="57"/>
                  </a:lnTo>
                  <a:cubicBezTo>
                    <a:pt x="744" y="57"/>
                    <a:pt x="743" y="57"/>
                    <a:pt x="743" y="57"/>
                  </a:cubicBezTo>
                  <a:lnTo>
                    <a:pt x="650" y="37"/>
                  </a:lnTo>
                  <a:lnTo>
                    <a:pt x="653" y="37"/>
                  </a:lnTo>
                  <a:lnTo>
                    <a:pt x="561" y="57"/>
                  </a:lnTo>
                  <a:cubicBezTo>
                    <a:pt x="560" y="57"/>
                    <a:pt x="559" y="57"/>
                    <a:pt x="558" y="57"/>
                  </a:cubicBezTo>
                  <a:lnTo>
                    <a:pt x="422" y="37"/>
                  </a:lnTo>
                  <a:lnTo>
                    <a:pt x="307" y="16"/>
                  </a:lnTo>
                  <a:lnTo>
                    <a:pt x="311" y="16"/>
                  </a:lnTo>
                  <a:lnTo>
                    <a:pt x="218" y="37"/>
                  </a:lnTo>
                  <a:lnTo>
                    <a:pt x="224" y="32"/>
                  </a:lnTo>
                  <a:lnTo>
                    <a:pt x="202" y="93"/>
                  </a:lnTo>
                  <a:cubicBezTo>
                    <a:pt x="201" y="95"/>
                    <a:pt x="200" y="97"/>
                    <a:pt x="198" y="97"/>
                  </a:cubicBezTo>
                  <a:cubicBezTo>
                    <a:pt x="196" y="98"/>
                    <a:pt x="193" y="98"/>
                    <a:pt x="191" y="97"/>
                  </a:cubicBezTo>
                  <a:lnTo>
                    <a:pt x="99" y="57"/>
                  </a:lnTo>
                  <a:lnTo>
                    <a:pt x="102" y="57"/>
                  </a:lnTo>
                  <a:lnTo>
                    <a:pt x="56" y="57"/>
                  </a:lnTo>
                  <a:lnTo>
                    <a:pt x="63" y="52"/>
                  </a:lnTo>
                  <a:lnTo>
                    <a:pt x="17" y="174"/>
                  </a:lnTo>
                  <a:lnTo>
                    <a:pt x="13" y="164"/>
                  </a:lnTo>
                  <a:lnTo>
                    <a:pt x="105" y="205"/>
                  </a:lnTo>
                  <a:cubicBezTo>
                    <a:pt x="106" y="206"/>
                    <a:pt x="108" y="207"/>
                    <a:pt x="108" y="208"/>
                  </a:cubicBezTo>
                  <a:lnTo>
                    <a:pt x="201" y="330"/>
                  </a:lnTo>
                  <a:lnTo>
                    <a:pt x="199" y="328"/>
                  </a:lnTo>
                  <a:lnTo>
                    <a:pt x="335" y="410"/>
                  </a:lnTo>
                  <a:cubicBezTo>
                    <a:pt x="336" y="410"/>
                    <a:pt x="336" y="411"/>
                    <a:pt x="337" y="411"/>
                  </a:cubicBezTo>
                  <a:lnTo>
                    <a:pt x="405" y="493"/>
                  </a:lnTo>
                  <a:lnTo>
                    <a:pt x="402" y="491"/>
                  </a:lnTo>
                  <a:lnTo>
                    <a:pt x="494" y="532"/>
                  </a:lnTo>
                  <a:cubicBezTo>
                    <a:pt x="496" y="532"/>
                    <a:pt x="497" y="533"/>
                    <a:pt x="498" y="535"/>
                  </a:cubicBezTo>
                  <a:lnTo>
                    <a:pt x="523" y="576"/>
                  </a:lnTo>
                  <a:lnTo>
                    <a:pt x="521" y="574"/>
                  </a:lnTo>
                  <a:lnTo>
                    <a:pt x="589" y="635"/>
                  </a:lnTo>
                  <a:cubicBezTo>
                    <a:pt x="591" y="636"/>
                    <a:pt x="592" y="639"/>
                    <a:pt x="592" y="641"/>
                  </a:cubicBezTo>
                  <a:lnTo>
                    <a:pt x="592" y="722"/>
                  </a:lnTo>
                  <a:lnTo>
                    <a:pt x="587" y="715"/>
                  </a:lnTo>
                  <a:lnTo>
                    <a:pt x="816" y="817"/>
                  </a:lnTo>
                  <a:lnTo>
                    <a:pt x="804" y="824"/>
                  </a:lnTo>
                  <a:lnTo>
                    <a:pt x="804" y="722"/>
                  </a:lnTo>
                  <a:lnTo>
                    <a:pt x="805" y="726"/>
                  </a:lnTo>
                  <a:lnTo>
                    <a:pt x="784" y="685"/>
                  </a:lnTo>
                  <a:close/>
                  <a:moveTo>
                    <a:pt x="819" y="719"/>
                  </a:moveTo>
                  <a:cubicBezTo>
                    <a:pt x="820" y="720"/>
                    <a:pt x="820" y="721"/>
                    <a:pt x="820" y="722"/>
                  </a:cubicBezTo>
                  <a:lnTo>
                    <a:pt x="820" y="824"/>
                  </a:lnTo>
                  <a:cubicBezTo>
                    <a:pt x="820" y="827"/>
                    <a:pt x="819" y="830"/>
                    <a:pt x="817" y="831"/>
                  </a:cubicBezTo>
                  <a:cubicBezTo>
                    <a:pt x="814" y="833"/>
                    <a:pt x="812" y="833"/>
                    <a:pt x="809" y="832"/>
                  </a:cubicBezTo>
                  <a:lnTo>
                    <a:pt x="580" y="730"/>
                  </a:lnTo>
                  <a:cubicBezTo>
                    <a:pt x="578" y="728"/>
                    <a:pt x="576" y="726"/>
                    <a:pt x="576" y="722"/>
                  </a:cubicBezTo>
                  <a:lnTo>
                    <a:pt x="576" y="641"/>
                  </a:lnTo>
                  <a:lnTo>
                    <a:pt x="578" y="647"/>
                  </a:lnTo>
                  <a:lnTo>
                    <a:pt x="510" y="586"/>
                  </a:lnTo>
                  <a:cubicBezTo>
                    <a:pt x="510" y="585"/>
                    <a:pt x="509" y="584"/>
                    <a:pt x="509" y="584"/>
                  </a:cubicBezTo>
                  <a:lnTo>
                    <a:pt x="484" y="543"/>
                  </a:lnTo>
                  <a:lnTo>
                    <a:pt x="488" y="546"/>
                  </a:lnTo>
                  <a:lnTo>
                    <a:pt x="395" y="505"/>
                  </a:lnTo>
                  <a:cubicBezTo>
                    <a:pt x="394" y="505"/>
                    <a:pt x="393" y="504"/>
                    <a:pt x="393" y="503"/>
                  </a:cubicBezTo>
                  <a:lnTo>
                    <a:pt x="324" y="422"/>
                  </a:lnTo>
                  <a:lnTo>
                    <a:pt x="327" y="423"/>
                  </a:lnTo>
                  <a:lnTo>
                    <a:pt x="190" y="342"/>
                  </a:lnTo>
                  <a:cubicBezTo>
                    <a:pt x="190" y="341"/>
                    <a:pt x="189" y="341"/>
                    <a:pt x="188" y="340"/>
                  </a:cubicBezTo>
                  <a:lnTo>
                    <a:pt x="96" y="217"/>
                  </a:lnTo>
                  <a:lnTo>
                    <a:pt x="99" y="220"/>
                  </a:lnTo>
                  <a:lnTo>
                    <a:pt x="6" y="179"/>
                  </a:lnTo>
                  <a:cubicBezTo>
                    <a:pt x="2" y="177"/>
                    <a:pt x="0" y="173"/>
                    <a:pt x="2" y="169"/>
                  </a:cubicBezTo>
                  <a:lnTo>
                    <a:pt x="48" y="46"/>
                  </a:lnTo>
                  <a:cubicBezTo>
                    <a:pt x="49" y="43"/>
                    <a:pt x="52" y="41"/>
                    <a:pt x="56" y="41"/>
                  </a:cubicBezTo>
                  <a:lnTo>
                    <a:pt x="102" y="41"/>
                  </a:lnTo>
                  <a:cubicBezTo>
                    <a:pt x="103" y="41"/>
                    <a:pt x="104" y="41"/>
                    <a:pt x="105" y="42"/>
                  </a:cubicBezTo>
                  <a:lnTo>
                    <a:pt x="198" y="83"/>
                  </a:lnTo>
                  <a:lnTo>
                    <a:pt x="187" y="87"/>
                  </a:lnTo>
                  <a:lnTo>
                    <a:pt x="209" y="26"/>
                  </a:lnTo>
                  <a:cubicBezTo>
                    <a:pt x="210" y="24"/>
                    <a:pt x="212" y="22"/>
                    <a:pt x="215" y="21"/>
                  </a:cubicBezTo>
                  <a:lnTo>
                    <a:pt x="307" y="1"/>
                  </a:lnTo>
                  <a:cubicBezTo>
                    <a:pt x="308" y="0"/>
                    <a:pt x="309" y="0"/>
                    <a:pt x="310" y="1"/>
                  </a:cubicBezTo>
                  <a:lnTo>
                    <a:pt x="424" y="21"/>
                  </a:lnTo>
                  <a:lnTo>
                    <a:pt x="560" y="41"/>
                  </a:lnTo>
                  <a:lnTo>
                    <a:pt x="558" y="41"/>
                  </a:lnTo>
                  <a:lnTo>
                    <a:pt x="650" y="21"/>
                  </a:lnTo>
                  <a:cubicBezTo>
                    <a:pt x="651" y="21"/>
                    <a:pt x="652" y="21"/>
                    <a:pt x="653" y="21"/>
                  </a:cubicBezTo>
                  <a:lnTo>
                    <a:pt x="746" y="41"/>
                  </a:lnTo>
                  <a:lnTo>
                    <a:pt x="744" y="41"/>
                  </a:lnTo>
                  <a:lnTo>
                    <a:pt x="812" y="41"/>
                  </a:lnTo>
                  <a:cubicBezTo>
                    <a:pt x="815" y="41"/>
                    <a:pt x="818" y="43"/>
                    <a:pt x="819" y="45"/>
                  </a:cubicBezTo>
                  <a:lnTo>
                    <a:pt x="844" y="86"/>
                  </a:lnTo>
                  <a:lnTo>
                    <a:pt x="837" y="82"/>
                  </a:lnTo>
                  <a:lnTo>
                    <a:pt x="927" y="82"/>
                  </a:lnTo>
                  <a:cubicBezTo>
                    <a:pt x="931" y="82"/>
                    <a:pt x="935" y="86"/>
                    <a:pt x="935" y="90"/>
                  </a:cubicBezTo>
                  <a:lnTo>
                    <a:pt x="935" y="172"/>
                  </a:lnTo>
                  <a:lnTo>
                    <a:pt x="934" y="169"/>
                  </a:lnTo>
                  <a:lnTo>
                    <a:pt x="959" y="251"/>
                  </a:lnTo>
                  <a:lnTo>
                    <a:pt x="955" y="246"/>
                  </a:lnTo>
                  <a:lnTo>
                    <a:pt x="1069" y="307"/>
                  </a:lnTo>
                  <a:cubicBezTo>
                    <a:pt x="1072" y="309"/>
                    <a:pt x="1073" y="311"/>
                    <a:pt x="1073" y="314"/>
                  </a:cubicBezTo>
                  <a:cubicBezTo>
                    <a:pt x="1074" y="317"/>
                    <a:pt x="1072" y="320"/>
                    <a:pt x="1069" y="321"/>
                  </a:cubicBezTo>
                  <a:lnTo>
                    <a:pt x="999" y="362"/>
                  </a:lnTo>
                  <a:lnTo>
                    <a:pt x="1001" y="351"/>
                  </a:lnTo>
                  <a:lnTo>
                    <a:pt x="1072" y="453"/>
                  </a:lnTo>
                  <a:cubicBezTo>
                    <a:pt x="1074" y="455"/>
                    <a:pt x="1074" y="458"/>
                    <a:pt x="1073" y="460"/>
                  </a:cubicBezTo>
                  <a:cubicBezTo>
                    <a:pt x="1072" y="462"/>
                    <a:pt x="1070" y="464"/>
                    <a:pt x="1068" y="465"/>
                  </a:cubicBezTo>
                  <a:lnTo>
                    <a:pt x="929" y="506"/>
                  </a:lnTo>
                  <a:lnTo>
                    <a:pt x="934" y="495"/>
                  </a:lnTo>
                  <a:lnTo>
                    <a:pt x="959" y="556"/>
                  </a:lnTo>
                  <a:cubicBezTo>
                    <a:pt x="960" y="559"/>
                    <a:pt x="959" y="562"/>
                    <a:pt x="958" y="564"/>
                  </a:cubicBezTo>
                  <a:cubicBezTo>
                    <a:pt x="956" y="566"/>
                    <a:pt x="954" y="567"/>
                    <a:pt x="951" y="567"/>
                  </a:cubicBezTo>
                  <a:lnTo>
                    <a:pt x="880" y="567"/>
                  </a:lnTo>
                  <a:lnTo>
                    <a:pt x="888" y="561"/>
                  </a:lnTo>
                  <a:lnTo>
                    <a:pt x="866" y="643"/>
                  </a:lnTo>
                  <a:cubicBezTo>
                    <a:pt x="866" y="645"/>
                    <a:pt x="865" y="647"/>
                    <a:pt x="863" y="648"/>
                  </a:cubicBezTo>
                  <a:lnTo>
                    <a:pt x="795" y="689"/>
                  </a:lnTo>
                  <a:lnTo>
                    <a:pt x="798" y="678"/>
                  </a:lnTo>
                  <a:lnTo>
                    <a:pt x="819" y="719"/>
                  </a:lnTo>
                  <a:close/>
                </a:path>
              </a:pathLst>
            </a:custGeom>
            <a:solidFill>
              <a:srgbClr val="000000"/>
            </a:solidFill>
            <a:ln w="0" cap="flat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203" name="Freeform 170"/>
            <p:cNvSpPr>
              <a:spLocks noEditPoints="1"/>
            </p:cNvSpPr>
            <p:nvPr/>
          </p:nvSpPr>
          <p:spPr bwMode="auto">
            <a:xfrm>
              <a:off x="4291" y="2273"/>
              <a:ext cx="23" cy="7"/>
            </a:xfrm>
            <a:custGeom>
              <a:avLst/>
              <a:gdLst>
                <a:gd name="T0" fmla="*/ 0 w 97"/>
                <a:gd name="T1" fmla="*/ 0 h 32"/>
                <a:gd name="T2" fmla="*/ 0 w 97"/>
                <a:gd name="T3" fmla="*/ 0 h 32"/>
                <a:gd name="T4" fmla="*/ 0 w 97"/>
                <a:gd name="T5" fmla="*/ 0 h 32"/>
                <a:gd name="T6" fmla="*/ 0 w 97"/>
                <a:gd name="T7" fmla="*/ 0 h 32"/>
                <a:gd name="T8" fmla="*/ 0 w 97"/>
                <a:gd name="T9" fmla="*/ 0 h 32"/>
                <a:gd name="T10" fmla="*/ 0 w 97"/>
                <a:gd name="T11" fmla="*/ 0 h 32"/>
                <a:gd name="T12" fmla="*/ 0 w 97"/>
                <a:gd name="T13" fmla="*/ 0 h 32"/>
                <a:gd name="T14" fmla="*/ 0 w 97"/>
                <a:gd name="T15" fmla="*/ 0 h 32"/>
                <a:gd name="T16" fmla="*/ 0 w 97"/>
                <a:gd name="T17" fmla="*/ 0 h 32"/>
                <a:gd name="T18" fmla="*/ 0 w 97"/>
                <a:gd name="T19" fmla="*/ 0 h 32"/>
                <a:gd name="T20" fmla="*/ 0 w 97"/>
                <a:gd name="T21" fmla="*/ 0 h 32"/>
                <a:gd name="T22" fmla="*/ 0 w 97"/>
                <a:gd name="T23" fmla="*/ 0 h 32"/>
                <a:gd name="T24" fmla="*/ 0 w 97"/>
                <a:gd name="T25" fmla="*/ 0 h 32"/>
                <a:gd name="T26" fmla="*/ 0 w 97"/>
                <a:gd name="T27" fmla="*/ 0 h 32"/>
                <a:gd name="T28" fmla="*/ 0 w 97"/>
                <a:gd name="T29" fmla="*/ 0 h 32"/>
                <a:gd name="T30" fmla="*/ 0 w 97"/>
                <a:gd name="T31" fmla="*/ 0 h 3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97"/>
                <a:gd name="T49" fmla="*/ 0 h 32"/>
                <a:gd name="T50" fmla="*/ 97 w 97"/>
                <a:gd name="T51" fmla="*/ 32 h 3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97" h="32">
                  <a:moveTo>
                    <a:pt x="63" y="17"/>
                  </a:moveTo>
                  <a:lnTo>
                    <a:pt x="61" y="16"/>
                  </a:lnTo>
                  <a:lnTo>
                    <a:pt x="88" y="16"/>
                  </a:lnTo>
                  <a:lnTo>
                    <a:pt x="87" y="32"/>
                  </a:lnTo>
                  <a:lnTo>
                    <a:pt x="7" y="16"/>
                  </a:lnTo>
                  <a:lnTo>
                    <a:pt x="11" y="1"/>
                  </a:lnTo>
                  <a:lnTo>
                    <a:pt x="63" y="17"/>
                  </a:lnTo>
                  <a:close/>
                  <a:moveTo>
                    <a:pt x="6" y="16"/>
                  </a:moveTo>
                  <a:cubicBezTo>
                    <a:pt x="2" y="15"/>
                    <a:pt x="0" y="11"/>
                    <a:pt x="1" y="7"/>
                  </a:cubicBezTo>
                  <a:cubicBezTo>
                    <a:pt x="2" y="2"/>
                    <a:pt x="6" y="0"/>
                    <a:pt x="10" y="1"/>
                  </a:cubicBezTo>
                  <a:lnTo>
                    <a:pt x="90" y="17"/>
                  </a:lnTo>
                  <a:cubicBezTo>
                    <a:pt x="94" y="17"/>
                    <a:pt x="97" y="21"/>
                    <a:pt x="96" y="25"/>
                  </a:cubicBezTo>
                  <a:cubicBezTo>
                    <a:pt x="96" y="29"/>
                    <a:pt x="93" y="32"/>
                    <a:pt x="88" y="32"/>
                  </a:cubicBezTo>
                  <a:lnTo>
                    <a:pt x="61" y="32"/>
                  </a:lnTo>
                  <a:cubicBezTo>
                    <a:pt x="60" y="32"/>
                    <a:pt x="59" y="32"/>
                    <a:pt x="58" y="32"/>
                  </a:cubicBezTo>
                  <a:lnTo>
                    <a:pt x="6" y="16"/>
                  </a:lnTo>
                  <a:close/>
                </a:path>
              </a:pathLst>
            </a:custGeom>
            <a:solidFill>
              <a:srgbClr val="000000"/>
            </a:solidFill>
            <a:ln w="0" cap="flat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204" name="Freeform 171"/>
            <p:cNvSpPr>
              <a:spLocks/>
            </p:cNvSpPr>
            <p:nvPr/>
          </p:nvSpPr>
          <p:spPr bwMode="auto">
            <a:xfrm>
              <a:off x="4305" y="2273"/>
              <a:ext cx="16" cy="7"/>
            </a:xfrm>
            <a:custGeom>
              <a:avLst/>
              <a:gdLst>
                <a:gd name="T0" fmla="*/ 0 w 15"/>
                <a:gd name="T1" fmla="*/ 4 h 7"/>
                <a:gd name="T2" fmla="*/ 29 w 15"/>
                <a:gd name="T3" fmla="*/ 0 h 7"/>
                <a:gd name="T4" fmla="*/ 31 w 15"/>
                <a:gd name="T5" fmla="*/ 4 h 7"/>
                <a:gd name="T6" fmla="*/ 1 w 15"/>
                <a:gd name="T7" fmla="*/ 7 h 7"/>
                <a:gd name="T8" fmla="*/ 0 w 15"/>
                <a:gd name="T9" fmla="*/ 4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5"/>
                <a:gd name="T16" fmla="*/ 0 h 7"/>
                <a:gd name="T17" fmla="*/ 15 w 15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5" h="7">
                  <a:moveTo>
                    <a:pt x="0" y="4"/>
                  </a:moveTo>
                  <a:lnTo>
                    <a:pt x="14" y="0"/>
                  </a:lnTo>
                  <a:lnTo>
                    <a:pt x="15" y="4"/>
                  </a:lnTo>
                  <a:lnTo>
                    <a:pt x="1" y="7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0000"/>
            </a:solidFill>
            <a:ln w="0" cap="flat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205" name="Freeform 172"/>
            <p:cNvSpPr>
              <a:spLocks/>
            </p:cNvSpPr>
            <p:nvPr/>
          </p:nvSpPr>
          <p:spPr bwMode="auto">
            <a:xfrm>
              <a:off x="4305" y="2273"/>
              <a:ext cx="16" cy="7"/>
            </a:xfrm>
            <a:custGeom>
              <a:avLst/>
              <a:gdLst>
                <a:gd name="T0" fmla="*/ 0 w 15"/>
                <a:gd name="T1" fmla="*/ 4 h 7"/>
                <a:gd name="T2" fmla="*/ 29 w 15"/>
                <a:gd name="T3" fmla="*/ 0 h 7"/>
                <a:gd name="T4" fmla="*/ 31 w 15"/>
                <a:gd name="T5" fmla="*/ 4 h 7"/>
                <a:gd name="T6" fmla="*/ 1 w 15"/>
                <a:gd name="T7" fmla="*/ 7 h 7"/>
                <a:gd name="T8" fmla="*/ 0 w 15"/>
                <a:gd name="T9" fmla="*/ 4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5"/>
                <a:gd name="T16" fmla="*/ 0 h 7"/>
                <a:gd name="T17" fmla="*/ 15 w 15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5" h="7">
                  <a:moveTo>
                    <a:pt x="0" y="4"/>
                  </a:moveTo>
                  <a:lnTo>
                    <a:pt x="14" y="0"/>
                  </a:lnTo>
                  <a:lnTo>
                    <a:pt x="15" y="4"/>
                  </a:lnTo>
                  <a:lnTo>
                    <a:pt x="1" y="7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0000"/>
            </a:solidFill>
            <a:ln w="0" cap="flat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206" name="Freeform 173"/>
            <p:cNvSpPr>
              <a:spLocks/>
            </p:cNvSpPr>
            <p:nvPr/>
          </p:nvSpPr>
          <p:spPr bwMode="auto">
            <a:xfrm>
              <a:off x="4120" y="2215"/>
              <a:ext cx="19" cy="9"/>
            </a:xfrm>
            <a:custGeom>
              <a:avLst/>
              <a:gdLst>
                <a:gd name="T0" fmla="*/ 33 w 18"/>
                <a:gd name="T1" fmla="*/ 33 h 8"/>
                <a:gd name="T2" fmla="*/ 0 w 18"/>
                <a:gd name="T3" fmla="*/ 0 h 8"/>
                <a:gd name="T4" fmla="*/ 0 w 18"/>
                <a:gd name="T5" fmla="*/ 20 h 8"/>
                <a:gd name="T6" fmla="*/ 24 w 18"/>
                <a:gd name="T7" fmla="*/ 33 h 8"/>
                <a:gd name="T8" fmla="*/ 33 w 18"/>
                <a:gd name="T9" fmla="*/ 33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8"/>
                <a:gd name="T17" fmla="*/ 18 w 18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8">
                  <a:moveTo>
                    <a:pt x="18" y="8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12" y="8"/>
                  </a:lnTo>
                  <a:lnTo>
                    <a:pt x="18" y="8"/>
                  </a:lnTo>
                  <a:close/>
                </a:path>
              </a:pathLst>
            </a:custGeom>
            <a:solidFill>
              <a:srgbClr val="FFF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cs-CZ"/>
            </a:p>
          </p:txBody>
        </p:sp>
        <p:sp>
          <p:nvSpPr>
            <p:cNvPr id="7207" name="Freeform 174"/>
            <p:cNvSpPr>
              <a:spLocks noEditPoints="1"/>
            </p:cNvSpPr>
            <p:nvPr/>
          </p:nvSpPr>
          <p:spPr bwMode="auto">
            <a:xfrm>
              <a:off x="4287" y="2273"/>
              <a:ext cx="10" cy="4"/>
            </a:xfrm>
            <a:custGeom>
              <a:avLst/>
              <a:gdLst>
                <a:gd name="T0" fmla="*/ 0 w 37"/>
                <a:gd name="T1" fmla="*/ 0 h 16"/>
                <a:gd name="T2" fmla="*/ 0 w 37"/>
                <a:gd name="T3" fmla="*/ 0 h 16"/>
                <a:gd name="T4" fmla="*/ 0 w 37"/>
                <a:gd name="T5" fmla="*/ 0 h 16"/>
                <a:gd name="T6" fmla="*/ 0 w 37"/>
                <a:gd name="T7" fmla="*/ 0 h 16"/>
                <a:gd name="T8" fmla="*/ 0 w 37"/>
                <a:gd name="T9" fmla="*/ 0 h 16"/>
                <a:gd name="T10" fmla="*/ 0 w 37"/>
                <a:gd name="T11" fmla="*/ 0 h 16"/>
                <a:gd name="T12" fmla="*/ 0 w 37"/>
                <a:gd name="T13" fmla="*/ 0 h 16"/>
                <a:gd name="T14" fmla="*/ 0 w 37"/>
                <a:gd name="T15" fmla="*/ 0 h 16"/>
                <a:gd name="T16" fmla="*/ 0 w 37"/>
                <a:gd name="T17" fmla="*/ 0 h 16"/>
                <a:gd name="T18" fmla="*/ 0 w 37"/>
                <a:gd name="T19" fmla="*/ 0 h 16"/>
                <a:gd name="T20" fmla="*/ 0 w 37"/>
                <a:gd name="T21" fmla="*/ 0 h 1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7"/>
                <a:gd name="T34" fmla="*/ 0 h 16"/>
                <a:gd name="T35" fmla="*/ 37 w 37"/>
                <a:gd name="T36" fmla="*/ 16 h 1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7" h="16">
                  <a:moveTo>
                    <a:pt x="10" y="16"/>
                  </a:moveTo>
                  <a:cubicBezTo>
                    <a:pt x="0" y="16"/>
                    <a:pt x="0" y="0"/>
                    <a:pt x="10" y="0"/>
                  </a:cubicBezTo>
                  <a:lnTo>
                    <a:pt x="26" y="0"/>
                  </a:lnTo>
                  <a:lnTo>
                    <a:pt x="37" y="0"/>
                  </a:lnTo>
                  <a:lnTo>
                    <a:pt x="37" y="16"/>
                  </a:lnTo>
                  <a:lnTo>
                    <a:pt x="10" y="16"/>
                  </a:lnTo>
                  <a:close/>
                  <a:moveTo>
                    <a:pt x="26" y="0"/>
                  </a:moveTo>
                  <a:lnTo>
                    <a:pt x="26" y="16"/>
                  </a:lnTo>
                  <a:lnTo>
                    <a:pt x="10" y="16"/>
                  </a:lnTo>
                  <a:lnTo>
                    <a:pt x="10" y="0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000000"/>
            </a:solidFill>
            <a:ln w="0" cap="flat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208" name="Freeform 175"/>
            <p:cNvSpPr>
              <a:spLocks noEditPoints="1"/>
            </p:cNvSpPr>
            <p:nvPr/>
          </p:nvSpPr>
          <p:spPr bwMode="auto">
            <a:xfrm>
              <a:off x="4120" y="2215"/>
              <a:ext cx="23" cy="12"/>
            </a:xfrm>
            <a:custGeom>
              <a:avLst/>
              <a:gdLst>
                <a:gd name="T0" fmla="*/ 0 w 97"/>
                <a:gd name="T1" fmla="*/ 0 h 48"/>
                <a:gd name="T2" fmla="*/ 0 w 97"/>
                <a:gd name="T3" fmla="*/ 0 h 48"/>
                <a:gd name="T4" fmla="*/ 0 w 97"/>
                <a:gd name="T5" fmla="*/ 0 h 48"/>
                <a:gd name="T6" fmla="*/ 0 w 97"/>
                <a:gd name="T7" fmla="*/ 0 h 48"/>
                <a:gd name="T8" fmla="*/ 0 w 97"/>
                <a:gd name="T9" fmla="*/ 0 h 48"/>
                <a:gd name="T10" fmla="*/ 0 w 97"/>
                <a:gd name="T11" fmla="*/ 0 h 48"/>
                <a:gd name="T12" fmla="*/ 0 w 97"/>
                <a:gd name="T13" fmla="*/ 0 h 48"/>
                <a:gd name="T14" fmla="*/ 0 w 97"/>
                <a:gd name="T15" fmla="*/ 0 h 48"/>
                <a:gd name="T16" fmla="*/ 0 w 97"/>
                <a:gd name="T17" fmla="*/ 0 h 48"/>
                <a:gd name="T18" fmla="*/ 0 w 97"/>
                <a:gd name="T19" fmla="*/ 0 h 48"/>
                <a:gd name="T20" fmla="*/ 0 w 97"/>
                <a:gd name="T21" fmla="*/ 0 h 48"/>
                <a:gd name="T22" fmla="*/ 0 w 97"/>
                <a:gd name="T23" fmla="*/ 0 h 48"/>
                <a:gd name="T24" fmla="*/ 0 w 97"/>
                <a:gd name="T25" fmla="*/ 0 h 48"/>
                <a:gd name="T26" fmla="*/ 0 w 97"/>
                <a:gd name="T27" fmla="*/ 0 h 48"/>
                <a:gd name="T28" fmla="*/ 0 w 97"/>
                <a:gd name="T29" fmla="*/ 0 h 48"/>
                <a:gd name="T30" fmla="*/ 0 w 97"/>
                <a:gd name="T31" fmla="*/ 0 h 48"/>
                <a:gd name="T32" fmla="*/ 0 w 97"/>
                <a:gd name="T33" fmla="*/ 0 h 48"/>
                <a:gd name="T34" fmla="*/ 0 w 97"/>
                <a:gd name="T35" fmla="*/ 0 h 48"/>
                <a:gd name="T36" fmla="*/ 0 w 97"/>
                <a:gd name="T37" fmla="*/ 0 h 48"/>
                <a:gd name="T38" fmla="*/ 0 w 97"/>
                <a:gd name="T39" fmla="*/ 0 h 4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97"/>
                <a:gd name="T61" fmla="*/ 0 h 48"/>
                <a:gd name="T62" fmla="*/ 97 w 97"/>
                <a:gd name="T63" fmla="*/ 48 h 4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97" h="48">
                  <a:moveTo>
                    <a:pt x="88" y="32"/>
                  </a:moveTo>
                  <a:lnTo>
                    <a:pt x="85" y="48"/>
                  </a:lnTo>
                  <a:lnTo>
                    <a:pt x="5" y="16"/>
                  </a:lnTo>
                  <a:lnTo>
                    <a:pt x="16" y="8"/>
                  </a:lnTo>
                  <a:lnTo>
                    <a:pt x="16" y="24"/>
                  </a:lnTo>
                  <a:lnTo>
                    <a:pt x="11" y="17"/>
                  </a:lnTo>
                  <a:lnTo>
                    <a:pt x="63" y="33"/>
                  </a:lnTo>
                  <a:lnTo>
                    <a:pt x="61" y="32"/>
                  </a:lnTo>
                  <a:lnTo>
                    <a:pt x="88" y="32"/>
                  </a:lnTo>
                  <a:close/>
                  <a:moveTo>
                    <a:pt x="61" y="48"/>
                  </a:moveTo>
                  <a:cubicBezTo>
                    <a:pt x="60" y="48"/>
                    <a:pt x="59" y="48"/>
                    <a:pt x="58" y="48"/>
                  </a:cubicBezTo>
                  <a:lnTo>
                    <a:pt x="6" y="32"/>
                  </a:lnTo>
                  <a:cubicBezTo>
                    <a:pt x="3" y="31"/>
                    <a:pt x="0" y="28"/>
                    <a:pt x="0" y="24"/>
                  </a:cubicBezTo>
                  <a:lnTo>
                    <a:pt x="0" y="8"/>
                  </a:lnTo>
                  <a:cubicBezTo>
                    <a:pt x="0" y="6"/>
                    <a:pt x="2" y="3"/>
                    <a:pt x="4" y="2"/>
                  </a:cubicBezTo>
                  <a:cubicBezTo>
                    <a:pt x="6" y="0"/>
                    <a:pt x="9" y="0"/>
                    <a:pt x="11" y="1"/>
                  </a:cubicBezTo>
                  <a:lnTo>
                    <a:pt x="91" y="33"/>
                  </a:lnTo>
                  <a:cubicBezTo>
                    <a:pt x="95" y="34"/>
                    <a:pt x="97" y="38"/>
                    <a:pt x="96" y="42"/>
                  </a:cubicBezTo>
                  <a:cubicBezTo>
                    <a:pt x="96" y="46"/>
                    <a:pt x="92" y="48"/>
                    <a:pt x="88" y="48"/>
                  </a:cubicBezTo>
                  <a:lnTo>
                    <a:pt x="61" y="48"/>
                  </a:lnTo>
                  <a:close/>
                </a:path>
              </a:pathLst>
            </a:custGeom>
            <a:solidFill>
              <a:srgbClr val="000000"/>
            </a:solidFill>
            <a:ln w="0" cap="flat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209" name="Freeform 176"/>
            <p:cNvSpPr>
              <a:spLocks/>
            </p:cNvSpPr>
            <p:nvPr/>
          </p:nvSpPr>
          <p:spPr bwMode="auto">
            <a:xfrm>
              <a:off x="4022" y="2210"/>
              <a:ext cx="318" cy="141"/>
            </a:xfrm>
            <a:custGeom>
              <a:avLst/>
              <a:gdLst>
                <a:gd name="T0" fmla="*/ 491 w 302"/>
                <a:gd name="T1" fmla="*/ 5 h 134"/>
                <a:gd name="T2" fmla="*/ 462 w 302"/>
                <a:gd name="T3" fmla="*/ 0 h 134"/>
                <a:gd name="T4" fmla="*/ 413 w 302"/>
                <a:gd name="T5" fmla="*/ 0 h 134"/>
                <a:gd name="T6" fmla="*/ 381 w 302"/>
                <a:gd name="T7" fmla="*/ 9 h 134"/>
                <a:gd name="T8" fmla="*/ 343 w 302"/>
                <a:gd name="T9" fmla="*/ 9 h 134"/>
                <a:gd name="T10" fmla="*/ 314 w 302"/>
                <a:gd name="T11" fmla="*/ 41 h 134"/>
                <a:gd name="T12" fmla="*/ 287 w 302"/>
                <a:gd name="T13" fmla="*/ 41 h 134"/>
                <a:gd name="T14" fmla="*/ 277 w 302"/>
                <a:gd name="T15" fmla="*/ 26 h 134"/>
                <a:gd name="T16" fmla="*/ 246 w 302"/>
                <a:gd name="T17" fmla="*/ 0 h 134"/>
                <a:gd name="T18" fmla="*/ 206 w 302"/>
                <a:gd name="T19" fmla="*/ 26 h 134"/>
                <a:gd name="T20" fmla="*/ 198 w 302"/>
                <a:gd name="T21" fmla="*/ 26 h 134"/>
                <a:gd name="T22" fmla="*/ 177 w 302"/>
                <a:gd name="T23" fmla="*/ 9 h 134"/>
                <a:gd name="T24" fmla="*/ 146 w 302"/>
                <a:gd name="T25" fmla="*/ 33 h 134"/>
                <a:gd name="T26" fmla="*/ 119 w 302"/>
                <a:gd name="T27" fmla="*/ 60 h 134"/>
                <a:gd name="T28" fmla="*/ 77 w 302"/>
                <a:gd name="T29" fmla="*/ 109 h 134"/>
                <a:gd name="T30" fmla="*/ 28 w 302"/>
                <a:gd name="T31" fmla="*/ 109 h 134"/>
                <a:gd name="T32" fmla="*/ 0 w 302"/>
                <a:gd name="T33" fmla="*/ 146 h 134"/>
                <a:gd name="T34" fmla="*/ 0 w 302"/>
                <a:gd name="T35" fmla="*/ 188 h 134"/>
                <a:gd name="T36" fmla="*/ 37 w 302"/>
                <a:gd name="T37" fmla="*/ 214 h 134"/>
                <a:gd name="T38" fmla="*/ 28 w 302"/>
                <a:gd name="T39" fmla="*/ 224 h 134"/>
                <a:gd name="T40" fmla="*/ 49 w 302"/>
                <a:gd name="T41" fmla="*/ 230 h 134"/>
                <a:gd name="T42" fmla="*/ 77 w 302"/>
                <a:gd name="T43" fmla="*/ 248 h 134"/>
                <a:gd name="T44" fmla="*/ 215 w 302"/>
                <a:gd name="T45" fmla="*/ 230 h 134"/>
                <a:gd name="T46" fmla="*/ 215 w 302"/>
                <a:gd name="T47" fmla="*/ 198 h 134"/>
                <a:gd name="T48" fmla="*/ 277 w 302"/>
                <a:gd name="T49" fmla="*/ 179 h 134"/>
                <a:gd name="T50" fmla="*/ 287 w 302"/>
                <a:gd name="T51" fmla="*/ 163 h 134"/>
                <a:gd name="T52" fmla="*/ 335 w 302"/>
                <a:gd name="T53" fmla="*/ 172 h 134"/>
                <a:gd name="T54" fmla="*/ 381 w 302"/>
                <a:gd name="T55" fmla="*/ 120 h 134"/>
                <a:gd name="T56" fmla="*/ 422 w 302"/>
                <a:gd name="T57" fmla="*/ 120 h 134"/>
                <a:gd name="T58" fmla="*/ 470 w 302"/>
                <a:gd name="T59" fmla="*/ 109 h 134"/>
                <a:gd name="T60" fmla="*/ 482 w 302"/>
                <a:gd name="T61" fmla="*/ 109 h 134"/>
                <a:gd name="T62" fmla="*/ 511 w 302"/>
                <a:gd name="T63" fmla="*/ 120 h 134"/>
                <a:gd name="T64" fmla="*/ 533 w 302"/>
                <a:gd name="T65" fmla="*/ 120 h 134"/>
                <a:gd name="T66" fmla="*/ 539 w 302"/>
                <a:gd name="T67" fmla="*/ 67 h 134"/>
                <a:gd name="T68" fmla="*/ 563 w 302"/>
                <a:gd name="T69" fmla="*/ 9 h 134"/>
                <a:gd name="T70" fmla="*/ 491 w 302"/>
                <a:gd name="T71" fmla="*/ 5 h 134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02"/>
                <a:gd name="T109" fmla="*/ 0 h 134"/>
                <a:gd name="T110" fmla="*/ 302 w 302"/>
                <a:gd name="T111" fmla="*/ 134 h 134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02" h="134">
                  <a:moveTo>
                    <a:pt x="265" y="5"/>
                  </a:moveTo>
                  <a:lnTo>
                    <a:pt x="249" y="0"/>
                  </a:lnTo>
                  <a:lnTo>
                    <a:pt x="222" y="0"/>
                  </a:lnTo>
                  <a:lnTo>
                    <a:pt x="206" y="9"/>
                  </a:lnTo>
                  <a:lnTo>
                    <a:pt x="185" y="9"/>
                  </a:lnTo>
                  <a:lnTo>
                    <a:pt x="169" y="23"/>
                  </a:lnTo>
                  <a:lnTo>
                    <a:pt x="154" y="23"/>
                  </a:lnTo>
                  <a:lnTo>
                    <a:pt x="149" y="14"/>
                  </a:lnTo>
                  <a:lnTo>
                    <a:pt x="132" y="0"/>
                  </a:lnTo>
                  <a:lnTo>
                    <a:pt x="111" y="14"/>
                  </a:lnTo>
                  <a:lnTo>
                    <a:pt x="106" y="14"/>
                  </a:lnTo>
                  <a:lnTo>
                    <a:pt x="95" y="9"/>
                  </a:lnTo>
                  <a:lnTo>
                    <a:pt x="79" y="19"/>
                  </a:lnTo>
                  <a:lnTo>
                    <a:pt x="64" y="32"/>
                  </a:lnTo>
                  <a:lnTo>
                    <a:pt x="42" y="60"/>
                  </a:lnTo>
                  <a:lnTo>
                    <a:pt x="16" y="60"/>
                  </a:lnTo>
                  <a:lnTo>
                    <a:pt x="0" y="79"/>
                  </a:lnTo>
                  <a:lnTo>
                    <a:pt x="0" y="102"/>
                  </a:lnTo>
                  <a:lnTo>
                    <a:pt x="21" y="116"/>
                  </a:lnTo>
                  <a:lnTo>
                    <a:pt x="16" y="121"/>
                  </a:lnTo>
                  <a:lnTo>
                    <a:pt x="27" y="125"/>
                  </a:lnTo>
                  <a:lnTo>
                    <a:pt x="42" y="134"/>
                  </a:lnTo>
                  <a:lnTo>
                    <a:pt x="116" y="125"/>
                  </a:lnTo>
                  <a:lnTo>
                    <a:pt x="116" y="107"/>
                  </a:lnTo>
                  <a:lnTo>
                    <a:pt x="149" y="97"/>
                  </a:lnTo>
                  <a:lnTo>
                    <a:pt x="154" y="88"/>
                  </a:lnTo>
                  <a:lnTo>
                    <a:pt x="180" y="93"/>
                  </a:lnTo>
                  <a:lnTo>
                    <a:pt x="206" y="65"/>
                  </a:lnTo>
                  <a:lnTo>
                    <a:pt x="228" y="65"/>
                  </a:lnTo>
                  <a:lnTo>
                    <a:pt x="254" y="60"/>
                  </a:lnTo>
                  <a:lnTo>
                    <a:pt x="259" y="60"/>
                  </a:lnTo>
                  <a:lnTo>
                    <a:pt x="275" y="65"/>
                  </a:lnTo>
                  <a:lnTo>
                    <a:pt x="286" y="65"/>
                  </a:lnTo>
                  <a:lnTo>
                    <a:pt x="291" y="37"/>
                  </a:lnTo>
                  <a:lnTo>
                    <a:pt x="302" y="9"/>
                  </a:lnTo>
                  <a:lnTo>
                    <a:pt x="265" y="5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cs-CZ"/>
            </a:p>
          </p:txBody>
        </p:sp>
        <p:sp>
          <p:nvSpPr>
            <p:cNvPr id="7210" name="Freeform 177"/>
            <p:cNvSpPr>
              <a:spLocks noEditPoints="1"/>
            </p:cNvSpPr>
            <p:nvPr/>
          </p:nvSpPr>
          <p:spPr bwMode="auto">
            <a:xfrm>
              <a:off x="4020" y="2208"/>
              <a:ext cx="322" cy="145"/>
            </a:xfrm>
            <a:custGeom>
              <a:avLst/>
              <a:gdLst>
                <a:gd name="T0" fmla="*/ 0 w 1345"/>
                <a:gd name="T1" fmla="*/ 0 h 609"/>
                <a:gd name="T2" fmla="*/ 0 w 1345"/>
                <a:gd name="T3" fmla="*/ 0 h 609"/>
                <a:gd name="T4" fmla="*/ 0 w 1345"/>
                <a:gd name="T5" fmla="*/ 0 h 609"/>
                <a:gd name="T6" fmla="*/ 0 w 1345"/>
                <a:gd name="T7" fmla="*/ 0 h 609"/>
                <a:gd name="T8" fmla="*/ 0 w 1345"/>
                <a:gd name="T9" fmla="*/ 0 h 609"/>
                <a:gd name="T10" fmla="*/ 0 w 1345"/>
                <a:gd name="T11" fmla="*/ 0 h 609"/>
                <a:gd name="T12" fmla="*/ 0 w 1345"/>
                <a:gd name="T13" fmla="*/ 0 h 609"/>
                <a:gd name="T14" fmla="*/ 0 w 1345"/>
                <a:gd name="T15" fmla="*/ 0 h 609"/>
                <a:gd name="T16" fmla="*/ 0 w 1345"/>
                <a:gd name="T17" fmla="*/ 0 h 609"/>
                <a:gd name="T18" fmla="*/ 0 w 1345"/>
                <a:gd name="T19" fmla="*/ 0 h 609"/>
                <a:gd name="T20" fmla="*/ 0 w 1345"/>
                <a:gd name="T21" fmla="*/ 0 h 609"/>
                <a:gd name="T22" fmla="*/ 0 w 1345"/>
                <a:gd name="T23" fmla="*/ 0 h 609"/>
                <a:gd name="T24" fmla="*/ 0 w 1345"/>
                <a:gd name="T25" fmla="*/ 0 h 609"/>
                <a:gd name="T26" fmla="*/ 0 w 1345"/>
                <a:gd name="T27" fmla="*/ 0 h 609"/>
                <a:gd name="T28" fmla="*/ 0 w 1345"/>
                <a:gd name="T29" fmla="*/ 0 h 609"/>
                <a:gd name="T30" fmla="*/ 0 w 1345"/>
                <a:gd name="T31" fmla="*/ 0 h 609"/>
                <a:gd name="T32" fmla="*/ 0 w 1345"/>
                <a:gd name="T33" fmla="*/ 0 h 609"/>
                <a:gd name="T34" fmla="*/ 0 w 1345"/>
                <a:gd name="T35" fmla="*/ 0 h 609"/>
                <a:gd name="T36" fmla="*/ 0 w 1345"/>
                <a:gd name="T37" fmla="*/ 0 h 609"/>
                <a:gd name="T38" fmla="*/ 0 w 1345"/>
                <a:gd name="T39" fmla="*/ 0 h 609"/>
                <a:gd name="T40" fmla="*/ 0 w 1345"/>
                <a:gd name="T41" fmla="*/ 0 h 609"/>
                <a:gd name="T42" fmla="*/ 0 w 1345"/>
                <a:gd name="T43" fmla="*/ 0 h 609"/>
                <a:gd name="T44" fmla="*/ 0 w 1345"/>
                <a:gd name="T45" fmla="*/ 0 h 609"/>
                <a:gd name="T46" fmla="*/ 0 w 1345"/>
                <a:gd name="T47" fmla="*/ 0 h 609"/>
                <a:gd name="T48" fmla="*/ 0 w 1345"/>
                <a:gd name="T49" fmla="*/ 0 h 609"/>
                <a:gd name="T50" fmla="*/ 0 w 1345"/>
                <a:gd name="T51" fmla="*/ 0 h 609"/>
                <a:gd name="T52" fmla="*/ 0 w 1345"/>
                <a:gd name="T53" fmla="*/ 0 h 609"/>
                <a:gd name="T54" fmla="*/ 0 w 1345"/>
                <a:gd name="T55" fmla="*/ 0 h 609"/>
                <a:gd name="T56" fmla="*/ 0 w 1345"/>
                <a:gd name="T57" fmla="*/ 0 h 609"/>
                <a:gd name="T58" fmla="*/ 0 w 1345"/>
                <a:gd name="T59" fmla="*/ 0 h 609"/>
                <a:gd name="T60" fmla="*/ 0 w 1345"/>
                <a:gd name="T61" fmla="*/ 0 h 609"/>
                <a:gd name="T62" fmla="*/ 0 w 1345"/>
                <a:gd name="T63" fmla="*/ 0 h 609"/>
                <a:gd name="T64" fmla="*/ 0 w 1345"/>
                <a:gd name="T65" fmla="*/ 0 h 609"/>
                <a:gd name="T66" fmla="*/ 0 w 1345"/>
                <a:gd name="T67" fmla="*/ 0 h 609"/>
                <a:gd name="T68" fmla="*/ 0 w 1345"/>
                <a:gd name="T69" fmla="*/ 0 h 609"/>
                <a:gd name="T70" fmla="*/ 0 w 1345"/>
                <a:gd name="T71" fmla="*/ 0 h 609"/>
                <a:gd name="T72" fmla="*/ 0 w 1345"/>
                <a:gd name="T73" fmla="*/ 0 h 609"/>
                <a:gd name="T74" fmla="*/ 0 w 1345"/>
                <a:gd name="T75" fmla="*/ 0 h 609"/>
                <a:gd name="T76" fmla="*/ 0 w 1345"/>
                <a:gd name="T77" fmla="*/ 0 h 609"/>
                <a:gd name="T78" fmla="*/ 0 w 1345"/>
                <a:gd name="T79" fmla="*/ 0 h 609"/>
                <a:gd name="T80" fmla="*/ 0 w 1345"/>
                <a:gd name="T81" fmla="*/ 0 h 609"/>
                <a:gd name="T82" fmla="*/ 0 w 1345"/>
                <a:gd name="T83" fmla="*/ 0 h 609"/>
                <a:gd name="T84" fmla="*/ 0 w 1345"/>
                <a:gd name="T85" fmla="*/ 0 h 609"/>
                <a:gd name="T86" fmla="*/ 0 w 1345"/>
                <a:gd name="T87" fmla="*/ 0 h 609"/>
                <a:gd name="T88" fmla="*/ 0 w 1345"/>
                <a:gd name="T89" fmla="*/ 0 h 609"/>
                <a:gd name="T90" fmla="*/ 0 w 1345"/>
                <a:gd name="T91" fmla="*/ 0 h 609"/>
                <a:gd name="T92" fmla="*/ 0 w 1345"/>
                <a:gd name="T93" fmla="*/ 0 h 609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345"/>
                <a:gd name="T142" fmla="*/ 0 h 609"/>
                <a:gd name="T143" fmla="*/ 1345 w 1345"/>
                <a:gd name="T144" fmla="*/ 609 h 609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345" h="609">
                  <a:moveTo>
                    <a:pt x="1172" y="37"/>
                  </a:moveTo>
                  <a:cubicBezTo>
                    <a:pt x="1172" y="37"/>
                    <a:pt x="1171" y="37"/>
                    <a:pt x="1171" y="37"/>
                  </a:cubicBezTo>
                  <a:lnTo>
                    <a:pt x="1102" y="16"/>
                  </a:lnTo>
                  <a:lnTo>
                    <a:pt x="1104" y="16"/>
                  </a:lnTo>
                  <a:lnTo>
                    <a:pt x="985" y="16"/>
                  </a:lnTo>
                  <a:lnTo>
                    <a:pt x="989" y="15"/>
                  </a:lnTo>
                  <a:lnTo>
                    <a:pt x="920" y="56"/>
                  </a:lnTo>
                  <a:cubicBezTo>
                    <a:pt x="919" y="57"/>
                    <a:pt x="917" y="57"/>
                    <a:pt x="916" y="57"/>
                  </a:cubicBezTo>
                  <a:lnTo>
                    <a:pt x="822" y="57"/>
                  </a:lnTo>
                  <a:lnTo>
                    <a:pt x="827" y="55"/>
                  </a:lnTo>
                  <a:lnTo>
                    <a:pt x="758" y="117"/>
                  </a:lnTo>
                  <a:cubicBezTo>
                    <a:pt x="757" y="118"/>
                    <a:pt x="755" y="119"/>
                    <a:pt x="753" y="119"/>
                  </a:cubicBezTo>
                  <a:lnTo>
                    <a:pt x="684" y="119"/>
                  </a:lnTo>
                  <a:cubicBezTo>
                    <a:pt x="681" y="119"/>
                    <a:pt x="678" y="117"/>
                    <a:pt x="676" y="114"/>
                  </a:cubicBezTo>
                  <a:lnTo>
                    <a:pt x="654" y="74"/>
                  </a:lnTo>
                  <a:lnTo>
                    <a:pt x="656" y="76"/>
                  </a:lnTo>
                  <a:lnTo>
                    <a:pt x="584" y="15"/>
                  </a:lnTo>
                  <a:lnTo>
                    <a:pt x="594" y="15"/>
                  </a:lnTo>
                  <a:lnTo>
                    <a:pt x="503" y="76"/>
                  </a:lnTo>
                  <a:cubicBezTo>
                    <a:pt x="501" y="77"/>
                    <a:pt x="500" y="78"/>
                    <a:pt x="498" y="78"/>
                  </a:cubicBezTo>
                  <a:lnTo>
                    <a:pt x="473" y="78"/>
                  </a:lnTo>
                  <a:cubicBezTo>
                    <a:pt x="472" y="78"/>
                    <a:pt x="471" y="77"/>
                    <a:pt x="470" y="77"/>
                  </a:cubicBezTo>
                  <a:lnTo>
                    <a:pt x="423" y="57"/>
                  </a:lnTo>
                  <a:lnTo>
                    <a:pt x="430" y="56"/>
                  </a:lnTo>
                  <a:lnTo>
                    <a:pt x="361" y="97"/>
                  </a:lnTo>
                  <a:lnTo>
                    <a:pt x="362" y="96"/>
                  </a:lnTo>
                  <a:lnTo>
                    <a:pt x="293" y="157"/>
                  </a:lnTo>
                  <a:lnTo>
                    <a:pt x="294" y="156"/>
                  </a:lnTo>
                  <a:lnTo>
                    <a:pt x="200" y="279"/>
                  </a:lnTo>
                  <a:cubicBezTo>
                    <a:pt x="199" y="281"/>
                    <a:pt x="196" y="282"/>
                    <a:pt x="194" y="282"/>
                  </a:cubicBezTo>
                  <a:lnTo>
                    <a:pt x="78" y="282"/>
                  </a:lnTo>
                  <a:lnTo>
                    <a:pt x="84" y="279"/>
                  </a:lnTo>
                  <a:lnTo>
                    <a:pt x="15" y="361"/>
                  </a:lnTo>
                  <a:lnTo>
                    <a:pt x="16" y="356"/>
                  </a:lnTo>
                  <a:lnTo>
                    <a:pt x="16" y="458"/>
                  </a:lnTo>
                  <a:lnTo>
                    <a:pt x="13" y="451"/>
                  </a:lnTo>
                  <a:lnTo>
                    <a:pt x="104" y="512"/>
                  </a:lnTo>
                  <a:cubicBezTo>
                    <a:pt x="106" y="514"/>
                    <a:pt x="108" y="516"/>
                    <a:pt x="108" y="518"/>
                  </a:cubicBezTo>
                  <a:cubicBezTo>
                    <a:pt x="108" y="521"/>
                    <a:pt x="107" y="523"/>
                    <a:pt x="105" y="525"/>
                  </a:cubicBezTo>
                  <a:lnTo>
                    <a:pt x="83" y="545"/>
                  </a:lnTo>
                  <a:lnTo>
                    <a:pt x="81" y="532"/>
                  </a:lnTo>
                  <a:lnTo>
                    <a:pt x="128" y="552"/>
                  </a:lnTo>
                  <a:lnTo>
                    <a:pt x="198" y="594"/>
                  </a:lnTo>
                  <a:lnTo>
                    <a:pt x="193" y="593"/>
                  </a:lnTo>
                  <a:lnTo>
                    <a:pt x="519" y="552"/>
                  </a:lnTo>
                  <a:lnTo>
                    <a:pt x="512" y="560"/>
                  </a:lnTo>
                  <a:lnTo>
                    <a:pt x="512" y="478"/>
                  </a:lnTo>
                  <a:cubicBezTo>
                    <a:pt x="512" y="474"/>
                    <a:pt x="515" y="471"/>
                    <a:pt x="518" y="470"/>
                  </a:cubicBezTo>
                  <a:lnTo>
                    <a:pt x="659" y="429"/>
                  </a:lnTo>
                  <a:lnTo>
                    <a:pt x="654" y="433"/>
                  </a:lnTo>
                  <a:lnTo>
                    <a:pt x="676" y="393"/>
                  </a:lnTo>
                  <a:cubicBezTo>
                    <a:pt x="678" y="389"/>
                    <a:pt x="682" y="388"/>
                    <a:pt x="685" y="388"/>
                  </a:cubicBezTo>
                  <a:lnTo>
                    <a:pt x="801" y="409"/>
                  </a:lnTo>
                  <a:lnTo>
                    <a:pt x="794" y="411"/>
                  </a:lnTo>
                  <a:lnTo>
                    <a:pt x="910" y="289"/>
                  </a:lnTo>
                  <a:cubicBezTo>
                    <a:pt x="912" y="287"/>
                    <a:pt x="914" y="286"/>
                    <a:pt x="916" y="286"/>
                  </a:cubicBezTo>
                  <a:lnTo>
                    <a:pt x="1010" y="286"/>
                  </a:lnTo>
                  <a:lnTo>
                    <a:pt x="1009" y="286"/>
                  </a:lnTo>
                  <a:lnTo>
                    <a:pt x="1125" y="266"/>
                  </a:lnTo>
                  <a:cubicBezTo>
                    <a:pt x="1125" y="266"/>
                    <a:pt x="1126" y="266"/>
                    <a:pt x="1126" y="266"/>
                  </a:cubicBezTo>
                  <a:lnTo>
                    <a:pt x="1148" y="266"/>
                  </a:lnTo>
                  <a:cubicBezTo>
                    <a:pt x="1149" y="266"/>
                    <a:pt x="1150" y="266"/>
                    <a:pt x="1151" y="266"/>
                  </a:cubicBezTo>
                  <a:lnTo>
                    <a:pt x="1222" y="287"/>
                  </a:lnTo>
                  <a:lnTo>
                    <a:pt x="1220" y="286"/>
                  </a:lnTo>
                  <a:lnTo>
                    <a:pt x="1267" y="286"/>
                  </a:lnTo>
                  <a:lnTo>
                    <a:pt x="1259" y="293"/>
                  </a:lnTo>
                  <a:lnTo>
                    <a:pt x="1282" y="170"/>
                  </a:lnTo>
                  <a:cubicBezTo>
                    <a:pt x="1282" y="170"/>
                    <a:pt x="1282" y="169"/>
                    <a:pt x="1282" y="169"/>
                  </a:cubicBezTo>
                  <a:lnTo>
                    <a:pt x="1329" y="46"/>
                  </a:lnTo>
                  <a:lnTo>
                    <a:pt x="1335" y="57"/>
                  </a:lnTo>
                  <a:lnTo>
                    <a:pt x="1172" y="37"/>
                  </a:lnTo>
                  <a:close/>
                  <a:moveTo>
                    <a:pt x="1337" y="41"/>
                  </a:moveTo>
                  <a:cubicBezTo>
                    <a:pt x="1340" y="42"/>
                    <a:pt x="1342" y="43"/>
                    <a:pt x="1343" y="45"/>
                  </a:cubicBezTo>
                  <a:cubicBezTo>
                    <a:pt x="1345" y="47"/>
                    <a:pt x="1345" y="50"/>
                    <a:pt x="1344" y="52"/>
                  </a:cubicBezTo>
                  <a:lnTo>
                    <a:pt x="1297" y="175"/>
                  </a:lnTo>
                  <a:lnTo>
                    <a:pt x="1297" y="173"/>
                  </a:lnTo>
                  <a:lnTo>
                    <a:pt x="1275" y="296"/>
                  </a:lnTo>
                  <a:cubicBezTo>
                    <a:pt x="1274" y="299"/>
                    <a:pt x="1271" y="302"/>
                    <a:pt x="1267" y="302"/>
                  </a:cubicBezTo>
                  <a:lnTo>
                    <a:pt x="1220" y="302"/>
                  </a:lnTo>
                  <a:cubicBezTo>
                    <a:pt x="1220" y="302"/>
                    <a:pt x="1219" y="302"/>
                    <a:pt x="1218" y="302"/>
                  </a:cubicBezTo>
                  <a:lnTo>
                    <a:pt x="1146" y="282"/>
                  </a:lnTo>
                  <a:lnTo>
                    <a:pt x="1148" y="282"/>
                  </a:lnTo>
                  <a:lnTo>
                    <a:pt x="1126" y="282"/>
                  </a:lnTo>
                  <a:lnTo>
                    <a:pt x="1128" y="282"/>
                  </a:lnTo>
                  <a:lnTo>
                    <a:pt x="1011" y="302"/>
                  </a:lnTo>
                  <a:cubicBezTo>
                    <a:pt x="1011" y="302"/>
                    <a:pt x="1010" y="302"/>
                    <a:pt x="1010" y="302"/>
                  </a:cubicBezTo>
                  <a:lnTo>
                    <a:pt x="916" y="302"/>
                  </a:lnTo>
                  <a:lnTo>
                    <a:pt x="922" y="300"/>
                  </a:lnTo>
                  <a:lnTo>
                    <a:pt x="806" y="422"/>
                  </a:lnTo>
                  <a:cubicBezTo>
                    <a:pt x="804" y="424"/>
                    <a:pt x="801" y="425"/>
                    <a:pt x="798" y="425"/>
                  </a:cubicBezTo>
                  <a:lnTo>
                    <a:pt x="682" y="404"/>
                  </a:lnTo>
                  <a:lnTo>
                    <a:pt x="691" y="400"/>
                  </a:lnTo>
                  <a:lnTo>
                    <a:pt x="668" y="441"/>
                  </a:lnTo>
                  <a:cubicBezTo>
                    <a:pt x="667" y="443"/>
                    <a:pt x="666" y="444"/>
                    <a:pt x="664" y="445"/>
                  </a:cubicBezTo>
                  <a:lnTo>
                    <a:pt x="523" y="486"/>
                  </a:lnTo>
                  <a:lnTo>
                    <a:pt x="528" y="478"/>
                  </a:lnTo>
                  <a:lnTo>
                    <a:pt x="528" y="560"/>
                  </a:lnTo>
                  <a:cubicBezTo>
                    <a:pt x="528" y="564"/>
                    <a:pt x="525" y="567"/>
                    <a:pt x="521" y="568"/>
                  </a:cubicBezTo>
                  <a:lnTo>
                    <a:pt x="195" y="608"/>
                  </a:lnTo>
                  <a:cubicBezTo>
                    <a:pt x="193" y="609"/>
                    <a:pt x="191" y="608"/>
                    <a:pt x="190" y="607"/>
                  </a:cubicBezTo>
                  <a:lnTo>
                    <a:pt x="121" y="567"/>
                  </a:lnTo>
                  <a:lnTo>
                    <a:pt x="74" y="547"/>
                  </a:lnTo>
                  <a:cubicBezTo>
                    <a:pt x="72" y="545"/>
                    <a:pt x="70" y="543"/>
                    <a:pt x="70" y="541"/>
                  </a:cubicBezTo>
                  <a:cubicBezTo>
                    <a:pt x="69" y="538"/>
                    <a:pt x="70" y="535"/>
                    <a:pt x="72" y="533"/>
                  </a:cubicBezTo>
                  <a:lnTo>
                    <a:pt x="94" y="513"/>
                  </a:lnTo>
                  <a:lnTo>
                    <a:pt x="95" y="525"/>
                  </a:lnTo>
                  <a:lnTo>
                    <a:pt x="4" y="464"/>
                  </a:lnTo>
                  <a:cubicBezTo>
                    <a:pt x="2" y="463"/>
                    <a:pt x="0" y="460"/>
                    <a:pt x="0" y="458"/>
                  </a:cubicBezTo>
                  <a:lnTo>
                    <a:pt x="0" y="356"/>
                  </a:lnTo>
                  <a:cubicBezTo>
                    <a:pt x="0" y="354"/>
                    <a:pt x="1" y="352"/>
                    <a:pt x="2" y="350"/>
                  </a:cubicBezTo>
                  <a:lnTo>
                    <a:pt x="72" y="269"/>
                  </a:lnTo>
                  <a:cubicBezTo>
                    <a:pt x="73" y="267"/>
                    <a:pt x="75" y="266"/>
                    <a:pt x="78" y="266"/>
                  </a:cubicBezTo>
                  <a:lnTo>
                    <a:pt x="194" y="266"/>
                  </a:lnTo>
                  <a:lnTo>
                    <a:pt x="187" y="269"/>
                  </a:lnTo>
                  <a:lnTo>
                    <a:pt x="282" y="146"/>
                  </a:lnTo>
                  <a:cubicBezTo>
                    <a:pt x="282" y="146"/>
                    <a:pt x="282" y="146"/>
                    <a:pt x="283" y="145"/>
                  </a:cubicBezTo>
                  <a:lnTo>
                    <a:pt x="352" y="84"/>
                  </a:lnTo>
                  <a:cubicBezTo>
                    <a:pt x="352" y="84"/>
                    <a:pt x="353" y="83"/>
                    <a:pt x="353" y="83"/>
                  </a:cubicBezTo>
                  <a:lnTo>
                    <a:pt x="422" y="42"/>
                  </a:lnTo>
                  <a:cubicBezTo>
                    <a:pt x="424" y="41"/>
                    <a:pt x="427" y="41"/>
                    <a:pt x="429" y="42"/>
                  </a:cubicBezTo>
                  <a:lnTo>
                    <a:pt x="476" y="62"/>
                  </a:lnTo>
                  <a:lnTo>
                    <a:pt x="473" y="62"/>
                  </a:lnTo>
                  <a:lnTo>
                    <a:pt x="498" y="62"/>
                  </a:lnTo>
                  <a:lnTo>
                    <a:pt x="494" y="63"/>
                  </a:lnTo>
                  <a:lnTo>
                    <a:pt x="585" y="2"/>
                  </a:lnTo>
                  <a:cubicBezTo>
                    <a:pt x="588" y="0"/>
                    <a:pt x="592" y="0"/>
                    <a:pt x="595" y="2"/>
                  </a:cubicBezTo>
                  <a:lnTo>
                    <a:pt x="667" y="64"/>
                  </a:lnTo>
                  <a:cubicBezTo>
                    <a:pt x="667" y="64"/>
                    <a:pt x="668" y="65"/>
                    <a:pt x="668" y="66"/>
                  </a:cubicBezTo>
                  <a:lnTo>
                    <a:pt x="691" y="107"/>
                  </a:lnTo>
                  <a:lnTo>
                    <a:pt x="684" y="103"/>
                  </a:lnTo>
                  <a:lnTo>
                    <a:pt x="753" y="103"/>
                  </a:lnTo>
                  <a:lnTo>
                    <a:pt x="747" y="105"/>
                  </a:lnTo>
                  <a:lnTo>
                    <a:pt x="817" y="43"/>
                  </a:lnTo>
                  <a:cubicBezTo>
                    <a:pt x="818" y="42"/>
                    <a:pt x="820" y="41"/>
                    <a:pt x="822" y="41"/>
                  </a:cubicBezTo>
                  <a:lnTo>
                    <a:pt x="916" y="41"/>
                  </a:lnTo>
                  <a:lnTo>
                    <a:pt x="912" y="42"/>
                  </a:lnTo>
                  <a:lnTo>
                    <a:pt x="981" y="2"/>
                  </a:lnTo>
                  <a:cubicBezTo>
                    <a:pt x="982" y="1"/>
                    <a:pt x="984" y="0"/>
                    <a:pt x="985" y="0"/>
                  </a:cubicBezTo>
                  <a:lnTo>
                    <a:pt x="1104" y="0"/>
                  </a:lnTo>
                  <a:cubicBezTo>
                    <a:pt x="1105" y="0"/>
                    <a:pt x="1106" y="1"/>
                    <a:pt x="1106" y="1"/>
                  </a:cubicBezTo>
                  <a:lnTo>
                    <a:pt x="1175" y="21"/>
                  </a:lnTo>
                  <a:lnTo>
                    <a:pt x="1174" y="21"/>
                  </a:lnTo>
                  <a:lnTo>
                    <a:pt x="1337" y="41"/>
                  </a:lnTo>
                  <a:close/>
                </a:path>
              </a:pathLst>
            </a:custGeom>
            <a:solidFill>
              <a:srgbClr val="000000"/>
            </a:solidFill>
            <a:ln w="0" cap="flat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211" name="Freeform 178"/>
            <p:cNvSpPr>
              <a:spLocks noEditPoints="1"/>
            </p:cNvSpPr>
            <p:nvPr/>
          </p:nvSpPr>
          <p:spPr bwMode="auto">
            <a:xfrm>
              <a:off x="4724" y="2716"/>
              <a:ext cx="207" cy="118"/>
            </a:xfrm>
            <a:custGeom>
              <a:avLst/>
              <a:gdLst>
                <a:gd name="T0" fmla="*/ 0 w 865"/>
                <a:gd name="T1" fmla="*/ 0 h 497"/>
                <a:gd name="T2" fmla="*/ 0 w 865"/>
                <a:gd name="T3" fmla="*/ 0 h 497"/>
                <a:gd name="T4" fmla="*/ 0 w 865"/>
                <a:gd name="T5" fmla="*/ 0 h 497"/>
                <a:gd name="T6" fmla="*/ 0 w 865"/>
                <a:gd name="T7" fmla="*/ 0 h 497"/>
                <a:gd name="T8" fmla="*/ 0 w 865"/>
                <a:gd name="T9" fmla="*/ 0 h 497"/>
                <a:gd name="T10" fmla="*/ 0 w 865"/>
                <a:gd name="T11" fmla="*/ 0 h 497"/>
                <a:gd name="T12" fmla="*/ 0 w 865"/>
                <a:gd name="T13" fmla="*/ 0 h 497"/>
                <a:gd name="T14" fmla="*/ 0 w 865"/>
                <a:gd name="T15" fmla="*/ 0 h 497"/>
                <a:gd name="T16" fmla="*/ 0 w 865"/>
                <a:gd name="T17" fmla="*/ 0 h 497"/>
                <a:gd name="T18" fmla="*/ 0 w 865"/>
                <a:gd name="T19" fmla="*/ 0 h 497"/>
                <a:gd name="T20" fmla="*/ 0 w 865"/>
                <a:gd name="T21" fmla="*/ 0 h 497"/>
                <a:gd name="T22" fmla="*/ 0 w 865"/>
                <a:gd name="T23" fmla="*/ 0 h 497"/>
                <a:gd name="T24" fmla="*/ 0 w 865"/>
                <a:gd name="T25" fmla="*/ 0 h 497"/>
                <a:gd name="T26" fmla="*/ 0 w 865"/>
                <a:gd name="T27" fmla="*/ 0 h 497"/>
                <a:gd name="T28" fmla="*/ 0 w 865"/>
                <a:gd name="T29" fmla="*/ 0 h 497"/>
                <a:gd name="T30" fmla="*/ 0 w 865"/>
                <a:gd name="T31" fmla="*/ 0 h 497"/>
                <a:gd name="T32" fmla="*/ 0 w 865"/>
                <a:gd name="T33" fmla="*/ 0 h 497"/>
                <a:gd name="T34" fmla="*/ 0 w 865"/>
                <a:gd name="T35" fmla="*/ 0 h 497"/>
                <a:gd name="T36" fmla="*/ 0 w 865"/>
                <a:gd name="T37" fmla="*/ 0 h 497"/>
                <a:gd name="T38" fmla="*/ 0 w 865"/>
                <a:gd name="T39" fmla="*/ 0 h 497"/>
                <a:gd name="T40" fmla="*/ 0 w 865"/>
                <a:gd name="T41" fmla="*/ 0 h 497"/>
                <a:gd name="T42" fmla="*/ 0 w 865"/>
                <a:gd name="T43" fmla="*/ 0 h 497"/>
                <a:gd name="T44" fmla="*/ 0 w 865"/>
                <a:gd name="T45" fmla="*/ 0 h 497"/>
                <a:gd name="T46" fmla="*/ 0 w 865"/>
                <a:gd name="T47" fmla="*/ 0 h 497"/>
                <a:gd name="T48" fmla="*/ 0 w 865"/>
                <a:gd name="T49" fmla="*/ 0 h 497"/>
                <a:gd name="T50" fmla="*/ 0 w 865"/>
                <a:gd name="T51" fmla="*/ 0 h 497"/>
                <a:gd name="T52" fmla="*/ 0 w 865"/>
                <a:gd name="T53" fmla="*/ 0 h 497"/>
                <a:gd name="T54" fmla="*/ 0 w 865"/>
                <a:gd name="T55" fmla="*/ 0 h 497"/>
                <a:gd name="T56" fmla="*/ 0 w 865"/>
                <a:gd name="T57" fmla="*/ 0 h 497"/>
                <a:gd name="T58" fmla="*/ 0 w 865"/>
                <a:gd name="T59" fmla="*/ 0 h 497"/>
                <a:gd name="T60" fmla="*/ 0 w 865"/>
                <a:gd name="T61" fmla="*/ 0 h 497"/>
                <a:gd name="T62" fmla="*/ 0 w 865"/>
                <a:gd name="T63" fmla="*/ 0 h 497"/>
                <a:gd name="T64" fmla="*/ 0 w 865"/>
                <a:gd name="T65" fmla="*/ 0 h 497"/>
                <a:gd name="T66" fmla="*/ 0 w 865"/>
                <a:gd name="T67" fmla="*/ 0 h 497"/>
                <a:gd name="T68" fmla="*/ 0 w 865"/>
                <a:gd name="T69" fmla="*/ 0 h 497"/>
                <a:gd name="T70" fmla="*/ 0 w 865"/>
                <a:gd name="T71" fmla="*/ 0 h 497"/>
                <a:gd name="T72" fmla="*/ 0 w 865"/>
                <a:gd name="T73" fmla="*/ 0 h 497"/>
                <a:gd name="T74" fmla="*/ 0 w 865"/>
                <a:gd name="T75" fmla="*/ 0 h 497"/>
                <a:gd name="T76" fmla="*/ 0 w 865"/>
                <a:gd name="T77" fmla="*/ 0 h 497"/>
                <a:gd name="T78" fmla="*/ 0 w 865"/>
                <a:gd name="T79" fmla="*/ 0 h 497"/>
                <a:gd name="T80" fmla="*/ 0 w 865"/>
                <a:gd name="T81" fmla="*/ 0 h 497"/>
                <a:gd name="T82" fmla="*/ 0 w 865"/>
                <a:gd name="T83" fmla="*/ 0 h 497"/>
                <a:gd name="T84" fmla="*/ 0 w 865"/>
                <a:gd name="T85" fmla="*/ 0 h 497"/>
                <a:gd name="T86" fmla="*/ 0 w 865"/>
                <a:gd name="T87" fmla="*/ 0 h 497"/>
                <a:gd name="T88" fmla="*/ 0 w 865"/>
                <a:gd name="T89" fmla="*/ 0 h 497"/>
                <a:gd name="T90" fmla="*/ 0 w 865"/>
                <a:gd name="T91" fmla="*/ 0 h 497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865"/>
                <a:gd name="T139" fmla="*/ 0 h 497"/>
                <a:gd name="T140" fmla="*/ 865 w 865"/>
                <a:gd name="T141" fmla="*/ 497 h 497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865" h="497">
                  <a:moveTo>
                    <a:pt x="684" y="162"/>
                  </a:moveTo>
                  <a:lnTo>
                    <a:pt x="684" y="147"/>
                  </a:lnTo>
                  <a:lnTo>
                    <a:pt x="777" y="189"/>
                  </a:lnTo>
                  <a:cubicBezTo>
                    <a:pt x="780" y="190"/>
                    <a:pt x="782" y="193"/>
                    <a:pt x="782" y="196"/>
                  </a:cubicBezTo>
                  <a:cubicBezTo>
                    <a:pt x="782" y="199"/>
                    <a:pt x="780" y="202"/>
                    <a:pt x="777" y="204"/>
                  </a:cubicBezTo>
                  <a:lnTo>
                    <a:pt x="684" y="245"/>
                  </a:lnTo>
                  <a:cubicBezTo>
                    <a:pt x="682" y="246"/>
                    <a:pt x="681" y="246"/>
                    <a:pt x="680" y="246"/>
                  </a:cubicBezTo>
                  <a:lnTo>
                    <a:pt x="565" y="246"/>
                  </a:lnTo>
                  <a:lnTo>
                    <a:pt x="568" y="245"/>
                  </a:lnTo>
                  <a:lnTo>
                    <a:pt x="381" y="329"/>
                  </a:lnTo>
                  <a:cubicBezTo>
                    <a:pt x="380" y="329"/>
                    <a:pt x="379" y="330"/>
                    <a:pt x="377" y="330"/>
                  </a:cubicBezTo>
                  <a:lnTo>
                    <a:pt x="309" y="330"/>
                  </a:lnTo>
                  <a:lnTo>
                    <a:pt x="262" y="330"/>
                  </a:lnTo>
                  <a:lnTo>
                    <a:pt x="263" y="329"/>
                  </a:lnTo>
                  <a:lnTo>
                    <a:pt x="148" y="350"/>
                  </a:lnTo>
                  <a:lnTo>
                    <a:pt x="152" y="348"/>
                  </a:lnTo>
                  <a:lnTo>
                    <a:pt x="83" y="411"/>
                  </a:lnTo>
                  <a:lnTo>
                    <a:pt x="83" y="410"/>
                  </a:lnTo>
                  <a:lnTo>
                    <a:pt x="15" y="494"/>
                  </a:lnTo>
                  <a:cubicBezTo>
                    <a:pt x="12" y="496"/>
                    <a:pt x="9" y="497"/>
                    <a:pt x="6" y="496"/>
                  </a:cubicBezTo>
                  <a:cubicBezTo>
                    <a:pt x="3" y="495"/>
                    <a:pt x="0" y="492"/>
                    <a:pt x="0" y="488"/>
                  </a:cubicBezTo>
                  <a:lnTo>
                    <a:pt x="0" y="447"/>
                  </a:lnTo>
                  <a:cubicBezTo>
                    <a:pt x="0" y="444"/>
                    <a:pt x="1" y="442"/>
                    <a:pt x="3" y="441"/>
                  </a:cubicBezTo>
                  <a:lnTo>
                    <a:pt x="50" y="399"/>
                  </a:lnTo>
                  <a:lnTo>
                    <a:pt x="49" y="400"/>
                  </a:lnTo>
                  <a:lnTo>
                    <a:pt x="118" y="316"/>
                  </a:lnTo>
                  <a:cubicBezTo>
                    <a:pt x="118" y="316"/>
                    <a:pt x="119" y="315"/>
                    <a:pt x="119" y="315"/>
                  </a:cubicBezTo>
                  <a:lnTo>
                    <a:pt x="235" y="232"/>
                  </a:lnTo>
                  <a:lnTo>
                    <a:pt x="232" y="237"/>
                  </a:lnTo>
                  <a:lnTo>
                    <a:pt x="254" y="111"/>
                  </a:lnTo>
                  <a:cubicBezTo>
                    <a:pt x="254" y="108"/>
                    <a:pt x="257" y="106"/>
                    <a:pt x="259" y="105"/>
                  </a:cubicBezTo>
                  <a:lnTo>
                    <a:pt x="400" y="63"/>
                  </a:lnTo>
                  <a:lnTo>
                    <a:pt x="539" y="42"/>
                  </a:lnTo>
                  <a:lnTo>
                    <a:pt x="678" y="1"/>
                  </a:lnTo>
                  <a:cubicBezTo>
                    <a:pt x="679" y="1"/>
                    <a:pt x="679" y="0"/>
                    <a:pt x="680" y="0"/>
                  </a:cubicBezTo>
                  <a:lnTo>
                    <a:pt x="702" y="0"/>
                  </a:lnTo>
                  <a:cubicBezTo>
                    <a:pt x="705" y="0"/>
                    <a:pt x="708" y="2"/>
                    <a:pt x="709" y="4"/>
                  </a:cubicBezTo>
                  <a:lnTo>
                    <a:pt x="734" y="46"/>
                  </a:lnTo>
                  <a:lnTo>
                    <a:pt x="728" y="42"/>
                  </a:lnTo>
                  <a:lnTo>
                    <a:pt x="844" y="63"/>
                  </a:lnTo>
                  <a:lnTo>
                    <a:pt x="843" y="63"/>
                  </a:lnTo>
                  <a:lnTo>
                    <a:pt x="856" y="63"/>
                  </a:lnTo>
                  <a:cubicBezTo>
                    <a:pt x="860" y="63"/>
                    <a:pt x="864" y="66"/>
                    <a:pt x="864" y="70"/>
                  </a:cubicBezTo>
                  <a:cubicBezTo>
                    <a:pt x="865" y="74"/>
                    <a:pt x="863" y="77"/>
                    <a:pt x="859" y="79"/>
                  </a:cubicBezTo>
                  <a:lnTo>
                    <a:pt x="798" y="100"/>
                  </a:lnTo>
                  <a:lnTo>
                    <a:pt x="800" y="99"/>
                  </a:lnTo>
                  <a:lnTo>
                    <a:pt x="684" y="162"/>
                  </a:lnTo>
                  <a:close/>
                  <a:moveTo>
                    <a:pt x="792" y="85"/>
                  </a:moveTo>
                  <a:cubicBezTo>
                    <a:pt x="792" y="85"/>
                    <a:pt x="793" y="85"/>
                    <a:pt x="793" y="84"/>
                  </a:cubicBezTo>
                  <a:lnTo>
                    <a:pt x="854" y="64"/>
                  </a:lnTo>
                  <a:lnTo>
                    <a:pt x="856" y="79"/>
                  </a:lnTo>
                  <a:lnTo>
                    <a:pt x="843" y="79"/>
                  </a:lnTo>
                  <a:cubicBezTo>
                    <a:pt x="842" y="79"/>
                    <a:pt x="842" y="79"/>
                    <a:pt x="841" y="79"/>
                  </a:cubicBezTo>
                  <a:lnTo>
                    <a:pt x="726" y="58"/>
                  </a:lnTo>
                  <a:cubicBezTo>
                    <a:pt x="723" y="58"/>
                    <a:pt x="721" y="56"/>
                    <a:pt x="720" y="54"/>
                  </a:cubicBezTo>
                  <a:lnTo>
                    <a:pt x="695" y="13"/>
                  </a:lnTo>
                  <a:lnTo>
                    <a:pt x="702" y="16"/>
                  </a:lnTo>
                  <a:lnTo>
                    <a:pt x="680" y="16"/>
                  </a:lnTo>
                  <a:lnTo>
                    <a:pt x="683" y="16"/>
                  </a:lnTo>
                  <a:lnTo>
                    <a:pt x="541" y="58"/>
                  </a:lnTo>
                  <a:lnTo>
                    <a:pt x="404" y="79"/>
                  </a:lnTo>
                  <a:lnTo>
                    <a:pt x="264" y="120"/>
                  </a:lnTo>
                  <a:lnTo>
                    <a:pt x="270" y="114"/>
                  </a:lnTo>
                  <a:lnTo>
                    <a:pt x="248" y="239"/>
                  </a:lnTo>
                  <a:cubicBezTo>
                    <a:pt x="247" y="241"/>
                    <a:pt x="246" y="243"/>
                    <a:pt x="244" y="245"/>
                  </a:cubicBezTo>
                  <a:lnTo>
                    <a:pt x="129" y="328"/>
                  </a:lnTo>
                  <a:lnTo>
                    <a:pt x="130" y="327"/>
                  </a:lnTo>
                  <a:lnTo>
                    <a:pt x="61" y="410"/>
                  </a:lnTo>
                  <a:cubicBezTo>
                    <a:pt x="61" y="410"/>
                    <a:pt x="61" y="411"/>
                    <a:pt x="61" y="411"/>
                  </a:cubicBezTo>
                  <a:lnTo>
                    <a:pt x="14" y="453"/>
                  </a:lnTo>
                  <a:lnTo>
                    <a:pt x="16" y="447"/>
                  </a:lnTo>
                  <a:lnTo>
                    <a:pt x="16" y="488"/>
                  </a:lnTo>
                  <a:lnTo>
                    <a:pt x="2" y="483"/>
                  </a:lnTo>
                  <a:lnTo>
                    <a:pt x="71" y="400"/>
                  </a:lnTo>
                  <a:cubicBezTo>
                    <a:pt x="71" y="400"/>
                    <a:pt x="72" y="399"/>
                    <a:pt x="72" y="399"/>
                  </a:cubicBezTo>
                  <a:lnTo>
                    <a:pt x="141" y="336"/>
                  </a:lnTo>
                  <a:cubicBezTo>
                    <a:pt x="142" y="335"/>
                    <a:pt x="143" y="335"/>
                    <a:pt x="145" y="334"/>
                  </a:cubicBezTo>
                  <a:lnTo>
                    <a:pt x="260" y="314"/>
                  </a:lnTo>
                  <a:cubicBezTo>
                    <a:pt x="261" y="314"/>
                    <a:pt x="261" y="313"/>
                    <a:pt x="262" y="313"/>
                  </a:cubicBezTo>
                  <a:lnTo>
                    <a:pt x="309" y="313"/>
                  </a:lnTo>
                  <a:lnTo>
                    <a:pt x="377" y="313"/>
                  </a:lnTo>
                  <a:lnTo>
                    <a:pt x="374" y="314"/>
                  </a:lnTo>
                  <a:lnTo>
                    <a:pt x="561" y="231"/>
                  </a:lnTo>
                  <a:cubicBezTo>
                    <a:pt x="562" y="230"/>
                    <a:pt x="563" y="230"/>
                    <a:pt x="565" y="230"/>
                  </a:cubicBezTo>
                  <a:lnTo>
                    <a:pt x="680" y="230"/>
                  </a:lnTo>
                  <a:lnTo>
                    <a:pt x="677" y="231"/>
                  </a:lnTo>
                  <a:lnTo>
                    <a:pt x="771" y="189"/>
                  </a:lnTo>
                  <a:lnTo>
                    <a:pt x="771" y="204"/>
                  </a:lnTo>
                  <a:lnTo>
                    <a:pt x="677" y="162"/>
                  </a:lnTo>
                  <a:cubicBezTo>
                    <a:pt x="674" y="161"/>
                    <a:pt x="672" y="158"/>
                    <a:pt x="672" y="155"/>
                  </a:cubicBezTo>
                  <a:cubicBezTo>
                    <a:pt x="672" y="152"/>
                    <a:pt x="674" y="149"/>
                    <a:pt x="676" y="148"/>
                  </a:cubicBezTo>
                  <a:lnTo>
                    <a:pt x="792" y="85"/>
                  </a:lnTo>
                  <a:close/>
                </a:path>
              </a:pathLst>
            </a:custGeom>
            <a:solidFill>
              <a:srgbClr val="000000"/>
            </a:solidFill>
            <a:ln w="0" cap="flat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212" name="Freeform 179"/>
            <p:cNvSpPr>
              <a:spLocks noEditPoints="1"/>
            </p:cNvSpPr>
            <p:nvPr/>
          </p:nvSpPr>
          <p:spPr bwMode="auto">
            <a:xfrm>
              <a:off x="4586" y="2215"/>
              <a:ext cx="233" cy="207"/>
            </a:xfrm>
            <a:custGeom>
              <a:avLst/>
              <a:gdLst>
                <a:gd name="T0" fmla="*/ 0 w 977"/>
                <a:gd name="T1" fmla="*/ 0 h 865"/>
                <a:gd name="T2" fmla="*/ 0 w 977"/>
                <a:gd name="T3" fmla="*/ 0 h 865"/>
                <a:gd name="T4" fmla="*/ 0 w 977"/>
                <a:gd name="T5" fmla="*/ 0 h 865"/>
                <a:gd name="T6" fmla="*/ 0 w 977"/>
                <a:gd name="T7" fmla="*/ 0 h 865"/>
                <a:gd name="T8" fmla="*/ 0 w 977"/>
                <a:gd name="T9" fmla="*/ 0 h 865"/>
                <a:gd name="T10" fmla="*/ 0 w 977"/>
                <a:gd name="T11" fmla="*/ 0 h 865"/>
                <a:gd name="T12" fmla="*/ 0 w 977"/>
                <a:gd name="T13" fmla="*/ 0 h 865"/>
                <a:gd name="T14" fmla="*/ 0 w 977"/>
                <a:gd name="T15" fmla="*/ 0 h 865"/>
                <a:gd name="T16" fmla="*/ 0 w 977"/>
                <a:gd name="T17" fmla="*/ 0 h 865"/>
                <a:gd name="T18" fmla="*/ 0 w 977"/>
                <a:gd name="T19" fmla="*/ 0 h 865"/>
                <a:gd name="T20" fmla="*/ 0 w 977"/>
                <a:gd name="T21" fmla="*/ 0 h 865"/>
                <a:gd name="T22" fmla="*/ 0 w 977"/>
                <a:gd name="T23" fmla="*/ 0 h 865"/>
                <a:gd name="T24" fmla="*/ 0 w 977"/>
                <a:gd name="T25" fmla="*/ 0 h 865"/>
                <a:gd name="T26" fmla="*/ 0 w 977"/>
                <a:gd name="T27" fmla="*/ 0 h 865"/>
                <a:gd name="T28" fmla="*/ 0 w 977"/>
                <a:gd name="T29" fmla="*/ 0 h 865"/>
                <a:gd name="T30" fmla="*/ 0 w 977"/>
                <a:gd name="T31" fmla="*/ 0 h 865"/>
                <a:gd name="T32" fmla="*/ 0 w 977"/>
                <a:gd name="T33" fmla="*/ 0 h 865"/>
                <a:gd name="T34" fmla="*/ 0 w 977"/>
                <a:gd name="T35" fmla="*/ 0 h 865"/>
                <a:gd name="T36" fmla="*/ 0 w 977"/>
                <a:gd name="T37" fmla="*/ 0 h 865"/>
                <a:gd name="T38" fmla="*/ 0 w 977"/>
                <a:gd name="T39" fmla="*/ 0 h 865"/>
                <a:gd name="T40" fmla="*/ 0 w 977"/>
                <a:gd name="T41" fmla="*/ 0 h 865"/>
                <a:gd name="T42" fmla="*/ 0 w 977"/>
                <a:gd name="T43" fmla="*/ 0 h 865"/>
                <a:gd name="T44" fmla="*/ 0 w 977"/>
                <a:gd name="T45" fmla="*/ 0 h 865"/>
                <a:gd name="T46" fmla="*/ 0 w 977"/>
                <a:gd name="T47" fmla="*/ 0 h 865"/>
                <a:gd name="T48" fmla="*/ 0 w 977"/>
                <a:gd name="T49" fmla="*/ 0 h 865"/>
                <a:gd name="T50" fmla="*/ 0 w 977"/>
                <a:gd name="T51" fmla="*/ 0 h 865"/>
                <a:gd name="T52" fmla="*/ 0 w 977"/>
                <a:gd name="T53" fmla="*/ 0 h 865"/>
                <a:gd name="T54" fmla="*/ 0 w 977"/>
                <a:gd name="T55" fmla="*/ 0 h 865"/>
                <a:gd name="T56" fmla="*/ 0 w 977"/>
                <a:gd name="T57" fmla="*/ 0 h 865"/>
                <a:gd name="T58" fmla="*/ 0 w 977"/>
                <a:gd name="T59" fmla="*/ 0 h 865"/>
                <a:gd name="T60" fmla="*/ 0 w 977"/>
                <a:gd name="T61" fmla="*/ 0 h 865"/>
                <a:gd name="T62" fmla="*/ 0 w 977"/>
                <a:gd name="T63" fmla="*/ 0 h 865"/>
                <a:gd name="T64" fmla="*/ 0 w 977"/>
                <a:gd name="T65" fmla="*/ 0 h 865"/>
                <a:gd name="T66" fmla="*/ 0 w 977"/>
                <a:gd name="T67" fmla="*/ 0 h 865"/>
                <a:gd name="T68" fmla="*/ 0 w 977"/>
                <a:gd name="T69" fmla="*/ 0 h 865"/>
                <a:gd name="T70" fmla="*/ 0 w 977"/>
                <a:gd name="T71" fmla="*/ 0 h 865"/>
                <a:gd name="T72" fmla="*/ 0 w 977"/>
                <a:gd name="T73" fmla="*/ 0 h 865"/>
                <a:gd name="T74" fmla="*/ 0 w 977"/>
                <a:gd name="T75" fmla="*/ 0 h 865"/>
                <a:gd name="T76" fmla="*/ 0 w 977"/>
                <a:gd name="T77" fmla="*/ 0 h 865"/>
                <a:gd name="T78" fmla="*/ 0 w 977"/>
                <a:gd name="T79" fmla="*/ 0 h 865"/>
                <a:gd name="T80" fmla="*/ 0 w 977"/>
                <a:gd name="T81" fmla="*/ 0 h 865"/>
                <a:gd name="T82" fmla="*/ 0 w 977"/>
                <a:gd name="T83" fmla="*/ 0 h 865"/>
                <a:gd name="T84" fmla="*/ 0 w 977"/>
                <a:gd name="T85" fmla="*/ 0 h 865"/>
                <a:gd name="T86" fmla="*/ 0 w 977"/>
                <a:gd name="T87" fmla="*/ 0 h 865"/>
                <a:gd name="T88" fmla="*/ 0 w 977"/>
                <a:gd name="T89" fmla="*/ 0 h 865"/>
                <a:gd name="T90" fmla="*/ 0 w 977"/>
                <a:gd name="T91" fmla="*/ 0 h 865"/>
                <a:gd name="T92" fmla="*/ 0 w 977"/>
                <a:gd name="T93" fmla="*/ 0 h 865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977"/>
                <a:gd name="T142" fmla="*/ 0 h 865"/>
                <a:gd name="T143" fmla="*/ 977 w 977"/>
                <a:gd name="T144" fmla="*/ 865 h 865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977" h="865">
                  <a:moveTo>
                    <a:pt x="733" y="632"/>
                  </a:moveTo>
                  <a:lnTo>
                    <a:pt x="734" y="639"/>
                  </a:lnTo>
                  <a:lnTo>
                    <a:pt x="688" y="579"/>
                  </a:lnTo>
                  <a:cubicBezTo>
                    <a:pt x="686" y="575"/>
                    <a:pt x="686" y="571"/>
                    <a:pt x="689" y="568"/>
                  </a:cubicBezTo>
                  <a:lnTo>
                    <a:pt x="757" y="507"/>
                  </a:lnTo>
                  <a:cubicBezTo>
                    <a:pt x="758" y="506"/>
                    <a:pt x="759" y="506"/>
                    <a:pt x="761" y="505"/>
                  </a:cubicBezTo>
                  <a:lnTo>
                    <a:pt x="967" y="465"/>
                  </a:lnTo>
                  <a:lnTo>
                    <a:pt x="962" y="477"/>
                  </a:lnTo>
                  <a:lnTo>
                    <a:pt x="915" y="396"/>
                  </a:lnTo>
                  <a:lnTo>
                    <a:pt x="917" y="398"/>
                  </a:lnTo>
                  <a:lnTo>
                    <a:pt x="825" y="317"/>
                  </a:lnTo>
                  <a:cubicBezTo>
                    <a:pt x="824" y="317"/>
                    <a:pt x="824" y="316"/>
                    <a:pt x="823" y="315"/>
                  </a:cubicBezTo>
                  <a:lnTo>
                    <a:pt x="780" y="234"/>
                  </a:lnTo>
                  <a:lnTo>
                    <a:pt x="785" y="238"/>
                  </a:lnTo>
                  <a:lnTo>
                    <a:pt x="646" y="198"/>
                  </a:lnTo>
                  <a:cubicBezTo>
                    <a:pt x="644" y="197"/>
                    <a:pt x="643" y="196"/>
                    <a:pt x="641" y="194"/>
                  </a:cubicBezTo>
                  <a:lnTo>
                    <a:pt x="574" y="73"/>
                  </a:lnTo>
                  <a:lnTo>
                    <a:pt x="581" y="77"/>
                  </a:lnTo>
                  <a:lnTo>
                    <a:pt x="421" y="77"/>
                  </a:lnTo>
                  <a:cubicBezTo>
                    <a:pt x="420" y="77"/>
                    <a:pt x="419" y="77"/>
                    <a:pt x="418" y="77"/>
                  </a:cubicBezTo>
                  <a:lnTo>
                    <a:pt x="234" y="16"/>
                  </a:lnTo>
                  <a:lnTo>
                    <a:pt x="242" y="14"/>
                  </a:lnTo>
                  <a:lnTo>
                    <a:pt x="174" y="75"/>
                  </a:lnTo>
                  <a:cubicBezTo>
                    <a:pt x="173" y="76"/>
                    <a:pt x="171" y="77"/>
                    <a:pt x="170" y="77"/>
                  </a:cubicBezTo>
                  <a:lnTo>
                    <a:pt x="31" y="97"/>
                  </a:lnTo>
                  <a:lnTo>
                    <a:pt x="36" y="95"/>
                  </a:lnTo>
                  <a:lnTo>
                    <a:pt x="14" y="115"/>
                  </a:lnTo>
                  <a:lnTo>
                    <a:pt x="12" y="102"/>
                  </a:lnTo>
                  <a:lnTo>
                    <a:pt x="104" y="142"/>
                  </a:lnTo>
                  <a:cubicBezTo>
                    <a:pt x="105" y="143"/>
                    <a:pt x="106" y="144"/>
                    <a:pt x="107" y="144"/>
                  </a:cubicBezTo>
                  <a:lnTo>
                    <a:pt x="196" y="245"/>
                  </a:lnTo>
                  <a:lnTo>
                    <a:pt x="195" y="244"/>
                  </a:lnTo>
                  <a:lnTo>
                    <a:pt x="333" y="345"/>
                  </a:lnTo>
                  <a:lnTo>
                    <a:pt x="425" y="406"/>
                  </a:lnTo>
                  <a:cubicBezTo>
                    <a:pt x="426" y="406"/>
                    <a:pt x="426" y="406"/>
                    <a:pt x="427" y="407"/>
                  </a:cubicBezTo>
                  <a:lnTo>
                    <a:pt x="540" y="528"/>
                  </a:lnTo>
                  <a:cubicBezTo>
                    <a:pt x="542" y="529"/>
                    <a:pt x="543" y="531"/>
                    <a:pt x="543" y="533"/>
                  </a:cubicBezTo>
                  <a:lnTo>
                    <a:pt x="543" y="634"/>
                  </a:lnTo>
                  <a:lnTo>
                    <a:pt x="542" y="632"/>
                  </a:lnTo>
                  <a:lnTo>
                    <a:pt x="588" y="814"/>
                  </a:lnTo>
                  <a:lnTo>
                    <a:pt x="585" y="809"/>
                  </a:lnTo>
                  <a:lnTo>
                    <a:pt x="653" y="850"/>
                  </a:lnTo>
                  <a:lnTo>
                    <a:pt x="642" y="852"/>
                  </a:lnTo>
                  <a:lnTo>
                    <a:pt x="688" y="791"/>
                  </a:lnTo>
                  <a:lnTo>
                    <a:pt x="687" y="794"/>
                  </a:lnTo>
                  <a:lnTo>
                    <a:pt x="733" y="632"/>
                  </a:lnTo>
                  <a:close/>
                  <a:moveTo>
                    <a:pt x="702" y="798"/>
                  </a:moveTo>
                  <a:cubicBezTo>
                    <a:pt x="702" y="799"/>
                    <a:pt x="702" y="800"/>
                    <a:pt x="701" y="801"/>
                  </a:cubicBezTo>
                  <a:lnTo>
                    <a:pt x="655" y="861"/>
                  </a:lnTo>
                  <a:cubicBezTo>
                    <a:pt x="652" y="865"/>
                    <a:pt x="648" y="865"/>
                    <a:pt x="644" y="863"/>
                  </a:cubicBezTo>
                  <a:lnTo>
                    <a:pt x="577" y="823"/>
                  </a:lnTo>
                  <a:cubicBezTo>
                    <a:pt x="575" y="822"/>
                    <a:pt x="573" y="820"/>
                    <a:pt x="573" y="818"/>
                  </a:cubicBezTo>
                  <a:lnTo>
                    <a:pt x="527" y="636"/>
                  </a:lnTo>
                  <a:cubicBezTo>
                    <a:pt x="527" y="636"/>
                    <a:pt x="527" y="635"/>
                    <a:pt x="527" y="634"/>
                  </a:cubicBezTo>
                  <a:lnTo>
                    <a:pt x="527" y="533"/>
                  </a:lnTo>
                  <a:lnTo>
                    <a:pt x="529" y="539"/>
                  </a:lnTo>
                  <a:lnTo>
                    <a:pt x="415" y="418"/>
                  </a:lnTo>
                  <a:lnTo>
                    <a:pt x="416" y="419"/>
                  </a:lnTo>
                  <a:lnTo>
                    <a:pt x="324" y="358"/>
                  </a:lnTo>
                  <a:lnTo>
                    <a:pt x="185" y="257"/>
                  </a:lnTo>
                  <a:cubicBezTo>
                    <a:pt x="185" y="257"/>
                    <a:pt x="185" y="256"/>
                    <a:pt x="184" y="256"/>
                  </a:cubicBezTo>
                  <a:lnTo>
                    <a:pt x="95" y="155"/>
                  </a:lnTo>
                  <a:lnTo>
                    <a:pt x="97" y="157"/>
                  </a:lnTo>
                  <a:lnTo>
                    <a:pt x="5" y="117"/>
                  </a:lnTo>
                  <a:cubicBezTo>
                    <a:pt x="3" y="116"/>
                    <a:pt x="1" y="113"/>
                    <a:pt x="1" y="111"/>
                  </a:cubicBezTo>
                  <a:cubicBezTo>
                    <a:pt x="0" y="108"/>
                    <a:pt x="1" y="105"/>
                    <a:pt x="3" y="104"/>
                  </a:cubicBezTo>
                  <a:lnTo>
                    <a:pt x="25" y="83"/>
                  </a:lnTo>
                  <a:cubicBezTo>
                    <a:pt x="26" y="82"/>
                    <a:pt x="27" y="82"/>
                    <a:pt x="29" y="81"/>
                  </a:cubicBezTo>
                  <a:lnTo>
                    <a:pt x="167" y="61"/>
                  </a:lnTo>
                  <a:lnTo>
                    <a:pt x="163" y="63"/>
                  </a:lnTo>
                  <a:lnTo>
                    <a:pt x="231" y="2"/>
                  </a:lnTo>
                  <a:cubicBezTo>
                    <a:pt x="233" y="1"/>
                    <a:pt x="236" y="0"/>
                    <a:pt x="239" y="1"/>
                  </a:cubicBezTo>
                  <a:lnTo>
                    <a:pt x="423" y="61"/>
                  </a:lnTo>
                  <a:lnTo>
                    <a:pt x="421" y="61"/>
                  </a:lnTo>
                  <a:lnTo>
                    <a:pt x="581" y="61"/>
                  </a:lnTo>
                  <a:cubicBezTo>
                    <a:pt x="584" y="61"/>
                    <a:pt x="586" y="63"/>
                    <a:pt x="588" y="65"/>
                  </a:cubicBezTo>
                  <a:lnTo>
                    <a:pt x="655" y="186"/>
                  </a:lnTo>
                  <a:lnTo>
                    <a:pt x="651" y="182"/>
                  </a:lnTo>
                  <a:lnTo>
                    <a:pt x="789" y="223"/>
                  </a:lnTo>
                  <a:cubicBezTo>
                    <a:pt x="791" y="223"/>
                    <a:pt x="793" y="225"/>
                    <a:pt x="794" y="227"/>
                  </a:cubicBezTo>
                  <a:lnTo>
                    <a:pt x="837" y="308"/>
                  </a:lnTo>
                  <a:lnTo>
                    <a:pt x="835" y="305"/>
                  </a:lnTo>
                  <a:lnTo>
                    <a:pt x="928" y="386"/>
                  </a:lnTo>
                  <a:cubicBezTo>
                    <a:pt x="928" y="387"/>
                    <a:pt x="929" y="387"/>
                    <a:pt x="929" y="388"/>
                  </a:cubicBezTo>
                  <a:lnTo>
                    <a:pt x="975" y="469"/>
                  </a:lnTo>
                  <a:cubicBezTo>
                    <a:pt x="977" y="471"/>
                    <a:pt x="977" y="474"/>
                    <a:pt x="976" y="476"/>
                  </a:cubicBezTo>
                  <a:cubicBezTo>
                    <a:pt x="975" y="479"/>
                    <a:pt x="973" y="480"/>
                    <a:pt x="970" y="481"/>
                  </a:cubicBezTo>
                  <a:lnTo>
                    <a:pt x="764" y="521"/>
                  </a:lnTo>
                  <a:lnTo>
                    <a:pt x="768" y="519"/>
                  </a:lnTo>
                  <a:lnTo>
                    <a:pt x="700" y="580"/>
                  </a:lnTo>
                  <a:lnTo>
                    <a:pt x="701" y="569"/>
                  </a:lnTo>
                  <a:lnTo>
                    <a:pt x="747" y="630"/>
                  </a:lnTo>
                  <a:cubicBezTo>
                    <a:pt x="749" y="632"/>
                    <a:pt x="749" y="634"/>
                    <a:pt x="748" y="637"/>
                  </a:cubicBezTo>
                  <a:lnTo>
                    <a:pt x="702" y="798"/>
                  </a:lnTo>
                  <a:close/>
                </a:path>
              </a:pathLst>
            </a:custGeom>
            <a:solidFill>
              <a:srgbClr val="000000"/>
            </a:solidFill>
            <a:ln w="0" cap="flat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213" name="Freeform 180"/>
            <p:cNvSpPr>
              <a:spLocks noEditPoints="1"/>
            </p:cNvSpPr>
            <p:nvPr/>
          </p:nvSpPr>
          <p:spPr bwMode="auto">
            <a:xfrm>
              <a:off x="4697" y="2670"/>
              <a:ext cx="241" cy="374"/>
            </a:xfrm>
            <a:custGeom>
              <a:avLst/>
              <a:gdLst>
                <a:gd name="T0" fmla="*/ 0 w 1009"/>
                <a:gd name="T1" fmla="*/ 0 h 1569"/>
                <a:gd name="T2" fmla="*/ 0 w 1009"/>
                <a:gd name="T3" fmla="*/ 0 h 1569"/>
                <a:gd name="T4" fmla="*/ 0 w 1009"/>
                <a:gd name="T5" fmla="*/ 0 h 1569"/>
                <a:gd name="T6" fmla="*/ 0 w 1009"/>
                <a:gd name="T7" fmla="*/ 0 h 1569"/>
                <a:gd name="T8" fmla="*/ 0 w 1009"/>
                <a:gd name="T9" fmla="*/ 0 h 1569"/>
                <a:gd name="T10" fmla="*/ 0 w 1009"/>
                <a:gd name="T11" fmla="*/ 0 h 1569"/>
                <a:gd name="T12" fmla="*/ 0 w 1009"/>
                <a:gd name="T13" fmla="*/ 0 h 1569"/>
                <a:gd name="T14" fmla="*/ 0 w 1009"/>
                <a:gd name="T15" fmla="*/ 0 h 1569"/>
                <a:gd name="T16" fmla="*/ 0 w 1009"/>
                <a:gd name="T17" fmla="*/ 0 h 1569"/>
                <a:gd name="T18" fmla="*/ 0 w 1009"/>
                <a:gd name="T19" fmla="*/ 0 h 1569"/>
                <a:gd name="T20" fmla="*/ 0 w 1009"/>
                <a:gd name="T21" fmla="*/ 0 h 1569"/>
                <a:gd name="T22" fmla="*/ 0 w 1009"/>
                <a:gd name="T23" fmla="*/ 0 h 1569"/>
                <a:gd name="T24" fmla="*/ 0 w 1009"/>
                <a:gd name="T25" fmla="*/ 0 h 1569"/>
                <a:gd name="T26" fmla="*/ 0 w 1009"/>
                <a:gd name="T27" fmla="*/ 0 h 1569"/>
                <a:gd name="T28" fmla="*/ 0 w 1009"/>
                <a:gd name="T29" fmla="*/ 0 h 1569"/>
                <a:gd name="T30" fmla="*/ 0 w 1009"/>
                <a:gd name="T31" fmla="*/ 0 h 1569"/>
                <a:gd name="T32" fmla="*/ 0 w 1009"/>
                <a:gd name="T33" fmla="*/ 0 h 1569"/>
                <a:gd name="T34" fmla="*/ 0 w 1009"/>
                <a:gd name="T35" fmla="*/ 0 h 1569"/>
                <a:gd name="T36" fmla="*/ 0 w 1009"/>
                <a:gd name="T37" fmla="*/ 0 h 1569"/>
                <a:gd name="T38" fmla="*/ 0 w 1009"/>
                <a:gd name="T39" fmla="*/ 0 h 1569"/>
                <a:gd name="T40" fmla="*/ 0 w 1009"/>
                <a:gd name="T41" fmla="*/ 0 h 1569"/>
                <a:gd name="T42" fmla="*/ 0 w 1009"/>
                <a:gd name="T43" fmla="*/ 0 h 1569"/>
                <a:gd name="T44" fmla="*/ 0 w 1009"/>
                <a:gd name="T45" fmla="*/ 0 h 1569"/>
                <a:gd name="T46" fmla="*/ 0 w 1009"/>
                <a:gd name="T47" fmla="*/ 0 h 1569"/>
                <a:gd name="T48" fmla="*/ 0 w 1009"/>
                <a:gd name="T49" fmla="*/ 0 h 1569"/>
                <a:gd name="T50" fmla="*/ 0 w 1009"/>
                <a:gd name="T51" fmla="*/ 0 h 1569"/>
                <a:gd name="T52" fmla="*/ 0 w 1009"/>
                <a:gd name="T53" fmla="*/ 0 h 1569"/>
                <a:gd name="T54" fmla="*/ 0 w 1009"/>
                <a:gd name="T55" fmla="*/ 0 h 1569"/>
                <a:gd name="T56" fmla="*/ 0 w 1009"/>
                <a:gd name="T57" fmla="*/ 0 h 1569"/>
                <a:gd name="T58" fmla="*/ 0 w 1009"/>
                <a:gd name="T59" fmla="*/ 0 h 1569"/>
                <a:gd name="T60" fmla="*/ 0 w 1009"/>
                <a:gd name="T61" fmla="*/ 0 h 1569"/>
                <a:gd name="T62" fmla="*/ 0 w 1009"/>
                <a:gd name="T63" fmla="*/ 0 h 1569"/>
                <a:gd name="T64" fmla="*/ 0 w 1009"/>
                <a:gd name="T65" fmla="*/ 0 h 1569"/>
                <a:gd name="T66" fmla="*/ 0 w 1009"/>
                <a:gd name="T67" fmla="*/ 0 h 1569"/>
                <a:gd name="T68" fmla="*/ 0 w 1009"/>
                <a:gd name="T69" fmla="*/ 0 h 1569"/>
                <a:gd name="T70" fmla="*/ 0 w 1009"/>
                <a:gd name="T71" fmla="*/ 0 h 1569"/>
                <a:gd name="T72" fmla="*/ 0 w 1009"/>
                <a:gd name="T73" fmla="*/ 0 h 1569"/>
                <a:gd name="T74" fmla="*/ 0 w 1009"/>
                <a:gd name="T75" fmla="*/ 0 h 1569"/>
                <a:gd name="T76" fmla="*/ 0 w 1009"/>
                <a:gd name="T77" fmla="*/ 0 h 1569"/>
                <a:gd name="T78" fmla="*/ 0 w 1009"/>
                <a:gd name="T79" fmla="*/ 0 h 1569"/>
                <a:gd name="T80" fmla="*/ 0 w 1009"/>
                <a:gd name="T81" fmla="*/ 0 h 1569"/>
                <a:gd name="T82" fmla="*/ 0 w 1009"/>
                <a:gd name="T83" fmla="*/ 0 h 1569"/>
                <a:gd name="T84" fmla="*/ 0 w 1009"/>
                <a:gd name="T85" fmla="*/ 0 h 1569"/>
                <a:gd name="T86" fmla="*/ 0 w 1009"/>
                <a:gd name="T87" fmla="*/ 0 h 1569"/>
                <a:gd name="T88" fmla="*/ 0 w 1009"/>
                <a:gd name="T89" fmla="*/ 0 h 1569"/>
                <a:gd name="T90" fmla="*/ 0 w 1009"/>
                <a:gd name="T91" fmla="*/ 0 h 1569"/>
                <a:gd name="T92" fmla="*/ 0 w 1009"/>
                <a:gd name="T93" fmla="*/ 0 h 1569"/>
                <a:gd name="T94" fmla="*/ 0 w 1009"/>
                <a:gd name="T95" fmla="*/ 0 h 1569"/>
                <a:gd name="T96" fmla="*/ 0 w 1009"/>
                <a:gd name="T97" fmla="*/ 0 h 1569"/>
                <a:gd name="T98" fmla="*/ 0 w 1009"/>
                <a:gd name="T99" fmla="*/ 0 h 1569"/>
                <a:gd name="T100" fmla="*/ 0 w 1009"/>
                <a:gd name="T101" fmla="*/ 0 h 1569"/>
                <a:gd name="T102" fmla="*/ 0 w 1009"/>
                <a:gd name="T103" fmla="*/ 0 h 1569"/>
                <a:gd name="T104" fmla="*/ 0 w 1009"/>
                <a:gd name="T105" fmla="*/ 0 h 1569"/>
                <a:gd name="T106" fmla="*/ 0 w 1009"/>
                <a:gd name="T107" fmla="*/ 0 h 1569"/>
                <a:gd name="T108" fmla="*/ 0 w 1009"/>
                <a:gd name="T109" fmla="*/ 0 h 1569"/>
                <a:gd name="T110" fmla="*/ 0 w 1009"/>
                <a:gd name="T111" fmla="*/ 0 h 1569"/>
                <a:gd name="T112" fmla="*/ 0 w 1009"/>
                <a:gd name="T113" fmla="*/ 0 h 1569"/>
                <a:gd name="T114" fmla="*/ 0 w 1009"/>
                <a:gd name="T115" fmla="*/ 0 h 1569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009"/>
                <a:gd name="T175" fmla="*/ 0 h 1569"/>
                <a:gd name="T176" fmla="*/ 1009 w 1009"/>
                <a:gd name="T177" fmla="*/ 1569 h 1569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009" h="1569">
                  <a:moveTo>
                    <a:pt x="840" y="158"/>
                  </a:moveTo>
                  <a:cubicBezTo>
                    <a:pt x="839" y="158"/>
                    <a:pt x="838" y="158"/>
                    <a:pt x="837" y="157"/>
                  </a:cubicBezTo>
                  <a:lnTo>
                    <a:pt x="607" y="117"/>
                  </a:lnTo>
                  <a:cubicBezTo>
                    <a:pt x="607" y="117"/>
                    <a:pt x="606" y="117"/>
                    <a:pt x="605" y="117"/>
                  </a:cubicBezTo>
                  <a:lnTo>
                    <a:pt x="512" y="76"/>
                  </a:lnTo>
                  <a:cubicBezTo>
                    <a:pt x="512" y="76"/>
                    <a:pt x="511" y="76"/>
                    <a:pt x="511" y="76"/>
                  </a:cubicBezTo>
                  <a:lnTo>
                    <a:pt x="418" y="15"/>
                  </a:lnTo>
                  <a:lnTo>
                    <a:pt x="425" y="16"/>
                  </a:lnTo>
                  <a:lnTo>
                    <a:pt x="356" y="36"/>
                  </a:lnTo>
                  <a:cubicBezTo>
                    <a:pt x="355" y="37"/>
                    <a:pt x="354" y="37"/>
                    <a:pt x="353" y="37"/>
                  </a:cubicBezTo>
                  <a:lnTo>
                    <a:pt x="213" y="16"/>
                  </a:lnTo>
                  <a:lnTo>
                    <a:pt x="218" y="15"/>
                  </a:lnTo>
                  <a:lnTo>
                    <a:pt x="150" y="56"/>
                  </a:lnTo>
                  <a:cubicBezTo>
                    <a:pt x="149" y="56"/>
                    <a:pt x="148" y="56"/>
                    <a:pt x="147" y="57"/>
                  </a:cubicBezTo>
                  <a:lnTo>
                    <a:pt x="54" y="77"/>
                  </a:lnTo>
                  <a:lnTo>
                    <a:pt x="60" y="69"/>
                  </a:lnTo>
                  <a:lnTo>
                    <a:pt x="60" y="129"/>
                  </a:lnTo>
                  <a:cubicBezTo>
                    <a:pt x="60" y="131"/>
                    <a:pt x="60" y="132"/>
                    <a:pt x="59" y="133"/>
                  </a:cubicBezTo>
                  <a:lnTo>
                    <a:pt x="37" y="174"/>
                  </a:lnTo>
                  <a:lnTo>
                    <a:pt x="36" y="164"/>
                  </a:lnTo>
                  <a:lnTo>
                    <a:pt x="104" y="224"/>
                  </a:lnTo>
                  <a:cubicBezTo>
                    <a:pt x="107" y="226"/>
                    <a:pt x="108" y="230"/>
                    <a:pt x="106" y="233"/>
                  </a:cubicBezTo>
                  <a:lnTo>
                    <a:pt x="60" y="354"/>
                  </a:lnTo>
                  <a:lnTo>
                    <a:pt x="60" y="348"/>
                  </a:lnTo>
                  <a:lnTo>
                    <a:pt x="84" y="409"/>
                  </a:lnTo>
                  <a:cubicBezTo>
                    <a:pt x="86" y="411"/>
                    <a:pt x="85" y="414"/>
                    <a:pt x="83" y="417"/>
                  </a:cubicBezTo>
                  <a:lnTo>
                    <a:pt x="15" y="497"/>
                  </a:lnTo>
                  <a:lnTo>
                    <a:pt x="16" y="492"/>
                  </a:lnTo>
                  <a:lnTo>
                    <a:pt x="16" y="512"/>
                  </a:lnTo>
                  <a:lnTo>
                    <a:pt x="7" y="505"/>
                  </a:lnTo>
                  <a:lnTo>
                    <a:pt x="190" y="464"/>
                  </a:lnTo>
                  <a:cubicBezTo>
                    <a:pt x="194" y="463"/>
                    <a:pt x="197" y="465"/>
                    <a:pt x="199" y="468"/>
                  </a:cubicBezTo>
                  <a:cubicBezTo>
                    <a:pt x="201" y="471"/>
                    <a:pt x="200" y="475"/>
                    <a:pt x="198" y="477"/>
                  </a:cubicBezTo>
                  <a:lnTo>
                    <a:pt x="130" y="558"/>
                  </a:lnTo>
                  <a:lnTo>
                    <a:pt x="131" y="555"/>
                  </a:lnTo>
                  <a:lnTo>
                    <a:pt x="107" y="655"/>
                  </a:lnTo>
                  <a:lnTo>
                    <a:pt x="107" y="651"/>
                  </a:lnTo>
                  <a:lnTo>
                    <a:pt x="153" y="833"/>
                  </a:lnTo>
                  <a:lnTo>
                    <a:pt x="144" y="827"/>
                  </a:lnTo>
                  <a:lnTo>
                    <a:pt x="330" y="787"/>
                  </a:lnTo>
                  <a:cubicBezTo>
                    <a:pt x="332" y="786"/>
                    <a:pt x="335" y="787"/>
                    <a:pt x="337" y="788"/>
                  </a:cubicBezTo>
                  <a:cubicBezTo>
                    <a:pt x="339" y="790"/>
                    <a:pt x="340" y="792"/>
                    <a:pt x="340" y="795"/>
                  </a:cubicBezTo>
                  <a:lnTo>
                    <a:pt x="340" y="895"/>
                  </a:lnTo>
                  <a:lnTo>
                    <a:pt x="336" y="889"/>
                  </a:lnTo>
                  <a:lnTo>
                    <a:pt x="452" y="969"/>
                  </a:lnTo>
                  <a:cubicBezTo>
                    <a:pt x="455" y="972"/>
                    <a:pt x="456" y="976"/>
                    <a:pt x="454" y="979"/>
                  </a:cubicBezTo>
                  <a:lnTo>
                    <a:pt x="430" y="1039"/>
                  </a:lnTo>
                  <a:lnTo>
                    <a:pt x="429" y="1032"/>
                  </a:lnTo>
                  <a:lnTo>
                    <a:pt x="475" y="1092"/>
                  </a:lnTo>
                  <a:cubicBezTo>
                    <a:pt x="477" y="1094"/>
                    <a:pt x="477" y="1096"/>
                    <a:pt x="477" y="1099"/>
                  </a:cubicBezTo>
                  <a:cubicBezTo>
                    <a:pt x="476" y="1101"/>
                    <a:pt x="474" y="1103"/>
                    <a:pt x="472" y="1104"/>
                  </a:cubicBezTo>
                  <a:lnTo>
                    <a:pt x="379" y="1145"/>
                  </a:lnTo>
                  <a:cubicBezTo>
                    <a:pt x="377" y="1145"/>
                    <a:pt x="376" y="1145"/>
                    <a:pt x="374" y="1145"/>
                  </a:cubicBezTo>
                  <a:lnTo>
                    <a:pt x="283" y="1125"/>
                  </a:lnTo>
                  <a:lnTo>
                    <a:pt x="293" y="1117"/>
                  </a:lnTo>
                  <a:lnTo>
                    <a:pt x="293" y="1198"/>
                  </a:lnTo>
                  <a:lnTo>
                    <a:pt x="291" y="1192"/>
                  </a:lnTo>
                  <a:lnTo>
                    <a:pt x="359" y="1252"/>
                  </a:lnTo>
                  <a:lnTo>
                    <a:pt x="350" y="1251"/>
                  </a:lnTo>
                  <a:lnTo>
                    <a:pt x="418" y="1211"/>
                  </a:lnTo>
                  <a:cubicBezTo>
                    <a:pt x="419" y="1210"/>
                    <a:pt x="421" y="1210"/>
                    <a:pt x="422" y="1210"/>
                  </a:cubicBezTo>
                  <a:lnTo>
                    <a:pt x="469" y="1210"/>
                  </a:lnTo>
                  <a:cubicBezTo>
                    <a:pt x="470" y="1210"/>
                    <a:pt x="471" y="1210"/>
                    <a:pt x="472" y="1210"/>
                  </a:cubicBezTo>
                  <a:lnTo>
                    <a:pt x="519" y="1231"/>
                  </a:lnTo>
                  <a:lnTo>
                    <a:pt x="612" y="1271"/>
                  </a:lnTo>
                  <a:cubicBezTo>
                    <a:pt x="614" y="1272"/>
                    <a:pt x="615" y="1273"/>
                    <a:pt x="616" y="1276"/>
                  </a:cubicBezTo>
                  <a:lnTo>
                    <a:pt x="638" y="1336"/>
                  </a:lnTo>
                  <a:lnTo>
                    <a:pt x="660" y="1417"/>
                  </a:lnTo>
                  <a:lnTo>
                    <a:pt x="656" y="1412"/>
                  </a:lnTo>
                  <a:lnTo>
                    <a:pt x="749" y="1452"/>
                  </a:lnTo>
                  <a:cubicBezTo>
                    <a:pt x="752" y="1454"/>
                    <a:pt x="753" y="1456"/>
                    <a:pt x="754" y="1459"/>
                  </a:cubicBezTo>
                  <a:cubicBezTo>
                    <a:pt x="754" y="1462"/>
                    <a:pt x="752" y="1465"/>
                    <a:pt x="750" y="1467"/>
                  </a:cubicBezTo>
                  <a:lnTo>
                    <a:pt x="681" y="1507"/>
                  </a:lnTo>
                  <a:lnTo>
                    <a:pt x="685" y="1500"/>
                  </a:lnTo>
                  <a:lnTo>
                    <a:pt x="685" y="1520"/>
                  </a:lnTo>
                  <a:lnTo>
                    <a:pt x="677" y="1512"/>
                  </a:lnTo>
                  <a:lnTo>
                    <a:pt x="724" y="1512"/>
                  </a:lnTo>
                  <a:lnTo>
                    <a:pt x="722" y="1512"/>
                  </a:lnTo>
                  <a:lnTo>
                    <a:pt x="952" y="1472"/>
                  </a:lnTo>
                  <a:cubicBezTo>
                    <a:pt x="955" y="1471"/>
                    <a:pt x="958" y="1472"/>
                    <a:pt x="960" y="1474"/>
                  </a:cubicBezTo>
                  <a:cubicBezTo>
                    <a:pt x="962" y="1476"/>
                    <a:pt x="962" y="1479"/>
                    <a:pt x="962" y="1482"/>
                  </a:cubicBezTo>
                  <a:lnTo>
                    <a:pt x="940" y="1563"/>
                  </a:lnTo>
                  <a:lnTo>
                    <a:pt x="928" y="1554"/>
                  </a:lnTo>
                  <a:lnTo>
                    <a:pt x="996" y="1513"/>
                  </a:lnTo>
                  <a:lnTo>
                    <a:pt x="992" y="1520"/>
                  </a:lnTo>
                  <a:lnTo>
                    <a:pt x="971" y="135"/>
                  </a:lnTo>
                  <a:lnTo>
                    <a:pt x="979" y="142"/>
                  </a:lnTo>
                  <a:lnTo>
                    <a:pt x="840" y="158"/>
                  </a:lnTo>
                  <a:close/>
                  <a:moveTo>
                    <a:pt x="978" y="126"/>
                  </a:moveTo>
                  <a:cubicBezTo>
                    <a:pt x="980" y="126"/>
                    <a:pt x="982" y="127"/>
                    <a:pt x="984" y="128"/>
                  </a:cubicBezTo>
                  <a:cubicBezTo>
                    <a:pt x="986" y="130"/>
                    <a:pt x="987" y="132"/>
                    <a:pt x="987" y="134"/>
                  </a:cubicBezTo>
                  <a:lnTo>
                    <a:pt x="1008" y="1520"/>
                  </a:lnTo>
                  <a:cubicBezTo>
                    <a:pt x="1009" y="1523"/>
                    <a:pt x="1007" y="1526"/>
                    <a:pt x="1005" y="1527"/>
                  </a:cubicBezTo>
                  <a:lnTo>
                    <a:pt x="936" y="1567"/>
                  </a:lnTo>
                  <a:cubicBezTo>
                    <a:pt x="933" y="1569"/>
                    <a:pt x="930" y="1569"/>
                    <a:pt x="927" y="1567"/>
                  </a:cubicBezTo>
                  <a:cubicBezTo>
                    <a:pt x="925" y="1565"/>
                    <a:pt x="923" y="1562"/>
                    <a:pt x="924" y="1558"/>
                  </a:cubicBezTo>
                  <a:lnTo>
                    <a:pt x="946" y="1478"/>
                  </a:lnTo>
                  <a:lnTo>
                    <a:pt x="955" y="1488"/>
                  </a:lnTo>
                  <a:lnTo>
                    <a:pt x="725" y="1528"/>
                  </a:lnTo>
                  <a:cubicBezTo>
                    <a:pt x="725" y="1528"/>
                    <a:pt x="724" y="1528"/>
                    <a:pt x="724" y="1528"/>
                  </a:cubicBezTo>
                  <a:lnTo>
                    <a:pt x="677" y="1528"/>
                  </a:lnTo>
                  <a:cubicBezTo>
                    <a:pt x="673" y="1528"/>
                    <a:pt x="669" y="1525"/>
                    <a:pt x="669" y="1520"/>
                  </a:cubicBezTo>
                  <a:lnTo>
                    <a:pt x="669" y="1500"/>
                  </a:lnTo>
                  <a:cubicBezTo>
                    <a:pt x="669" y="1497"/>
                    <a:pt x="671" y="1495"/>
                    <a:pt x="673" y="1493"/>
                  </a:cubicBezTo>
                  <a:lnTo>
                    <a:pt x="742" y="1453"/>
                  </a:lnTo>
                  <a:lnTo>
                    <a:pt x="742" y="1467"/>
                  </a:lnTo>
                  <a:lnTo>
                    <a:pt x="649" y="1427"/>
                  </a:lnTo>
                  <a:cubicBezTo>
                    <a:pt x="647" y="1426"/>
                    <a:pt x="645" y="1424"/>
                    <a:pt x="645" y="1421"/>
                  </a:cubicBezTo>
                  <a:lnTo>
                    <a:pt x="623" y="1341"/>
                  </a:lnTo>
                  <a:lnTo>
                    <a:pt x="601" y="1281"/>
                  </a:lnTo>
                  <a:lnTo>
                    <a:pt x="605" y="1286"/>
                  </a:lnTo>
                  <a:lnTo>
                    <a:pt x="512" y="1245"/>
                  </a:lnTo>
                  <a:lnTo>
                    <a:pt x="466" y="1225"/>
                  </a:lnTo>
                  <a:lnTo>
                    <a:pt x="469" y="1226"/>
                  </a:lnTo>
                  <a:lnTo>
                    <a:pt x="422" y="1226"/>
                  </a:lnTo>
                  <a:lnTo>
                    <a:pt x="426" y="1225"/>
                  </a:lnTo>
                  <a:lnTo>
                    <a:pt x="358" y="1265"/>
                  </a:lnTo>
                  <a:cubicBezTo>
                    <a:pt x="355" y="1267"/>
                    <a:pt x="351" y="1266"/>
                    <a:pt x="348" y="1264"/>
                  </a:cubicBezTo>
                  <a:lnTo>
                    <a:pt x="280" y="1204"/>
                  </a:lnTo>
                  <a:cubicBezTo>
                    <a:pt x="278" y="1202"/>
                    <a:pt x="277" y="1200"/>
                    <a:pt x="277" y="1198"/>
                  </a:cubicBezTo>
                  <a:lnTo>
                    <a:pt x="277" y="1117"/>
                  </a:lnTo>
                  <a:cubicBezTo>
                    <a:pt x="277" y="1115"/>
                    <a:pt x="278" y="1112"/>
                    <a:pt x="280" y="1111"/>
                  </a:cubicBezTo>
                  <a:cubicBezTo>
                    <a:pt x="282" y="1109"/>
                    <a:pt x="285" y="1109"/>
                    <a:pt x="287" y="1109"/>
                  </a:cubicBezTo>
                  <a:lnTo>
                    <a:pt x="377" y="1129"/>
                  </a:lnTo>
                  <a:lnTo>
                    <a:pt x="372" y="1130"/>
                  </a:lnTo>
                  <a:lnTo>
                    <a:pt x="466" y="1090"/>
                  </a:lnTo>
                  <a:lnTo>
                    <a:pt x="462" y="1102"/>
                  </a:lnTo>
                  <a:lnTo>
                    <a:pt x="416" y="1041"/>
                  </a:lnTo>
                  <a:cubicBezTo>
                    <a:pt x="414" y="1039"/>
                    <a:pt x="414" y="1036"/>
                    <a:pt x="415" y="1033"/>
                  </a:cubicBezTo>
                  <a:lnTo>
                    <a:pt x="439" y="973"/>
                  </a:lnTo>
                  <a:lnTo>
                    <a:pt x="442" y="983"/>
                  </a:lnTo>
                  <a:lnTo>
                    <a:pt x="327" y="902"/>
                  </a:lnTo>
                  <a:cubicBezTo>
                    <a:pt x="325" y="900"/>
                    <a:pt x="324" y="898"/>
                    <a:pt x="324" y="895"/>
                  </a:cubicBezTo>
                  <a:lnTo>
                    <a:pt x="324" y="795"/>
                  </a:lnTo>
                  <a:lnTo>
                    <a:pt x="334" y="802"/>
                  </a:lnTo>
                  <a:lnTo>
                    <a:pt x="147" y="843"/>
                  </a:lnTo>
                  <a:cubicBezTo>
                    <a:pt x="143" y="844"/>
                    <a:pt x="139" y="841"/>
                    <a:pt x="138" y="837"/>
                  </a:cubicBezTo>
                  <a:lnTo>
                    <a:pt x="91" y="655"/>
                  </a:lnTo>
                  <a:cubicBezTo>
                    <a:pt x="91" y="654"/>
                    <a:pt x="91" y="653"/>
                    <a:pt x="91" y="652"/>
                  </a:cubicBezTo>
                  <a:lnTo>
                    <a:pt x="116" y="551"/>
                  </a:lnTo>
                  <a:cubicBezTo>
                    <a:pt x="116" y="550"/>
                    <a:pt x="117" y="548"/>
                    <a:pt x="117" y="547"/>
                  </a:cubicBezTo>
                  <a:lnTo>
                    <a:pt x="186" y="467"/>
                  </a:lnTo>
                  <a:lnTo>
                    <a:pt x="194" y="480"/>
                  </a:lnTo>
                  <a:lnTo>
                    <a:pt x="10" y="520"/>
                  </a:lnTo>
                  <a:cubicBezTo>
                    <a:pt x="8" y="521"/>
                    <a:pt x="5" y="520"/>
                    <a:pt x="3" y="519"/>
                  </a:cubicBezTo>
                  <a:cubicBezTo>
                    <a:pt x="2" y="517"/>
                    <a:pt x="0" y="515"/>
                    <a:pt x="0" y="512"/>
                  </a:cubicBezTo>
                  <a:lnTo>
                    <a:pt x="0" y="492"/>
                  </a:lnTo>
                  <a:cubicBezTo>
                    <a:pt x="0" y="490"/>
                    <a:pt x="1" y="488"/>
                    <a:pt x="2" y="487"/>
                  </a:cubicBezTo>
                  <a:lnTo>
                    <a:pt x="71" y="406"/>
                  </a:lnTo>
                  <a:lnTo>
                    <a:pt x="70" y="415"/>
                  </a:lnTo>
                  <a:lnTo>
                    <a:pt x="45" y="354"/>
                  </a:lnTo>
                  <a:cubicBezTo>
                    <a:pt x="44" y="352"/>
                    <a:pt x="44" y="350"/>
                    <a:pt x="45" y="348"/>
                  </a:cubicBezTo>
                  <a:lnTo>
                    <a:pt x="91" y="227"/>
                  </a:lnTo>
                  <a:lnTo>
                    <a:pt x="94" y="236"/>
                  </a:lnTo>
                  <a:lnTo>
                    <a:pt x="25" y="176"/>
                  </a:lnTo>
                  <a:cubicBezTo>
                    <a:pt x="22" y="173"/>
                    <a:pt x="22" y="169"/>
                    <a:pt x="23" y="166"/>
                  </a:cubicBezTo>
                  <a:lnTo>
                    <a:pt x="45" y="126"/>
                  </a:lnTo>
                  <a:lnTo>
                    <a:pt x="44" y="129"/>
                  </a:lnTo>
                  <a:lnTo>
                    <a:pt x="44" y="69"/>
                  </a:lnTo>
                  <a:cubicBezTo>
                    <a:pt x="44" y="65"/>
                    <a:pt x="47" y="62"/>
                    <a:pt x="51" y="61"/>
                  </a:cubicBezTo>
                  <a:lnTo>
                    <a:pt x="144" y="41"/>
                  </a:lnTo>
                  <a:lnTo>
                    <a:pt x="141" y="42"/>
                  </a:lnTo>
                  <a:lnTo>
                    <a:pt x="210" y="2"/>
                  </a:lnTo>
                  <a:cubicBezTo>
                    <a:pt x="211" y="1"/>
                    <a:pt x="213" y="0"/>
                    <a:pt x="215" y="1"/>
                  </a:cubicBezTo>
                  <a:lnTo>
                    <a:pt x="355" y="21"/>
                  </a:lnTo>
                  <a:lnTo>
                    <a:pt x="351" y="21"/>
                  </a:lnTo>
                  <a:lnTo>
                    <a:pt x="420" y="1"/>
                  </a:lnTo>
                  <a:cubicBezTo>
                    <a:pt x="422" y="0"/>
                    <a:pt x="425" y="0"/>
                    <a:pt x="427" y="2"/>
                  </a:cubicBezTo>
                  <a:lnTo>
                    <a:pt x="520" y="62"/>
                  </a:lnTo>
                  <a:lnTo>
                    <a:pt x="519" y="62"/>
                  </a:lnTo>
                  <a:lnTo>
                    <a:pt x="612" y="102"/>
                  </a:lnTo>
                  <a:lnTo>
                    <a:pt x="610" y="101"/>
                  </a:lnTo>
                  <a:lnTo>
                    <a:pt x="840" y="142"/>
                  </a:lnTo>
                  <a:lnTo>
                    <a:pt x="838" y="142"/>
                  </a:lnTo>
                  <a:lnTo>
                    <a:pt x="978" y="126"/>
                  </a:lnTo>
                  <a:close/>
                </a:path>
              </a:pathLst>
            </a:custGeom>
            <a:solidFill>
              <a:srgbClr val="000000"/>
            </a:solidFill>
            <a:ln w="0" cap="flat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214" name="Freeform 181"/>
            <p:cNvSpPr>
              <a:spLocks noEditPoints="1"/>
            </p:cNvSpPr>
            <p:nvPr/>
          </p:nvSpPr>
          <p:spPr bwMode="auto">
            <a:xfrm>
              <a:off x="4127" y="1797"/>
              <a:ext cx="142" cy="68"/>
            </a:xfrm>
            <a:custGeom>
              <a:avLst/>
              <a:gdLst>
                <a:gd name="T0" fmla="*/ 0 w 593"/>
                <a:gd name="T1" fmla="*/ 0 h 289"/>
                <a:gd name="T2" fmla="*/ 0 w 593"/>
                <a:gd name="T3" fmla="*/ 0 h 289"/>
                <a:gd name="T4" fmla="*/ 0 w 593"/>
                <a:gd name="T5" fmla="*/ 0 h 289"/>
                <a:gd name="T6" fmla="*/ 0 w 593"/>
                <a:gd name="T7" fmla="*/ 0 h 289"/>
                <a:gd name="T8" fmla="*/ 0 w 593"/>
                <a:gd name="T9" fmla="*/ 0 h 289"/>
                <a:gd name="T10" fmla="*/ 0 w 593"/>
                <a:gd name="T11" fmla="*/ 0 h 289"/>
                <a:gd name="T12" fmla="*/ 0 w 593"/>
                <a:gd name="T13" fmla="*/ 0 h 289"/>
                <a:gd name="T14" fmla="*/ 0 w 593"/>
                <a:gd name="T15" fmla="*/ 0 h 289"/>
                <a:gd name="T16" fmla="*/ 0 w 593"/>
                <a:gd name="T17" fmla="*/ 0 h 289"/>
                <a:gd name="T18" fmla="*/ 0 w 593"/>
                <a:gd name="T19" fmla="*/ 0 h 289"/>
                <a:gd name="T20" fmla="*/ 0 w 593"/>
                <a:gd name="T21" fmla="*/ 0 h 289"/>
                <a:gd name="T22" fmla="*/ 0 w 593"/>
                <a:gd name="T23" fmla="*/ 0 h 289"/>
                <a:gd name="T24" fmla="*/ 0 w 593"/>
                <a:gd name="T25" fmla="*/ 0 h 289"/>
                <a:gd name="T26" fmla="*/ 0 w 593"/>
                <a:gd name="T27" fmla="*/ 0 h 289"/>
                <a:gd name="T28" fmla="*/ 0 w 593"/>
                <a:gd name="T29" fmla="*/ 0 h 289"/>
                <a:gd name="T30" fmla="*/ 0 w 593"/>
                <a:gd name="T31" fmla="*/ 0 h 289"/>
                <a:gd name="T32" fmla="*/ 0 w 593"/>
                <a:gd name="T33" fmla="*/ 0 h 289"/>
                <a:gd name="T34" fmla="*/ 0 w 593"/>
                <a:gd name="T35" fmla="*/ 0 h 289"/>
                <a:gd name="T36" fmla="*/ 0 w 593"/>
                <a:gd name="T37" fmla="*/ 0 h 289"/>
                <a:gd name="T38" fmla="*/ 0 w 593"/>
                <a:gd name="T39" fmla="*/ 0 h 289"/>
                <a:gd name="T40" fmla="*/ 0 w 593"/>
                <a:gd name="T41" fmla="*/ 0 h 289"/>
                <a:gd name="T42" fmla="*/ 0 w 593"/>
                <a:gd name="T43" fmla="*/ 0 h 289"/>
                <a:gd name="T44" fmla="*/ 0 w 593"/>
                <a:gd name="T45" fmla="*/ 0 h 289"/>
                <a:gd name="T46" fmla="*/ 0 w 593"/>
                <a:gd name="T47" fmla="*/ 0 h 289"/>
                <a:gd name="T48" fmla="*/ 0 w 593"/>
                <a:gd name="T49" fmla="*/ 0 h 289"/>
                <a:gd name="T50" fmla="*/ 0 w 593"/>
                <a:gd name="T51" fmla="*/ 0 h 289"/>
                <a:gd name="T52" fmla="*/ 0 w 593"/>
                <a:gd name="T53" fmla="*/ 0 h 289"/>
                <a:gd name="T54" fmla="*/ 0 w 593"/>
                <a:gd name="T55" fmla="*/ 0 h 289"/>
                <a:gd name="T56" fmla="*/ 0 w 593"/>
                <a:gd name="T57" fmla="*/ 0 h 289"/>
                <a:gd name="T58" fmla="*/ 0 w 593"/>
                <a:gd name="T59" fmla="*/ 0 h 289"/>
                <a:gd name="T60" fmla="*/ 0 w 593"/>
                <a:gd name="T61" fmla="*/ 0 h 289"/>
                <a:gd name="T62" fmla="*/ 0 w 593"/>
                <a:gd name="T63" fmla="*/ 0 h 289"/>
                <a:gd name="T64" fmla="*/ 0 w 593"/>
                <a:gd name="T65" fmla="*/ 0 h 289"/>
                <a:gd name="T66" fmla="*/ 0 w 593"/>
                <a:gd name="T67" fmla="*/ 0 h 289"/>
                <a:gd name="T68" fmla="*/ 0 w 593"/>
                <a:gd name="T69" fmla="*/ 0 h 289"/>
                <a:gd name="T70" fmla="*/ 0 w 593"/>
                <a:gd name="T71" fmla="*/ 0 h 289"/>
                <a:gd name="T72" fmla="*/ 0 w 593"/>
                <a:gd name="T73" fmla="*/ 0 h 289"/>
                <a:gd name="T74" fmla="*/ 0 w 593"/>
                <a:gd name="T75" fmla="*/ 0 h 289"/>
                <a:gd name="T76" fmla="*/ 0 w 593"/>
                <a:gd name="T77" fmla="*/ 0 h 289"/>
                <a:gd name="T78" fmla="*/ 0 w 593"/>
                <a:gd name="T79" fmla="*/ 0 h 289"/>
                <a:gd name="T80" fmla="*/ 0 w 593"/>
                <a:gd name="T81" fmla="*/ 0 h 289"/>
                <a:gd name="T82" fmla="*/ 0 w 593"/>
                <a:gd name="T83" fmla="*/ 0 h 289"/>
                <a:gd name="T84" fmla="*/ 0 w 593"/>
                <a:gd name="T85" fmla="*/ 0 h 289"/>
                <a:gd name="T86" fmla="*/ 0 w 593"/>
                <a:gd name="T87" fmla="*/ 0 h 289"/>
                <a:gd name="T88" fmla="*/ 0 w 593"/>
                <a:gd name="T89" fmla="*/ 0 h 289"/>
                <a:gd name="T90" fmla="*/ 0 w 593"/>
                <a:gd name="T91" fmla="*/ 0 h 289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593"/>
                <a:gd name="T139" fmla="*/ 0 h 289"/>
                <a:gd name="T140" fmla="*/ 593 w 593"/>
                <a:gd name="T141" fmla="*/ 289 h 289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593" h="289">
                  <a:moveTo>
                    <a:pt x="467" y="36"/>
                  </a:moveTo>
                  <a:lnTo>
                    <a:pt x="469" y="36"/>
                  </a:lnTo>
                  <a:lnTo>
                    <a:pt x="307" y="36"/>
                  </a:lnTo>
                  <a:cubicBezTo>
                    <a:pt x="307" y="36"/>
                    <a:pt x="306" y="36"/>
                    <a:pt x="306" y="36"/>
                  </a:cubicBezTo>
                  <a:lnTo>
                    <a:pt x="215" y="16"/>
                  </a:lnTo>
                  <a:lnTo>
                    <a:pt x="224" y="12"/>
                  </a:lnTo>
                  <a:lnTo>
                    <a:pt x="200" y="70"/>
                  </a:lnTo>
                  <a:cubicBezTo>
                    <a:pt x="199" y="72"/>
                    <a:pt x="197" y="74"/>
                    <a:pt x="194" y="74"/>
                  </a:cubicBezTo>
                  <a:lnTo>
                    <a:pt x="126" y="94"/>
                  </a:lnTo>
                  <a:lnTo>
                    <a:pt x="33" y="132"/>
                  </a:lnTo>
                  <a:lnTo>
                    <a:pt x="38" y="125"/>
                  </a:lnTo>
                  <a:lnTo>
                    <a:pt x="38" y="183"/>
                  </a:lnTo>
                  <a:cubicBezTo>
                    <a:pt x="38" y="184"/>
                    <a:pt x="38" y="185"/>
                    <a:pt x="38" y="186"/>
                  </a:cubicBezTo>
                  <a:lnTo>
                    <a:pt x="16" y="244"/>
                  </a:lnTo>
                  <a:lnTo>
                    <a:pt x="10" y="234"/>
                  </a:lnTo>
                  <a:lnTo>
                    <a:pt x="240" y="273"/>
                  </a:lnTo>
                  <a:lnTo>
                    <a:pt x="238" y="273"/>
                  </a:lnTo>
                  <a:lnTo>
                    <a:pt x="583" y="214"/>
                  </a:lnTo>
                  <a:lnTo>
                    <a:pt x="577" y="224"/>
                  </a:lnTo>
                  <a:lnTo>
                    <a:pt x="530" y="49"/>
                  </a:lnTo>
                  <a:lnTo>
                    <a:pt x="536" y="55"/>
                  </a:lnTo>
                  <a:lnTo>
                    <a:pt x="467" y="36"/>
                  </a:lnTo>
                  <a:close/>
                  <a:moveTo>
                    <a:pt x="540" y="40"/>
                  </a:moveTo>
                  <a:cubicBezTo>
                    <a:pt x="543" y="40"/>
                    <a:pt x="545" y="43"/>
                    <a:pt x="546" y="45"/>
                  </a:cubicBezTo>
                  <a:lnTo>
                    <a:pt x="592" y="220"/>
                  </a:lnTo>
                  <a:cubicBezTo>
                    <a:pt x="593" y="222"/>
                    <a:pt x="592" y="225"/>
                    <a:pt x="591" y="227"/>
                  </a:cubicBezTo>
                  <a:cubicBezTo>
                    <a:pt x="590" y="228"/>
                    <a:pt x="588" y="230"/>
                    <a:pt x="586" y="230"/>
                  </a:cubicBezTo>
                  <a:lnTo>
                    <a:pt x="240" y="288"/>
                  </a:lnTo>
                  <a:cubicBezTo>
                    <a:pt x="239" y="289"/>
                    <a:pt x="238" y="289"/>
                    <a:pt x="238" y="288"/>
                  </a:cubicBezTo>
                  <a:lnTo>
                    <a:pt x="7" y="250"/>
                  </a:lnTo>
                  <a:cubicBezTo>
                    <a:pt x="5" y="249"/>
                    <a:pt x="3" y="248"/>
                    <a:pt x="2" y="246"/>
                  </a:cubicBezTo>
                  <a:cubicBezTo>
                    <a:pt x="0" y="244"/>
                    <a:pt x="0" y="241"/>
                    <a:pt x="1" y="239"/>
                  </a:cubicBezTo>
                  <a:lnTo>
                    <a:pt x="23" y="181"/>
                  </a:lnTo>
                  <a:lnTo>
                    <a:pt x="22" y="183"/>
                  </a:lnTo>
                  <a:lnTo>
                    <a:pt x="22" y="125"/>
                  </a:lnTo>
                  <a:cubicBezTo>
                    <a:pt x="22" y="122"/>
                    <a:pt x="24" y="119"/>
                    <a:pt x="27" y="118"/>
                  </a:cubicBezTo>
                  <a:lnTo>
                    <a:pt x="121" y="78"/>
                  </a:lnTo>
                  <a:lnTo>
                    <a:pt x="190" y="59"/>
                  </a:lnTo>
                  <a:lnTo>
                    <a:pt x="185" y="64"/>
                  </a:lnTo>
                  <a:lnTo>
                    <a:pt x="210" y="5"/>
                  </a:lnTo>
                  <a:cubicBezTo>
                    <a:pt x="211" y="2"/>
                    <a:pt x="215" y="0"/>
                    <a:pt x="219" y="1"/>
                  </a:cubicBezTo>
                  <a:lnTo>
                    <a:pt x="309" y="20"/>
                  </a:lnTo>
                  <a:lnTo>
                    <a:pt x="307" y="20"/>
                  </a:lnTo>
                  <a:lnTo>
                    <a:pt x="469" y="20"/>
                  </a:lnTo>
                  <a:cubicBezTo>
                    <a:pt x="470" y="20"/>
                    <a:pt x="471" y="20"/>
                    <a:pt x="471" y="20"/>
                  </a:cubicBezTo>
                  <a:lnTo>
                    <a:pt x="540" y="40"/>
                  </a:lnTo>
                  <a:close/>
                </a:path>
              </a:pathLst>
            </a:custGeom>
            <a:solidFill>
              <a:srgbClr val="000000"/>
            </a:solidFill>
            <a:ln w="0" cap="flat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215" name="Freeform 182"/>
            <p:cNvSpPr>
              <a:spLocks noEditPoints="1"/>
            </p:cNvSpPr>
            <p:nvPr/>
          </p:nvSpPr>
          <p:spPr bwMode="auto">
            <a:xfrm>
              <a:off x="4319" y="1869"/>
              <a:ext cx="641" cy="560"/>
            </a:xfrm>
            <a:custGeom>
              <a:avLst/>
              <a:gdLst>
                <a:gd name="T0" fmla="*/ 0 w 2688"/>
                <a:gd name="T1" fmla="*/ 0 h 2353"/>
                <a:gd name="T2" fmla="*/ 0 w 2688"/>
                <a:gd name="T3" fmla="*/ 0 h 2353"/>
                <a:gd name="T4" fmla="*/ 0 w 2688"/>
                <a:gd name="T5" fmla="*/ 0 h 2353"/>
                <a:gd name="T6" fmla="*/ 0 w 2688"/>
                <a:gd name="T7" fmla="*/ 0 h 2353"/>
                <a:gd name="T8" fmla="*/ 0 w 2688"/>
                <a:gd name="T9" fmla="*/ 0 h 2353"/>
                <a:gd name="T10" fmla="*/ 0 w 2688"/>
                <a:gd name="T11" fmla="*/ 0 h 2353"/>
                <a:gd name="T12" fmla="*/ 0 w 2688"/>
                <a:gd name="T13" fmla="*/ 0 h 2353"/>
                <a:gd name="T14" fmla="*/ 0 w 2688"/>
                <a:gd name="T15" fmla="*/ 0 h 2353"/>
                <a:gd name="T16" fmla="*/ 0 w 2688"/>
                <a:gd name="T17" fmla="*/ 0 h 2353"/>
                <a:gd name="T18" fmla="*/ 0 w 2688"/>
                <a:gd name="T19" fmla="*/ 0 h 2353"/>
                <a:gd name="T20" fmla="*/ 0 w 2688"/>
                <a:gd name="T21" fmla="*/ 0 h 2353"/>
                <a:gd name="T22" fmla="*/ 0 w 2688"/>
                <a:gd name="T23" fmla="*/ 0 h 2353"/>
                <a:gd name="T24" fmla="*/ 0 w 2688"/>
                <a:gd name="T25" fmla="*/ 0 h 2353"/>
                <a:gd name="T26" fmla="*/ 0 w 2688"/>
                <a:gd name="T27" fmla="*/ 0 h 2353"/>
                <a:gd name="T28" fmla="*/ 0 w 2688"/>
                <a:gd name="T29" fmla="*/ 0 h 2353"/>
                <a:gd name="T30" fmla="*/ 0 w 2688"/>
                <a:gd name="T31" fmla="*/ 0 h 2353"/>
                <a:gd name="T32" fmla="*/ 0 w 2688"/>
                <a:gd name="T33" fmla="*/ 0 h 2353"/>
                <a:gd name="T34" fmla="*/ 0 w 2688"/>
                <a:gd name="T35" fmla="*/ 0 h 2353"/>
                <a:gd name="T36" fmla="*/ 0 w 2688"/>
                <a:gd name="T37" fmla="*/ 0 h 2353"/>
                <a:gd name="T38" fmla="*/ 0 w 2688"/>
                <a:gd name="T39" fmla="*/ 0 h 2353"/>
                <a:gd name="T40" fmla="*/ 0 w 2688"/>
                <a:gd name="T41" fmla="*/ 0 h 2353"/>
                <a:gd name="T42" fmla="*/ 0 w 2688"/>
                <a:gd name="T43" fmla="*/ 0 h 2353"/>
                <a:gd name="T44" fmla="*/ 0 w 2688"/>
                <a:gd name="T45" fmla="*/ 0 h 2353"/>
                <a:gd name="T46" fmla="*/ 0 w 2688"/>
                <a:gd name="T47" fmla="*/ 0 h 2353"/>
                <a:gd name="T48" fmla="*/ 0 w 2688"/>
                <a:gd name="T49" fmla="*/ 0 h 2353"/>
                <a:gd name="T50" fmla="*/ 0 w 2688"/>
                <a:gd name="T51" fmla="*/ 0 h 2353"/>
                <a:gd name="T52" fmla="*/ 0 w 2688"/>
                <a:gd name="T53" fmla="*/ 0 h 2353"/>
                <a:gd name="T54" fmla="*/ 0 w 2688"/>
                <a:gd name="T55" fmla="*/ 0 h 2353"/>
                <a:gd name="T56" fmla="*/ 0 w 2688"/>
                <a:gd name="T57" fmla="*/ 0 h 2353"/>
                <a:gd name="T58" fmla="*/ 0 w 2688"/>
                <a:gd name="T59" fmla="*/ 0 h 2353"/>
                <a:gd name="T60" fmla="*/ 0 w 2688"/>
                <a:gd name="T61" fmla="*/ 0 h 2353"/>
                <a:gd name="T62" fmla="*/ 0 w 2688"/>
                <a:gd name="T63" fmla="*/ 0 h 2353"/>
                <a:gd name="T64" fmla="*/ 0 w 2688"/>
                <a:gd name="T65" fmla="*/ 0 h 2353"/>
                <a:gd name="T66" fmla="*/ 0 w 2688"/>
                <a:gd name="T67" fmla="*/ 0 h 2353"/>
                <a:gd name="T68" fmla="*/ 0 w 2688"/>
                <a:gd name="T69" fmla="*/ 0 h 2353"/>
                <a:gd name="T70" fmla="*/ 0 w 2688"/>
                <a:gd name="T71" fmla="*/ 0 h 2353"/>
                <a:gd name="T72" fmla="*/ 0 w 2688"/>
                <a:gd name="T73" fmla="*/ 0 h 2353"/>
                <a:gd name="T74" fmla="*/ 0 w 2688"/>
                <a:gd name="T75" fmla="*/ 0 h 2353"/>
                <a:gd name="T76" fmla="*/ 0 w 2688"/>
                <a:gd name="T77" fmla="*/ 0 h 2353"/>
                <a:gd name="T78" fmla="*/ 0 w 2688"/>
                <a:gd name="T79" fmla="*/ 0 h 2353"/>
                <a:gd name="T80" fmla="*/ 0 w 2688"/>
                <a:gd name="T81" fmla="*/ 0 h 2353"/>
                <a:gd name="T82" fmla="*/ 0 w 2688"/>
                <a:gd name="T83" fmla="*/ 0 h 2353"/>
                <a:gd name="T84" fmla="*/ 0 w 2688"/>
                <a:gd name="T85" fmla="*/ 0 h 2353"/>
                <a:gd name="T86" fmla="*/ 0 w 2688"/>
                <a:gd name="T87" fmla="*/ 0 h 2353"/>
                <a:gd name="T88" fmla="*/ 0 w 2688"/>
                <a:gd name="T89" fmla="*/ 0 h 2353"/>
                <a:gd name="T90" fmla="*/ 0 w 2688"/>
                <a:gd name="T91" fmla="*/ 0 h 2353"/>
                <a:gd name="T92" fmla="*/ 0 w 2688"/>
                <a:gd name="T93" fmla="*/ 0 h 2353"/>
                <a:gd name="T94" fmla="*/ 0 w 2688"/>
                <a:gd name="T95" fmla="*/ 0 h 2353"/>
                <a:gd name="T96" fmla="*/ 0 w 2688"/>
                <a:gd name="T97" fmla="*/ 0 h 2353"/>
                <a:gd name="T98" fmla="*/ 0 w 2688"/>
                <a:gd name="T99" fmla="*/ 0 h 2353"/>
                <a:gd name="T100" fmla="*/ 0 w 2688"/>
                <a:gd name="T101" fmla="*/ 0 h 2353"/>
                <a:gd name="T102" fmla="*/ 0 w 2688"/>
                <a:gd name="T103" fmla="*/ 0 h 2353"/>
                <a:gd name="T104" fmla="*/ 0 w 2688"/>
                <a:gd name="T105" fmla="*/ 0 h 2353"/>
                <a:gd name="T106" fmla="*/ 0 w 2688"/>
                <a:gd name="T107" fmla="*/ 0 h 2353"/>
                <a:gd name="T108" fmla="*/ 0 w 2688"/>
                <a:gd name="T109" fmla="*/ 0 h 2353"/>
                <a:gd name="T110" fmla="*/ 0 w 2688"/>
                <a:gd name="T111" fmla="*/ 0 h 2353"/>
                <a:gd name="T112" fmla="*/ 0 w 2688"/>
                <a:gd name="T113" fmla="*/ 0 h 2353"/>
                <a:gd name="T114" fmla="*/ 0 w 2688"/>
                <a:gd name="T115" fmla="*/ 0 h 2353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2688"/>
                <a:gd name="T175" fmla="*/ 0 h 2353"/>
                <a:gd name="T176" fmla="*/ 2688 w 2688"/>
                <a:gd name="T177" fmla="*/ 2353 h 2353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2688" h="2353">
                  <a:moveTo>
                    <a:pt x="2587" y="278"/>
                  </a:moveTo>
                  <a:cubicBezTo>
                    <a:pt x="2586" y="278"/>
                    <a:pt x="2585" y="278"/>
                    <a:pt x="2584" y="278"/>
                  </a:cubicBezTo>
                  <a:lnTo>
                    <a:pt x="2516" y="258"/>
                  </a:lnTo>
                  <a:cubicBezTo>
                    <a:pt x="2513" y="257"/>
                    <a:pt x="2511" y="256"/>
                    <a:pt x="2511" y="254"/>
                  </a:cubicBezTo>
                  <a:lnTo>
                    <a:pt x="2464" y="153"/>
                  </a:lnTo>
                  <a:cubicBezTo>
                    <a:pt x="2462" y="150"/>
                    <a:pt x="2463" y="146"/>
                    <a:pt x="2466" y="143"/>
                  </a:cubicBezTo>
                  <a:lnTo>
                    <a:pt x="2513" y="103"/>
                  </a:lnTo>
                  <a:lnTo>
                    <a:pt x="2514" y="116"/>
                  </a:lnTo>
                  <a:lnTo>
                    <a:pt x="2396" y="56"/>
                  </a:lnTo>
                  <a:lnTo>
                    <a:pt x="2281" y="16"/>
                  </a:lnTo>
                  <a:lnTo>
                    <a:pt x="2287" y="16"/>
                  </a:lnTo>
                  <a:lnTo>
                    <a:pt x="2124" y="96"/>
                  </a:lnTo>
                  <a:cubicBezTo>
                    <a:pt x="2123" y="97"/>
                    <a:pt x="2122" y="97"/>
                    <a:pt x="2121" y="97"/>
                  </a:cubicBezTo>
                  <a:lnTo>
                    <a:pt x="2030" y="97"/>
                  </a:lnTo>
                  <a:lnTo>
                    <a:pt x="2037" y="91"/>
                  </a:lnTo>
                  <a:lnTo>
                    <a:pt x="2013" y="192"/>
                  </a:lnTo>
                  <a:cubicBezTo>
                    <a:pt x="2012" y="195"/>
                    <a:pt x="2009" y="198"/>
                    <a:pt x="2005" y="198"/>
                  </a:cubicBezTo>
                  <a:lnTo>
                    <a:pt x="1914" y="198"/>
                  </a:lnTo>
                  <a:lnTo>
                    <a:pt x="1917" y="197"/>
                  </a:lnTo>
                  <a:lnTo>
                    <a:pt x="1754" y="258"/>
                  </a:lnTo>
                  <a:lnTo>
                    <a:pt x="1759" y="252"/>
                  </a:lnTo>
                  <a:lnTo>
                    <a:pt x="1712" y="413"/>
                  </a:lnTo>
                  <a:lnTo>
                    <a:pt x="1712" y="409"/>
                  </a:lnTo>
                  <a:lnTo>
                    <a:pt x="1734" y="490"/>
                  </a:lnTo>
                  <a:cubicBezTo>
                    <a:pt x="1735" y="492"/>
                    <a:pt x="1734" y="495"/>
                    <a:pt x="1732" y="497"/>
                  </a:cubicBezTo>
                  <a:cubicBezTo>
                    <a:pt x="1730" y="500"/>
                    <a:pt x="1727" y="500"/>
                    <a:pt x="1724" y="499"/>
                  </a:cubicBezTo>
                  <a:lnTo>
                    <a:pt x="1586" y="459"/>
                  </a:lnTo>
                  <a:lnTo>
                    <a:pt x="1592" y="459"/>
                  </a:lnTo>
                  <a:lnTo>
                    <a:pt x="1474" y="519"/>
                  </a:lnTo>
                  <a:cubicBezTo>
                    <a:pt x="1471" y="520"/>
                    <a:pt x="1468" y="520"/>
                    <a:pt x="1466" y="519"/>
                  </a:cubicBezTo>
                  <a:lnTo>
                    <a:pt x="1397" y="479"/>
                  </a:lnTo>
                  <a:lnTo>
                    <a:pt x="1407" y="477"/>
                  </a:lnTo>
                  <a:lnTo>
                    <a:pt x="1338" y="557"/>
                  </a:lnTo>
                  <a:cubicBezTo>
                    <a:pt x="1336" y="560"/>
                    <a:pt x="1332" y="561"/>
                    <a:pt x="1329" y="560"/>
                  </a:cubicBezTo>
                  <a:lnTo>
                    <a:pt x="1235" y="519"/>
                  </a:lnTo>
                  <a:lnTo>
                    <a:pt x="1238" y="520"/>
                  </a:lnTo>
                  <a:lnTo>
                    <a:pt x="1145" y="520"/>
                  </a:lnTo>
                  <a:lnTo>
                    <a:pt x="1150" y="518"/>
                  </a:lnTo>
                  <a:lnTo>
                    <a:pt x="1081" y="578"/>
                  </a:lnTo>
                  <a:cubicBezTo>
                    <a:pt x="1078" y="581"/>
                    <a:pt x="1074" y="581"/>
                    <a:pt x="1071" y="579"/>
                  </a:cubicBezTo>
                  <a:lnTo>
                    <a:pt x="978" y="519"/>
                  </a:lnTo>
                  <a:lnTo>
                    <a:pt x="983" y="520"/>
                  </a:lnTo>
                  <a:lnTo>
                    <a:pt x="820" y="540"/>
                  </a:lnTo>
                  <a:lnTo>
                    <a:pt x="566" y="560"/>
                  </a:lnTo>
                  <a:lnTo>
                    <a:pt x="404" y="580"/>
                  </a:lnTo>
                  <a:lnTo>
                    <a:pt x="406" y="579"/>
                  </a:lnTo>
                  <a:lnTo>
                    <a:pt x="291" y="640"/>
                  </a:lnTo>
                  <a:lnTo>
                    <a:pt x="293" y="638"/>
                  </a:lnTo>
                  <a:lnTo>
                    <a:pt x="246" y="698"/>
                  </a:lnTo>
                  <a:cubicBezTo>
                    <a:pt x="245" y="700"/>
                    <a:pt x="243" y="701"/>
                    <a:pt x="240" y="701"/>
                  </a:cubicBezTo>
                  <a:lnTo>
                    <a:pt x="146" y="701"/>
                  </a:lnTo>
                  <a:lnTo>
                    <a:pt x="152" y="688"/>
                  </a:lnTo>
                  <a:lnTo>
                    <a:pt x="221" y="769"/>
                  </a:lnTo>
                  <a:cubicBezTo>
                    <a:pt x="222" y="769"/>
                    <a:pt x="222" y="769"/>
                    <a:pt x="222" y="770"/>
                  </a:cubicBezTo>
                  <a:lnTo>
                    <a:pt x="316" y="931"/>
                  </a:lnTo>
                  <a:cubicBezTo>
                    <a:pt x="316" y="931"/>
                    <a:pt x="317" y="932"/>
                    <a:pt x="317" y="933"/>
                  </a:cubicBezTo>
                  <a:lnTo>
                    <a:pt x="342" y="1034"/>
                  </a:lnTo>
                  <a:cubicBezTo>
                    <a:pt x="342" y="1036"/>
                    <a:pt x="342" y="1038"/>
                    <a:pt x="341" y="1040"/>
                  </a:cubicBezTo>
                  <a:cubicBezTo>
                    <a:pt x="339" y="1042"/>
                    <a:pt x="338" y="1043"/>
                    <a:pt x="336" y="1043"/>
                  </a:cubicBezTo>
                  <a:lnTo>
                    <a:pt x="242" y="1063"/>
                  </a:lnTo>
                  <a:lnTo>
                    <a:pt x="247" y="1060"/>
                  </a:lnTo>
                  <a:lnTo>
                    <a:pt x="106" y="1301"/>
                  </a:lnTo>
                  <a:lnTo>
                    <a:pt x="107" y="1295"/>
                  </a:lnTo>
                  <a:lnTo>
                    <a:pt x="154" y="1477"/>
                  </a:lnTo>
                  <a:cubicBezTo>
                    <a:pt x="155" y="1479"/>
                    <a:pt x="154" y="1481"/>
                    <a:pt x="153" y="1483"/>
                  </a:cubicBezTo>
                  <a:cubicBezTo>
                    <a:pt x="152" y="1485"/>
                    <a:pt x="150" y="1486"/>
                    <a:pt x="148" y="1486"/>
                  </a:cubicBezTo>
                  <a:lnTo>
                    <a:pt x="54" y="1507"/>
                  </a:lnTo>
                  <a:lnTo>
                    <a:pt x="60" y="1500"/>
                  </a:lnTo>
                  <a:lnTo>
                    <a:pt x="38" y="1601"/>
                  </a:lnTo>
                  <a:lnTo>
                    <a:pt x="16" y="1722"/>
                  </a:lnTo>
                  <a:lnTo>
                    <a:pt x="5" y="1713"/>
                  </a:lnTo>
                  <a:lnTo>
                    <a:pt x="49" y="1693"/>
                  </a:lnTo>
                  <a:cubicBezTo>
                    <a:pt x="52" y="1692"/>
                    <a:pt x="55" y="1692"/>
                    <a:pt x="57" y="1693"/>
                  </a:cubicBezTo>
                  <a:lnTo>
                    <a:pt x="151" y="1754"/>
                  </a:lnTo>
                  <a:cubicBezTo>
                    <a:pt x="151" y="1754"/>
                    <a:pt x="151" y="1754"/>
                    <a:pt x="152" y="1754"/>
                  </a:cubicBezTo>
                  <a:lnTo>
                    <a:pt x="221" y="1815"/>
                  </a:lnTo>
                  <a:lnTo>
                    <a:pt x="211" y="1814"/>
                  </a:lnTo>
                  <a:lnTo>
                    <a:pt x="305" y="1754"/>
                  </a:lnTo>
                  <a:cubicBezTo>
                    <a:pt x="306" y="1753"/>
                    <a:pt x="309" y="1752"/>
                    <a:pt x="311" y="1753"/>
                  </a:cubicBezTo>
                  <a:lnTo>
                    <a:pt x="404" y="1773"/>
                  </a:lnTo>
                  <a:lnTo>
                    <a:pt x="403" y="1773"/>
                  </a:lnTo>
                  <a:lnTo>
                    <a:pt x="497" y="1773"/>
                  </a:lnTo>
                  <a:lnTo>
                    <a:pt x="495" y="1773"/>
                  </a:lnTo>
                  <a:lnTo>
                    <a:pt x="633" y="1753"/>
                  </a:lnTo>
                  <a:cubicBezTo>
                    <a:pt x="635" y="1752"/>
                    <a:pt x="636" y="1753"/>
                    <a:pt x="638" y="1753"/>
                  </a:cubicBezTo>
                  <a:lnTo>
                    <a:pt x="731" y="1793"/>
                  </a:lnTo>
                  <a:lnTo>
                    <a:pt x="723" y="1795"/>
                  </a:lnTo>
                  <a:lnTo>
                    <a:pt x="792" y="1734"/>
                  </a:lnTo>
                  <a:cubicBezTo>
                    <a:pt x="793" y="1734"/>
                    <a:pt x="794" y="1733"/>
                    <a:pt x="795" y="1733"/>
                  </a:cubicBezTo>
                  <a:lnTo>
                    <a:pt x="1004" y="1672"/>
                  </a:lnTo>
                  <a:lnTo>
                    <a:pt x="1000" y="1675"/>
                  </a:lnTo>
                  <a:lnTo>
                    <a:pt x="1094" y="1554"/>
                  </a:lnTo>
                  <a:cubicBezTo>
                    <a:pt x="1096" y="1552"/>
                    <a:pt x="1098" y="1551"/>
                    <a:pt x="1100" y="1551"/>
                  </a:cubicBezTo>
                  <a:lnTo>
                    <a:pt x="1122" y="1551"/>
                  </a:lnTo>
                  <a:lnTo>
                    <a:pt x="1117" y="1553"/>
                  </a:lnTo>
                  <a:lnTo>
                    <a:pt x="1139" y="1533"/>
                  </a:lnTo>
                  <a:cubicBezTo>
                    <a:pt x="1140" y="1532"/>
                    <a:pt x="1142" y="1531"/>
                    <a:pt x="1143" y="1531"/>
                  </a:cubicBezTo>
                  <a:lnTo>
                    <a:pt x="1284" y="1511"/>
                  </a:lnTo>
                  <a:lnTo>
                    <a:pt x="1280" y="1513"/>
                  </a:lnTo>
                  <a:lnTo>
                    <a:pt x="1349" y="1452"/>
                  </a:lnTo>
                  <a:cubicBezTo>
                    <a:pt x="1351" y="1451"/>
                    <a:pt x="1354" y="1450"/>
                    <a:pt x="1357" y="1451"/>
                  </a:cubicBezTo>
                  <a:lnTo>
                    <a:pt x="1544" y="1511"/>
                  </a:lnTo>
                  <a:lnTo>
                    <a:pt x="1542" y="1511"/>
                  </a:lnTo>
                  <a:lnTo>
                    <a:pt x="1704" y="1511"/>
                  </a:lnTo>
                  <a:cubicBezTo>
                    <a:pt x="1707" y="1511"/>
                    <a:pt x="1710" y="1512"/>
                    <a:pt x="1711" y="1515"/>
                  </a:cubicBezTo>
                  <a:lnTo>
                    <a:pt x="1780" y="1636"/>
                  </a:lnTo>
                  <a:lnTo>
                    <a:pt x="1775" y="1632"/>
                  </a:lnTo>
                  <a:lnTo>
                    <a:pt x="1916" y="1672"/>
                  </a:lnTo>
                  <a:cubicBezTo>
                    <a:pt x="1918" y="1673"/>
                    <a:pt x="1920" y="1674"/>
                    <a:pt x="1921" y="1676"/>
                  </a:cubicBezTo>
                  <a:lnTo>
                    <a:pt x="1965" y="1757"/>
                  </a:lnTo>
                  <a:lnTo>
                    <a:pt x="1963" y="1754"/>
                  </a:lnTo>
                  <a:lnTo>
                    <a:pt x="2057" y="1835"/>
                  </a:lnTo>
                  <a:cubicBezTo>
                    <a:pt x="2058" y="1836"/>
                    <a:pt x="2058" y="1836"/>
                    <a:pt x="2059" y="1837"/>
                  </a:cubicBezTo>
                  <a:lnTo>
                    <a:pt x="2106" y="1918"/>
                  </a:lnTo>
                  <a:cubicBezTo>
                    <a:pt x="2107" y="1920"/>
                    <a:pt x="2107" y="1923"/>
                    <a:pt x="2106" y="1925"/>
                  </a:cubicBezTo>
                  <a:cubicBezTo>
                    <a:pt x="2105" y="1927"/>
                    <a:pt x="2103" y="1929"/>
                    <a:pt x="2100" y="1929"/>
                  </a:cubicBezTo>
                  <a:lnTo>
                    <a:pt x="1891" y="1970"/>
                  </a:lnTo>
                  <a:lnTo>
                    <a:pt x="1894" y="1968"/>
                  </a:lnTo>
                  <a:lnTo>
                    <a:pt x="1825" y="2028"/>
                  </a:lnTo>
                  <a:lnTo>
                    <a:pt x="1826" y="2017"/>
                  </a:lnTo>
                  <a:lnTo>
                    <a:pt x="1873" y="2078"/>
                  </a:lnTo>
                  <a:cubicBezTo>
                    <a:pt x="1875" y="2080"/>
                    <a:pt x="1875" y="2082"/>
                    <a:pt x="1875" y="2085"/>
                  </a:cubicBezTo>
                  <a:lnTo>
                    <a:pt x="1828" y="2246"/>
                  </a:lnTo>
                  <a:cubicBezTo>
                    <a:pt x="1828" y="2247"/>
                    <a:pt x="1827" y="2248"/>
                    <a:pt x="1826" y="2249"/>
                  </a:cubicBezTo>
                  <a:lnTo>
                    <a:pt x="1780" y="2309"/>
                  </a:lnTo>
                  <a:lnTo>
                    <a:pt x="1776" y="2297"/>
                  </a:lnTo>
                  <a:lnTo>
                    <a:pt x="1870" y="2337"/>
                  </a:lnTo>
                  <a:lnTo>
                    <a:pt x="1864" y="2337"/>
                  </a:lnTo>
                  <a:lnTo>
                    <a:pt x="2002" y="2277"/>
                  </a:lnTo>
                  <a:cubicBezTo>
                    <a:pt x="2003" y="2276"/>
                    <a:pt x="2004" y="2276"/>
                    <a:pt x="2005" y="2276"/>
                  </a:cubicBezTo>
                  <a:lnTo>
                    <a:pt x="2121" y="2276"/>
                  </a:lnTo>
                  <a:lnTo>
                    <a:pt x="2113" y="2284"/>
                  </a:lnTo>
                  <a:lnTo>
                    <a:pt x="2113" y="2204"/>
                  </a:lnTo>
                  <a:cubicBezTo>
                    <a:pt x="2113" y="2202"/>
                    <a:pt x="2113" y="2201"/>
                    <a:pt x="2113" y="2200"/>
                  </a:cubicBezTo>
                  <a:lnTo>
                    <a:pt x="2229" y="1938"/>
                  </a:lnTo>
                  <a:cubicBezTo>
                    <a:pt x="2230" y="1938"/>
                    <a:pt x="2230" y="1937"/>
                    <a:pt x="2231" y="1936"/>
                  </a:cubicBezTo>
                  <a:lnTo>
                    <a:pt x="2302" y="1856"/>
                  </a:lnTo>
                  <a:lnTo>
                    <a:pt x="2394" y="1775"/>
                  </a:lnTo>
                  <a:cubicBezTo>
                    <a:pt x="2395" y="1774"/>
                    <a:pt x="2395" y="1774"/>
                    <a:pt x="2396" y="1773"/>
                  </a:cubicBezTo>
                  <a:lnTo>
                    <a:pt x="2537" y="1713"/>
                  </a:lnTo>
                  <a:cubicBezTo>
                    <a:pt x="2538" y="1712"/>
                    <a:pt x="2540" y="1712"/>
                    <a:pt x="2541" y="1712"/>
                  </a:cubicBezTo>
                  <a:lnTo>
                    <a:pt x="2682" y="1732"/>
                  </a:lnTo>
                  <a:lnTo>
                    <a:pt x="2672" y="1740"/>
                  </a:lnTo>
                  <a:lnTo>
                    <a:pt x="2672" y="270"/>
                  </a:lnTo>
                  <a:lnTo>
                    <a:pt x="2680" y="278"/>
                  </a:lnTo>
                  <a:lnTo>
                    <a:pt x="2587" y="278"/>
                  </a:lnTo>
                  <a:close/>
                  <a:moveTo>
                    <a:pt x="2680" y="262"/>
                  </a:moveTo>
                  <a:cubicBezTo>
                    <a:pt x="2685" y="262"/>
                    <a:pt x="2688" y="266"/>
                    <a:pt x="2688" y="270"/>
                  </a:cubicBezTo>
                  <a:lnTo>
                    <a:pt x="2688" y="1740"/>
                  </a:lnTo>
                  <a:cubicBezTo>
                    <a:pt x="2688" y="1743"/>
                    <a:pt x="2687" y="1745"/>
                    <a:pt x="2686" y="1746"/>
                  </a:cubicBezTo>
                  <a:cubicBezTo>
                    <a:pt x="2684" y="1748"/>
                    <a:pt x="2682" y="1749"/>
                    <a:pt x="2679" y="1748"/>
                  </a:cubicBezTo>
                  <a:lnTo>
                    <a:pt x="2539" y="1728"/>
                  </a:lnTo>
                  <a:lnTo>
                    <a:pt x="2543" y="1728"/>
                  </a:lnTo>
                  <a:lnTo>
                    <a:pt x="2402" y="1788"/>
                  </a:lnTo>
                  <a:lnTo>
                    <a:pt x="2405" y="1787"/>
                  </a:lnTo>
                  <a:lnTo>
                    <a:pt x="2314" y="1866"/>
                  </a:lnTo>
                  <a:lnTo>
                    <a:pt x="2242" y="1947"/>
                  </a:lnTo>
                  <a:lnTo>
                    <a:pt x="2244" y="1945"/>
                  </a:lnTo>
                  <a:lnTo>
                    <a:pt x="2128" y="2207"/>
                  </a:lnTo>
                  <a:lnTo>
                    <a:pt x="2129" y="2204"/>
                  </a:lnTo>
                  <a:lnTo>
                    <a:pt x="2129" y="2284"/>
                  </a:lnTo>
                  <a:cubicBezTo>
                    <a:pt x="2129" y="2288"/>
                    <a:pt x="2125" y="2292"/>
                    <a:pt x="2121" y="2292"/>
                  </a:cubicBezTo>
                  <a:lnTo>
                    <a:pt x="2005" y="2292"/>
                  </a:lnTo>
                  <a:lnTo>
                    <a:pt x="2008" y="2291"/>
                  </a:lnTo>
                  <a:lnTo>
                    <a:pt x="1870" y="2352"/>
                  </a:lnTo>
                  <a:cubicBezTo>
                    <a:pt x="1868" y="2353"/>
                    <a:pt x="1866" y="2353"/>
                    <a:pt x="1864" y="2352"/>
                  </a:cubicBezTo>
                  <a:lnTo>
                    <a:pt x="1770" y="2312"/>
                  </a:lnTo>
                  <a:cubicBezTo>
                    <a:pt x="1768" y="2311"/>
                    <a:pt x="1766" y="2309"/>
                    <a:pt x="1765" y="2306"/>
                  </a:cubicBezTo>
                  <a:cubicBezTo>
                    <a:pt x="1765" y="2304"/>
                    <a:pt x="1765" y="2301"/>
                    <a:pt x="1767" y="2299"/>
                  </a:cubicBezTo>
                  <a:lnTo>
                    <a:pt x="1814" y="2239"/>
                  </a:lnTo>
                  <a:lnTo>
                    <a:pt x="1812" y="2242"/>
                  </a:lnTo>
                  <a:lnTo>
                    <a:pt x="1859" y="2080"/>
                  </a:lnTo>
                  <a:lnTo>
                    <a:pt x="1861" y="2088"/>
                  </a:lnTo>
                  <a:lnTo>
                    <a:pt x="1814" y="2027"/>
                  </a:lnTo>
                  <a:cubicBezTo>
                    <a:pt x="1811" y="2024"/>
                    <a:pt x="1812" y="2019"/>
                    <a:pt x="1815" y="2016"/>
                  </a:cubicBezTo>
                  <a:lnTo>
                    <a:pt x="1884" y="1956"/>
                  </a:lnTo>
                  <a:cubicBezTo>
                    <a:pt x="1885" y="1955"/>
                    <a:pt x="1886" y="1954"/>
                    <a:pt x="1888" y="1954"/>
                  </a:cubicBezTo>
                  <a:lnTo>
                    <a:pt x="2097" y="1914"/>
                  </a:lnTo>
                  <a:lnTo>
                    <a:pt x="2092" y="1926"/>
                  </a:lnTo>
                  <a:lnTo>
                    <a:pt x="2045" y="1845"/>
                  </a:lnTo>
                  <a:lnTo>
                    <a:pt x="2047" y="1847"/>
                  </a:lnTo>
                  <a:lnTo>
                    <a:pt x="1953" y="1767"/>
                  </a:lnTo>
                  <a:cubicBezTo>
                    <a:pt x="1952" y="1766"/>
                    <a:pt x="1951" y="1765"/>
                    <a:pt x="1951" y="1764"/>
                  </a:cubicBezTo>
                  <a:lnTo>
                    <a:pt x="1907" y="1684"/>
                  </a:lnTo>
                  <a:lnTo>
                    <a:pt x="1912" y="1688"/>
                  </a:lnTo>
                  <a:lnTo>
                    <a:pt x="1771" y="1647"/>
                  </a:lnTo>
                  <a:cubicBezTo>
                    <a:pt x="1769" y="1647"/>
                    <a:pt x="1767" y="1645"/>
                    <a:pt x="1766" y="1644"/>
                  </a:cubicBezTo>
                  <a:lnTo>
                    <a:pt x="1697" y="1523"/>
                  </a:lnTo>
                  <a:lnTo>
                    <a:pt x="1704" y="1527"/>
                  </a:lnTo>
                  <a:lnTo>
                    <a:pt x="1542" y="1527"/>
                  </a:lnTo>
                  <a:cubicBezTo>
                    <a:pt x="1541" y="1527"/>
                    <a:pt x="1540" y="1527"/>
                    <a:pt x="1539" y="1526"/>
                  </a:cubicBezTo>
                  <a:lnTo>
                    <a:pt x="1352" y="1466"/>
                  </a:lnTo>
                  <a:lnTo>
                    <a:pt x="1359" y="1464"/>
                  </a:lnTo>
                  <a:lnTo>
                    <a:pt x="1290" y="1525"/>
                  </a:lnTo>
                  <a:cubicBezTo>
                    <a:pt x="1289" y="1526"/>
                    <a:pt x="1288" y="1527"/>
                    <a:pt x="1286" y="1527"/>
                  </a:cubicBezTo>
                  <a:lnTo>
                    <a:pt x="1146" y="1547"/>
                  </a:lnTo>
                  <a:lnTo>
                    <a:pt x="1150" y="1545"/>
                  </a:lnTo>
                  <a:lnTo>
                    <a:pt x="1128" y="1565"/>
                  </a:lnTo>
                  <a:cubicBezTo>
                    <a:pt x="1126" y="1566"/>
                    <a:pt x="1124" y="1567"/>
                    <a:pt x="1122" y="1567"/>
                  </a:cubicBezTo>
                  <a:lnTo>
                    <a:pt x="1100" y="1567"/>
                  </a:lnTo>
                  <a:lnTo>
                    <a:pt x="1107" y="1564"/>
                  </a:lnTo>
                  <a:lnTo>
                    <a:pt x="1013" y="1685"/>
                  </a:lnTo>
                  <a:cubicBezTo>
                    <a:pt x="1012" y="1686"/>
                    <a:pt x="1011" y="1687"/>
                    <a:pt x="1009" y="1688"/>
                  </a:cubicBezTo>
                  <a:lnTo>
                    <a:pt x="799" y="1748"/>
                  </a:lnTo>
                  <a:lnTo>
                    <a:pt x="802" y="1746"/>
                  </a:lnTo>
                  <a:lnTo>
                    <a:pt x="733" y="1807"/>
                  </a:lnTo>
                  <a:cubicBezTo>
                    <a:pt x="731" y="1809"/>
                    <a:pt x="728" y="1809"/>
                    <a:pt x="725" y="1808"/>
                  </a:cubicBezTo>
                  <a:lnTo>
                    <a:pt x="631" y="1768"/>
                  </a:lnTo>
                  <a:lnTo>
                    <a:pt x="636" y="1768"/>
                  </a:lnTo>
                  <a:lnTo>
                    <a:pt x="498" y="1789"/>
                  </a:lnTo>
                  <a:cubicBezTo>
                    <a:pt x="497" y="1789"/>
                    <a:pt x="497" y="1789"/>
                    <a:pt x="497" y="1789"/>
                  </a:cubicBezTo>
                  <a:lnTo>
                    <a:pt x="403" y="1789"/>
                  </a:lnTo>
                  <a:cubicBezTo>
                    <a:pt x="402" y="1789"/>
                    <a:pt x="402" y="1789"/>
                    <a:pt x="401" y="1788"/>
                  </a:cubicBezTo>
                  <a:lnTo>
                    <a:pt x="307" y="1768"/>
                  </a:lnTo>
                  <a:lnTo>
                    <a:pt x="313" y="1767"/>
                  </a:lnTo>
                  <a:lnTo>
                    <a:pt x="220" y="1828"/>
                  </a:lnTo>
                  <a:cubicBezTo>
                    <a:pt x="217" y="1830"/>
                    <a:pt x="213" y="1829"/>
                    <a:pt x="210" y="1827"/>
                  </a:cubicBezTo>
                  <a:lnTo>
                    <a:pt x="141" y="1766"/>
                  </a:lnTo>
                  <a:lnTo>
                    <a:pt x="142" y="1767"/>
                  </a:lnTo>
                  <a:lnTo>
                    <a:pt x="48" y="1707"/>
                  </a:lnTo>
                  <a:lnTo>
                    <a:pt x="56" y="1707"/>
                  </a:lnTo>
                  <a:lnTo>
                    <a:pt x="12" y="1727"/>
                  </a:lnTo>
                  <a:cubicBezTo>
                    <a:pt x="9" y="1729"/>
                    <a:pt x="6" y="1728"/>
                    <a:pt x="4" y="1727"/>
                  </a:cubicBezTo>
                  <a:cubicBezTo>
                    <a:pt x="1" y="1725"/>
                    <a:pt x="0" y="1722"/>
                    <a:pt x="1" y="1719"/>
                  </a:cubicBezTo>
                  <a:lnTo>
                    <a:pt x="23" y="1598"/>
                  </a:lnTo>
                  <a:lnTo>
                    <a:pt x="45" y="1497"/>
                  </a:lnTo>
                  <a:cubicBezTo>
                    <a:pt x="45" y="1494"/>
                    <a:pt x="48" y="1492"/>
                    <a:pt x="51" y="1491"/>
                  </a:cubicBezTo>
                  <a:lnTo>
                    <a:pt x="145" y="1471"/>
                  </a:lnTo>
                  <a:lnTo>
                    <a:pt x="139" y="1481"/>
                  </a:lnTo>
                  <a:lnTo>
                    <a:pt x="92" y="1299"/>
                  </a:lnTo>
                  <a:cubicBezTo>
                    <a:pt x="91" y="1297"/>
                    <a:pt x="91" y="1295"/>
                    <a:pt x="93" y="1293"/>
                  </a:cubicBezTo>
                  <a:lnTo>
                    <a:pt x="233" y="1052"/>
                  </a:lnTo>
                  <a:cubicBezTo>
                    <a:pt x="234" y="1050"/>
                    <a:pt x="236" y="1048"/>
                    <a:pt x="238" y="1048"/>
                  </a:cubicBezTo>
                  <a:lnTo>
                    <a:pt x="332" y="1028"/>
                  </a:lnTo>
                  <a:lnTo>
                    <a:pt x="326" y="1037"/>
                  </a:lnTo>
                  <a:lnTo>
                    <a:pt x="301" y="937"/>
                  </a:lnTo>
                  <a:lnTo>
                    <a:pt x="302" y="939"/>
                  </a:lnTo>
                  <a:lnTo>
                    <a:pt x="208" y="778"/>
                  </a:lnTo>
                  <a:lnTo>
                    <a:pt x="209" y="779"/>
                  </a:lnTo>
                  <a:lnTo>
                    <a:pt x="140" y="698"/>
                  </a:lnTo>
                  <a:cubicBezTo>
                    <a:pt x="138" y="696"/>
                    <a:pt x="138" y="693"/>
                    <a:pt x="139" y="690"/>
                  </a:cubicBezTo>
                  <a:cubicBezTo>
                    <a:pt x="140" y="687"/>
                    <a:pt x="143" y="685"/>
                    <a:pt x="146" y="685"/>
                  </a:cubicBezTo>
                  <a:lnTo>
                    <a:pt x="240" y="685"/>
                  </a:lnTo>
                  <a:lnTo>
                    <a:pt x="234" y="688"/>
                  </a:lnTo>
                  <a:lnTo>
                    <a:pt x="281" y="628"/>
                  </a:lnTo>
                  <a:cubicBezTo>
                    <a:pt x="281" y="627"/>
                    <a:pt x="282" y="626"/>
                    <a:pt x="283" y="626"/>
                  </a:cubicBezTo>
                  <a:lnTo>
                    <a:pt x="399" y="565"/>
                  </a:lnTo>
                  <a:cubicBezTo>
                    <a:pt x="400" y="565"/>
                    <a:pt x="401" y="564"/>
                    <a:pt x="402" y="564"/>
                  </a:cubicBezTo>
                  <a:lnTo>
                    <a:pt x="565" y="544"/>
                  </a:lnTo>
                  <a:lnTo>
                    <a:pt x="818" y="524"/>
                  </a:lnTo>
                  <a:lnTo>
                    <a:pt x="981" y="504"/>
                  </a:lnTo>
                  <a:cubicBezTo>
                    <a:pt x="983" y="504"/>
                    <a:pt x="985" y="504"/>
                    <a:pt x="986" y="505"/>
                  </a:cubicBezTo>
                  <a:lnTo>
                    <a:pt x="1080" y="566"/>
                  </a:lnTo>
                  <a:lnTo>
                    <a:pt x="1070" y="566"/>
                  </a:lnTo>
                  <a:lnTo>
                    <a:pt x="1139" y="506"/>
                  </a:lnTo>
                  <a:cubicBezTo>
                    <a:pt x="1141" y="505"/>
                    <a:pt x="1143" y="504"/>
                    <a:pt x="1145" y="504"/>
                  </a:cubicBezTo>
                  <a:lnTo>
                    <a:pt x="1238" y="504"/>
                  </a:lnTo>
                  <a:cubicBezTo>
                    <a:pt x="1239" y="504"/>
                    <a:pt x="1240" y="504"/>
                    <a:pt x="1241" y="505"/>
                  </a:cubicBezTo>
                  <a:lnTo>
                    <a:pt x="1335" y="545"/>
                  </a:lnTo>
                  <a:lnTo>
                    <a:pt x="1326" y="547"/>
                  </a:lnTo>
                  <a:lnTo>
                    <a:pt x="1395" y="466"/>
                  </a:lnTo>
                  <a:cubicBezTo>
                    <a:pt x="1397" y="463"/>
                    <a:pt x="1402" y="463"/>
                    <a:pt x="1405" y="465"/>
                  </a:cubicBezTo>
                  <a:lnTo>
                    <a:pt x="1474" y="505"/>
                  </a:lnTo>
                  <a:lnTo>
                    <a:pt x="1466" y="505"/>
                  </a:lnTo>
                  <a:lnTo>
                    <a:pt x="1585" y="444"/>
                  </a:lnTo>
                  <a:cubicBezTo>
                    <a:pt x="1587" y="443"/>
                    <a:pt x="1589" y="443"/>
                    <a:pt x="1591" y="444"/>
                  </a:cubicBezTo>
                  <a:lnTo>
                    <a:pt x="1729" y="484"/>
                  </a:lnTo>
                  <a:lnTo>
                    <a:pt x="1719" y="494"/>
                  </a:lnTo>
                  <a:lnTo>
                    <a:pt x="1697" y="413"/>
                  </a:lnTo>
                  <a:cubicBezTo>
                    <a:pt x="1696" y="412"/>
                    <a:pt x="1696" y="410"/>
                    <a:pt x="1697" y="409"/>
                  </a:cubicBezTo>
                  <a:lnTo>
                    <a:pt x="1744" y="248"/>
                  </a:lnTo>
                  <a:cubicBezTo>
                    <a:pt x="1744" y="245"/>
                    <a:pt x="1746" y="243"/>
                    <a:pt x="1748" y="243"/>
                  </a:cubicBezTo>
                  <a:lnTo>
                    <a:pt x="1911" y="182"/>
                  </a:lnTo>
                  <a:cubicBezTo>
                    <a:pt x="1912" y="182"/>
                    <a:pt x="1913" y="182"/>
                    <a:pt x="1914" y="182"/>
                  </a:cubicBezTo>
                  <a:lnTo>
                    <a:pt x="2005" y="182"/>
                  </a:lnTo>
                  <a:lnTo>
                    <a:pt x="1997" y="188"/>
                  </a:lnTo>
                  <a:lnTo>
                    <a:pt x="2022" y="87"/>
                  </a:lnTo>
                  <a:cubicBezTo>
                    <a:pt x="2023" y="84"/>
                    <a:pt x="2026" y="81"/>
                    <a:pt x="2030" y="81"/>
                  </a:cubicBezTo>
                  <a:lnTo>
                    <a:pt x="2121" y="81"/>
                  </a:lnTo>
                  <a:lnTo>
                    <a:pt x="2117" y="82"/>
                  </a:lnTo>
                  <a:lnTo>
                    <a:pt x="2280" y="1"/>
                  </a:lnTo>
                  <a:cubicBezTo>
                    <a:pt x="2282" y="0"/>
                    <a:pt x="2284" y="0"/>
                    <a:pt x="2286" y="1"/>
                  </a:cubicBezTo>
                  <a:lnTo>
                    <a:pt x="2403" y="42"/>
                  </a:lnTo>
                  <a:lnTo>
                    <a:pt x="2521" y="102"/>
                  </a:lnTo>
                  <a:cubicBezTo>
                    <a:pt x="2524" y="103"/>
                    <a:pt x="2525" y="106"/>
                    <a:pt x="2526" y="108"/>
                  </a:cubicBezTo>
                  <a:cubicBezTo>
                    <a:pt x="2526" y="111"/>
                    <a:pt x="2525" y="113"/>
                    <a:pt x="2523" y="115"/>
                  </a:cubicBezTo>
                  <a:lnTo>
                    <a:pt x="2476" y="156"/>
                  </a:lnTo>
                  <a:lnTo>
                    <a:pt x="2478" y="146"/>
                  </a:lnTo>
                  <a:lnTo>
                    <a:pt x="2525" y="247"/>
                  </a:lnTo>
                  <a:lnTo>
                    <a:pt x="2520" y="242"/>
                  </a:lnTo>
                  <a:lnTo>
                    <a:pt x="2589" y="263"/>
                  </a:lnTo>
                  <a:lnTo>
                    <a:pt x="2587" y="262"/>
                  </a:lnTo>
                  <a:lnTo>
                    <a:pt x="2680" y="262"/>
                  </a:lnTo>
                  <a:close/>
                </a:path>
              </a:pathLst>
            </a:custGeom>
            <a:solidFill>
              <a:srgbClr val="000000"/>
            </a:solidFill>
            <a:ln w="0" cap="flat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216" name="Freeform 183"/>
            <p:cNvSpPr>
              <a:spLocks noEditPoints="1"/>
            </p:cNvSpPr>
            <p:nvPr/>
          </p:nvSpPr>
          <p:spPr bwMode="auto">
            <a:xfrm>
              <a:off x="4314" y="1671"/>
              <a:ext cx="479" cy="366"/>
            </a:xfrm>
            <a:custGeom>
              <a:avLst/>
              <a:gdLst>
                <a:gd name="T0" fmla="*/ 0 w 2001"/>
                <a:gd name="T1" fmla="*/ 0 h 1536"/>
                <a:gd name="T2" fmla="*/ 0 w 2001"/>
                <a:gd name="T3" fmla="*/ 0 h 1536"/>
                <a:gd name="T4" fmla="*/ 0 w 2001"/>
                <a:gd name="T5" fmla="*/ 0 h 1536"/>
                <a:gd name="T6" fmla="*/ 0 w 2001"/>
                <a:gd name="T7" fmla="*/ 0 h 1536"/>
                <a:gd name="T8" fmla="*/ 0 w 2001"/>
                <a:gd name="T9" fmla="*/ 0 h 1536"/>
                <a:gd name="T10" fmla="*/ 0 w 2001"/>
                <a:gd name="T11" fmla="*/ 0 h 1536"/>
                <a:gd name="T12" fmla="*/ 0 w 2001"/>
                <a:gd name="T13" fmla="*/ 0 h 1536"/>
                <a:gd name="T14" fmla="*/ 0 w 2001"/>
                <a:gd name="T15" fmla="*/ 0 h 1536"/>
                <a:gd name="T16" fmla="*/ 0 w 2001"/>
                <a:gd name="T17" fmla="*/ 0 h 1536"/>
                <a:gd name="T18" fmla="*/ 0 w 2001"/>
                <a:gd name="T19" fmla="*/ 0 h 1536"/>
                <a:gd name="T20" fmla="*/ 0 w 2001"/>
                <a:gd name="T21" fmla="*/ 0 h 1536"/>
                <a:gd name="T22" fmla="*/ 0 w 2001"/>
                <a:gd name="T23" fmla="*/ 0 h 1536"/>
                <a:gd name="T24" fmla="*/ 0 w 2001"/>
                <a:gd name="T25" fmla="*/ 0 h 1536"/>
                <a:gd name="T26" fmla="*/ 0 w 2001"/>
                <a:gd name="T27" fmla="*/ 0 h 1536"/>
                <a:gd name="T28" fmla="*/ 0 w 2001"/>
                <a:gd name="T29" fmla="*/ 0 h 1536"/>
                <a:gd name="T30" fmla="*/ 0 w 2001"/>
                <a:gd name="T31" fmla="*/ 0 h 1536"/>
                <a:gd name="T32" fmla="*/ 0 w 2001"/>
                <a:gd name="T33" fmla="*/ 0 h 1536"/>
                <a:gd name="T34" fmla="*/ 0 w 2001"/>
                <a:gd name="T35" fmla="*/ 0 h 1536"/>
                <a:gd name="T36" fmla="*/ 0 w 2001"/>
                <a:gd name="T37" fmla="*/ 0 h 1536"/>
                <a:gd name="T38" fmla="*/ 0 w 2001"/>
                <a:gd name="T39" fmla="*/ 0 h 1536"/>
                <a:gd name="T40" fmla="*/ 0 w 2001"/>
                <a:gd name="T41" fmla="*/ 0 h 1536"/>
                <a:gd name="T42" fmla="*/ 0 w 2001"/>
                <a:gd name="T43" fmla="*/ 0 h 1536"/>
                <a:gd name="T44" fmla="*/ 0 w 2001"/>
                <a:gd name="T45" fmla="*/ 0 h 1536"/>
                <a:gd name="T46" fmla="*/ 0 w 2001"/>
                <a:gd name="T47" fmla="*/ 0 h 1536"/>
                <a:gd name="T48" fmla="*/ 0 w 2001"/>
                <a:gd name="T49" fmla="*/ 0 h 1536"/>
                <a:gd name="T50" fmla="*/ 0 w 2001"/>
                <a:gd name="T51" fmla="*/ 0 h 1536"/>
                <a:gd name="T52" fmla="*/ 0 w 2001"/>
                <a:gd name="T53" fmla="*/ 0 h 1536"/>
                <a:gd name="T54" fmla="*/ 0 w 2001"/>
                <a:gd name="T55" fmla="*/ 0 h 1536"/>
                <a:gd name="T56" fmla="*/ 0 w 2001"/>
                <a:gd name="T57" fmla="*/ 0 h 1536"/>
                <a:gd name="T58" fmla="*/ 0 w 2001"/>
                <a:gd name="T59" fmla="*/ 0 h 1536"/>
                <a:gd name="T60" fmla="*/ 0 w 2001"/>
                <a:gd name="T61" fmla="*/ 0 h 1536"/>
                <a:gd name="T62" fmla="*/ 0 w 2001"/>
                <a:gd name="T63" fmla="*/ 0 h 1536"/>
                <a:gd name="T64" fmla="*/ 0 w 2001"/>
                <a:gd name="T65" fmla="*/ 0 h 1536"/>
                <a:gd name="T66" fmla="*/ 0 w 2001"/>
                <a:gd name="T67" fmla="*/ 0 h 1536"/>
                <a:gd name="T68" fmla="*/ 0 w 2001"/>
                <a:gd name="T69" fmla="*/ 0 h 1536"/>
                <a:gd name="T70" fmla="*/ 0 w 2001"/>
                <a:gd name="T71" fmla="*/ 0 h 1536"/>
                <a:gd name="T72" fmla="*/ 0 w 2001"/>
                <a:gd name="T73" fmla="*/ 0 h 1536"/>
                <a:gd name="T74" fmla="*/ 0 w 2001"/>
                <a:gd name="T75" fmla="*/ 0 h 1536"/>
                <a:gd name="T76" fmla="*/ 0 w 2001"/>
                <a:gd name="T77" fmla="*/ 0 h 1536"/>
                <a:gd name="T78" fmla="*/ 0 w 2001"/>
                <a:gd name="T79" fmla="*/ 0 h 1536"/>
                <a:gd name="T80" fmla="*/ 0 w 2001"/>
                <a:gd name="T81" fmla="*/ 0 h 1536"/>
                <a:gd name="T82" fmla="*/ 0 w 2001"/>
                <a:gd name="T83" fmla="*/ 0 h 1536"/>
                <a:gd name="T84" fmla="*/ 0 w 2001"/>
                <a:gd name="T85" fmla="*/ 0 h 1536"/>
                <a:gd name="T86" fmla="*/ 0 w 2001"/>
                <a:gd name="T87" fmla="*/ 0 h 1536"/>
                <a:gd name="T88" fmla="*/ 0 w 2001"/>
                <a:gd name="T89" fmla="*/ 0 h 1536"/>
                <a:gd name="T90" fmla="*/ 0 w 2001"/>
                <a:gd name="T91" fmla="*/ 0 h 1536"/>
                <a:gd name="T92" fmla="*/ 0 w 2001"/>
                <a:gd name="T93" fmla="*/ 0 h 1536"/>
                <a:gd name="T94" fmla="*/ 0 w 2001"/>
                <a:gd name="T95" fmla="*/ 0 h 1536"/>
                <a:gd name="T96" fmla="*/ 0 w 2001"/>
                <a:gd name="T97" fmla="*/ 0 h 1536"/>
                <a:gd name="T98" fmla="*/ 0 w 2001"/>
                <a:gd name="T99" fmla="*/ 0 h 1536"/>
                <a:gd name="T100" fmla="*/ 0 w 2001"/>
                <a:gd name="T101" fmla="*/ 0 h 1536"/>
                <a:gd name="T102" fmla="*/ 0 w 2001"/>
                <a:gd name="T103" fmla="*/ 0 h 1536"/>
                <a:gd name="T104" fmla="*/ 0 w 2001"/>
                <a:gd name="T105" fmla="*/ 0 h 1536"/>
                <a:gd name="T106" fmla="*/ 0 w 2001"/>
                <a:gd name="T107" fmla="*/ 0 h 1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001"/>
                <a:gd name="T163" fmla="*/ 0 h 1536"/>
                <a:gd name="T164" fmla="*/ 2001 w 2001"/>
                <a:gd name="T165" fmla="*/ 1536 h 1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001" h="1536">
                  <a:moveTo>
                    <a:pt x="1800" y="885"/>
                  </a:moveTo>
                  <a:cubicBezTo>
                    <a:pt x="1799" y="883"/>
                    <a:pt x="1798" y="882"/>
                    <a:pt x="1798" y="880"/>
                  </a:cubicBezTo>
                  <a:lnTo>
                    <a:pt x="1798" y="819"/>
                  </a:lnTo>
                  <a:lnTo>
                    <a:pt x="1802" y="826"/>
                  </a:lnTo>
                  <a:lnTo>
                    <a:pt x="1734" y="785"/>
                  </a:lnTo>
                  <a:cubicBezTo>
                    <a:pt x="1730" y="783"/>
                    <a:pt x="1729" y="779"/>
                    <a:pt x="1731" y="776"/>
                  </a:cubicBezTo>
                  <a:lnTo>
                    <a:pt x="1755" y="715"/>
                  </a:lnTo>
                  <a:cubicBezTo>
                    <a:pt x="1756" y="712"/>
                    <a:pt x="1759" y="710"/>
                    <a:pt x="1761" y="710"/>
                  </a:cubicBezTo>
                  <a:lnTo>
                    <a:pt x="1898" y="690"/>
                  </a:lnTo>
                  <a:lnTo>
                    <a:pt x="1894" y="691"/>
                  </a:lnTo>
                  <a:lnTo>
                    <a:pt x="1941" y="651"/>
                  </a:lnTo>
                  <a:lnTo>
                    <a:pt x="1940" y="652"/>
                  </a:lnTo>
                  <a:lnTo>
                    <a:pt x="1986" y="591"/>
                  </a:lnTo>
                  <a:lnTo>
                    <a:pt x="1987" y="602"/>
                  </a:lnTo>
                  <a:lnTo>
                    <a:pt x="1919" y="541"/>
                  </a:lnTo>
                  <a:lnTo>
                    <a:pt x="1922" y="543"/>
                  </a:lnTo>
                  <a:lnTo>
                    <a:pt x="1736" y="503"/>
                  </a:lnTo>
                  <a:cubicBezTo>
                    <a:pt x="1734" y="502"/>
                    <a:pt x="1731" y="500"/>
                    <a:pt x="1730" y="498"/>
                  </a:cubicBezTo>
                  <a:lnTo>
                    <a:pt x="1709" y="437"/>
                  </a:lnTo>
                  <a:lnTo>
                    <a:pt x="1715" y="442"/>
                  </a:lnTo>
                  <a:lnTo>
                    <a:pt x="1600" y="422"/>
                  </a:lnTo>
                  <a:cubicBezTo>
                    <a:pt x="1599" y="421"/>
                    <a:pt x="1598" y="421"/>
                    <a:pt x="1597" y="421"/>
                  </a:cubicBezTo>
                  <a:lnTo>
                    <a:pt x="1504" y="360"/>
                  </a:lnTo>
                  <a:cubicBezTo>
                    <a:pt x="1501" y="358"/>
                    <a:pt x="1500" y="356"/>
                    <a:pt x="1500" y="353"/>
                  </a:cubicBezTo>
                  <a:lnTo>
                    <a:pt x="1500" y="312"/>
                  </a:lnTo>
                  <a:lnTo>
                    <a:pt x="1505" y="320"/>
                  </a:lnTo>
                  <a:lnTo>
                    <a:pt x="1412" y="279"/>
                  </a:lnTo>
                  <a:cubicBezTo>
                    <a:pt x="1409" y="278"/>
                    <a:pt x="1407" y="275"/>
                    <a:pt x="1407" y="272"/>
                  </a:cubicBezTo>
                  <a:lnTo>
                    <a:pt x="1407" y="191"/>
                  </a:lnTo>
                  <a:lnTo>
                    <a:pt x="1407" y="193"/>
                  </a:lnTo>
                  <a:lnTo>
                    <a:pt x="1385" y="112"/>
                  </a:lnTo>
                  <a:lnTo>
                    <a:pt x="1389" y="117"/>
                  </a:lnTo>
                  <a:lnTo>
                    <a:pt x="1296" y="56"/>
                  </a:lnTo>
                  <a:lnTo>
                    <a:pt x="1298" y="57"/>
                  </a:lnTo>
                  <a:lnTo>
                    <a:pt x="1205" y="37"/>
                  </a:lnTo>
                  <a:lnTo>
                    <a:pt x="1211" y="36"/>
                  </a:lnTo>
                  <a:lnTo>
                    <a:pt x="1096" y="97"/>
                  </a:lnTo>
                  <a:cubicBezTo>
                    <a:pt x="1093" y="98"/>
                    <a:pt x="1089" y="98"/>
                    <a:pt x="1087" y="96"/>
                  </a:cubicBezTo>
                  <a:lnTo>
                    <a:pt x="1040" y="55"/>
                  </a:lnTo>
                  <a:lnTo>
                    <a:pt x="1044" y="57"/>
                  </a:lnTo>
                  <a:lnTo>
                    <a:pt x="954" y="37"/>
                  </a:lnTo>
                  <a:lnTo>
                    <a:pt x="959" y="36"/>
                  </a:lnTo>
                  <a:lnTo>
                    <a:pt x="912" y="56"/>
                  </a:lnTo>
                  <a:cubicBezTo>
                    <a:pt x="910" y="57"/>
                    <a:pt x="907" y="57"/>
                    <a:pt x="905" y="56"/>
                  </a:cubicBezTo>
                  <a:lnTo>
                    <a:pt x="834" y="15"/>
                  </a:lnTo>
                  <a:lnTo>
                    <a:pt x="838" y="16"/>
                  </a:lnTo>
                  <a:lnTo>
                    <a:pt x="769" y="16"/>
                  </a:lnTo>
                  <a:lnTo>
                    <a:pt x="776" y="12"/>
                  </a:lnTo>
                  <a:lnTo>
                    <a:pt x="686" y="174"/>
                  </a:lnTo>
                  <a:cubicBezTo>
                    <a:pt x="685" y="177"/>
                    <a:pt x="682" y="179"/>
                    <a:pt x="679" y="179"/>
                  </a:cubicBezTo>
                  <a:lnTo>
                    <a:pt x="561" y="179"/>
                  </a:lnTo>
                  <a:lnTo>
                    <a:pt x="565" y="177"/>
                  </a:lnTo>
                  <a:lnTo>
                    <a:pt x="497" y="218"/>
                  </a:lnTo>
                  <a:lnTo>
                    <a:pt x="498" y="205"/>
                  </a:lnTo>
                  <a:lnTo>
                    <a:pt x="523" y="225"/>
                  </a:lnTo>
                  <a:cubicBezTo>
                    <a:pt x="524" y="227"/>
                    <a:pt x="525" y="229"/>
                    <a:pt x="525" y="231"/>
                  </a:cubicBezTo>
                  <a:lnTo>
                    <a:pt x="525" y="312"/>
                  </a:lnTo>
                  <a:lnTo>
                    <a:pt x="520" y="305"/>
                  </a:lnTo>
                  <a:lnTo>
                    <a:pt x="588" y="325"/>
                  </a:lnTo>
                  <a:cubicBezTo>
                    <a:pt x="591" y="326"/>
                    <a:pt x="592" y="328"/>
                    <a:pt x="593" y="330"/>
                  </a:cubicBezTo>
                  <a:cubicBezTo>
                    <a:pt x="594" y="332"/>
                    <a:pt x="594" y="335"/>
                    <a:pt x="593" y="337"/>
                  </a:cubicBezTo>
                  <a:lnTo>
                    <a:pt x="568" y="377"/>
                  </a:lnTo>
                  <a:cubicBezTo>
                    <a:pt x="567" y="379"/>
                    <a:pt x="565" y="380"/>
                    <a:pt x="564" y="381"/>
                  </a:cubicBezTo>
                  <a:lnTo>
                    <a:pt x="495" y="401"/>
                  </a:lnTo>
                  <a:lnTo>
                    <a:pt x="500" y="396"/>
                  </a:lnTo>
                  <a:lnTo>
                    <a:pt x="478" y="457"/>
                  </a:lnTo>
                  <a:cubicBezTo>
                    <a:pt x="478" y="459"/>
                    <a:pt x="476" y="461"/>
                    <a:pt x="473" y="462"/>
                  </a:cubicBezTo>
                  <a:lnTo>
                    <a:pt x="402" y="482"/>
                  </a:lnTo>
                  <a:lnTo>
                    <a:pt x="408" y="475"/>
                  </a:lnTo>
                  <a:lnTo>
                    <a:pt x="408" y="556"/>
                  </a:lnTo>
                  <a:lnTo>
                    <a:pt x="408" y="637"/>
                  </a:lnTo>
                  <a:lnTo>
                    <a:pt x="407" y="633"/>
                  </a:lnTo>
                  <a:lnTo>
                    <a:pt x="453" y="714"/>
                  </a:lnTo>
                  <a:cubicBezTo>
                    <a:pt x="455" y="717"/>
                    <a:pt x="455" y="720"/>
                    <a:pt x="453" y="723"/>
                  </a:cubicBezTo>
                  <a:cubicBezTo>
                    <a:pt x="451" y="725"/>
                    <a:pt x="447" y="726"/>
                    <a:pt x="444" y="725"/>
                  </a:cubicBezTo>
                  <a:lnTo>
                    <a:pt x="376" y="705"/>
                  </a:lnTo>
                  <a:lnTo>
                    <a:pt x="382" y="704"/>
                  </a:lnTo>
                  <a:lnTo>
                    <a:pt x="314" y="745"/>
                  </a:lnTo>
                  <a:cubicBezTo>
                    <a:pt x="313" y="745"/>
                    <a:pt x="312" y="746"/>
                    <a:pt x="311" y="746"/>
                  </a:cubicBezTo>
                  <a:lnTo>
                    <a:pt x="218" y="766"/>
                  </a:lnTo>
                  <a:lnTo>
                    <a:pt x="224" y="756"/>
                  </a:lnTo>
                  <a:lnTo>
                    <a:pt x="246" y="816"/>
                  </a:lnTo>
                  <a:cubicBezTo>
                    <a:pt x="247" y="820"/>
                    <a:pt x="245" y="825"/>
                    <a:pt x="242" y="826"/>
                  </a:cubicBezTo>
                  <a:lnTo>
                    <a:pt x="198" y="847"/>
                  </a:lnTo>
                  <a:cubicBezTo>
                    <a:pt x="196" y="847"/>
                    <a:pt x="195" y="848"/>
                    <a:pt x="193" y="847"/>
                  </a:cubicBezTo>
                  <a:lnTo>
                    <a:pt x="100" y="827"/>
                  </a:lnTo>
                  <a:lnTo>
                    <a:pt x="106" y="826"/>
                  </a:lnTo>
                  <a:lnTo>
                    <a:pt x="13" y="887"/>
                  </a:lnTo>
                  <a:lnTo>
                    <a:pt x="16" y="877"/>
                  </a:lnTo>
                  <a:lnTo>
                    <a:pt x="62" y="978"/>
                  </a:lnTo>
                  <a:lnTo>
                    <a:pt x="177" y="1180"/>
                  </a:lnTo>
                  <a:cubicBezTo>
                    <a:pt x="179" y="1183"/>
                    <a:pt x="178" y="1187"/>
                    <a:pt x="176" y="1189"/>
                  </a:cubicBezTo>
                  <a:lnTo>
                    <a:pt x="61" y="1311"/>
                  </a:lnTo>
                  <a:lnTo>
                    <a:pt x="63" y="1306"/>
                  </a:lnTo>
                  <a:lnTo>
                    <a:pt x="63" y="1366"/>
                  </a:lnTo>
                  <a:lnTo>
                    <a:pt x="57" y="1359"/>
                  </a:lnTo>
                  <a:lnTo>
                    <a:pt x="150" y="1379"/>
                  </a:lnTo>
                  <a:cubicBezTo>
                    <a:pt x="153" y="1379"/>
                    <a:pt x="155" y="1382"/>
                    <a:pt x="156" y="1385"/>
                  </a:cubicBezTo>
                  <a:lnTo>
                    <a:pt x="178" y="1527"/>
                  </a:lnTo>
                  <a:lnTo>
                    <a:pt x="170" y="1520"/>
                  </a:lnTo>
                  <a:lnTo>
                    <a:pt x="263" y="1520"/>
                  </a:lnTo>
                  <a:lnTo>
                    <a:pt x="257" y="1524"/>
                  </a:lnTo>
                  <a:lnTo>
                    <a:pt x="303" y="1463"/>
                  </a:lnTo>
                  <a:cubicBezTo>
                    <a:pt x="304" y="1462"/>
                    <a:pt x="305" y="1461"/>
                    <a:pt x="306" y="1461"/>
                  </a:cubicBezTo>
                  <a:lnTo>
                    <a:pt x="421" y="1400"/>
                  </a:lnTo>
                  <a:cubicBezTo>
                    <a:pt x="422" y="1399"/>
                    <a:pt x="422" y="1399"/>
                    <a:pt x="423" y="1399"/>
                  </a:cubicBezTo>
                  <a:lnTo>
                    <a:pt x="585" y="1379"/>
                  </a:lnTo>
                  <a:lnTo>
                    <a:pt x="837" y="1358"/>
                  </a:lnTo>
                  <a:lnTo>
                    <a:pt x="998" y="1338"/>
                  </a:lnTo>
                  <a:cubicBezTo>
                    <a:pt x="1000" y="1338"/>
                    <a:pt x="1002" y="1338"/>
                    <a:pt x="1003" y="1339"/>
                  </a:cubicBezTo>
                  <a:lnTo>
                    <a:pt x="1097" y="1400"/>
                  </a:lnTo>
                  <a:lnTo>
                    <a:pt x="1087" y="1401"/>
                  </a:lnTo>
                  <a:lnTo>
                    <a:pt x="1155" y="1340"/>
                  </a:lnTo>
                  <a:cubicBezTo>
                    <a:pt x="1157" y="1339"/>
                    <a:pt x="1159" y="1338"/>
                    <a:pt x="1161" y="1338"/>
                  </a:cubicBezTo>
                  <a:lnTo>
                    <a:pt x="1254" y="1338"/>
                  </a:lnTo>
                  <a:cubicBezTo>
                    <a:pt x="1255" y="1338"/>
                    <a:pt x="1256" y="1338"/>
                    <a:pt x="1257" y="1339"/>
                  </a:cubicBezTo>
                  <a:lnTo>
                    <a:pt x="1350" y="1379"/>
                  </a:lnTo>
                  <a:lnTo>
                    <a:pt x="1341" y="1381"/>
                  </a:lnTo>
                  <a:lnTo>
                    <a:pt x="1409" y="1300"/>
                  </a:lnTo>
                  <a:cubicBezTo>
                    <a:pt x="1411" y="1297"/>
                    <a:pt x="1416" y="1297"/>
                    <a:pt x="1419" y="1299"/>
                  </a:cubicBezTo>
                  <a:lnTo>
                    <a:pt x="1488" y="1339"/>
                  </a:lnTo>
                  <a:lnTo>
                    <a:pt x="1480" y="1339"/>
                  </a:lnTo>
                  <a:lnTo>
                    <a:pt x="1597" y="1278"/>
                  </a:lnTo>
                  <a:cubicBezTo>
                    <a:pt x="1599" y="1277"/>
                    <a:pt x="1601" y="1277"/>
                    <a:pt x="1603" y="1278"/>
                  </a:cubicBezTo>
                  <a:lnTo>
                    <a:pt x="1740" y="1318"/>
                  </a:lnTo>
                  <a:lnTo>
                    <a:pt x="1730" y="1328"/>
                  </a:lnTo>
                  <a:lnTo>
                    <a:pt x="1708" y="1247"/>
                  </a:lnTo>
                  <a:cubicBezTo>
                    <a:pt x="1708" y="1245"/>
                    <a:pt x="1708" y="1244"/>
                    <a:pt x="1708" y="1243"/>
                  </a:cubicBezTo>
                  <a:lnTo>
                    <a:pt x="1755" y="1080"/>
                  </a:lnTo>
                  <a:cubicBezTo>
                    <a:pt x="1756" y="1078"/>
                    <a:pt x="1757" y="1076"/>
                    <a:pt x="1760" y="1075"/>
                  </a:cubicBezTo>
                  <a:lnTo>
                    <a:pt x="1921" y="1014"/>
                  </a:lnTo>
                  <a:lnTo>
                    <a:pt x="1918" y="1027"/>
                  </a:lnTo>
                  <a:lnTo>
                    <a:pt x="1847" y="946"/>
                  </a:lnTo>
                  <a:lnTo>
                    <a:pt x="1800" y="885"/>
                  </a:lnTo>
                  <a:close/>
                  <a:moveTo>
                    <a:pt x="1859" y="935"/>
                  </a:moveTo>
                  <a:lnTo>
                    <a:pt x="1930" y="1017"/>
                  </a:lnTo>
                  <a:cubicBezTo>
                    <a:pt x="1932" y="1018"/>
                    <a:pt x="1932" y="1021"/>
                    <a:pt x="1932" y="1024"/>
                  </a:cubicBezTo>
                  <a:cubicBezTo>
                    <a:pt x="1931" y="1026"/>
                    <a:pt x="1929" y="1028"/>
                    <a:pt x="1927" y="1029"/>
                  </a:cubicBezTo>
                  <a:lnTo>
                    <a:pt x="1765" y="1090"/>
                  </a:lnTo>
                  <a:lnTo>
                    <a:pt x="1770" y="1085"/>
                  </a:lnTo>
                  <a:lnTo>
                    <a:pt x="1724" y="1247"/>
                  </a:lnTo>
                  <a:lnTo>
                    <a:pt x="1724" y="1243"/>
                  </a:lnTo>
                  <a:lnTo>
                    <a:pt x="1746" y="1324"/>
                  </a:lnTo>
                  <a:cubicBezTo>
                    <a:pt x="1746" y="1327"/>
                    <a:pt x="1746" y="1330"/>
                    <a:pt x="1744" y="1332"/>
                  </a:cubicBezTo>
                  <a:cubicBezTo>
                    <a:pt x="1741" y="1334"/>
                    <a:pt x="1738" y="1334"/>
                    <a:pt x="1736" y="1333"/>
                  </a:cubicBezTo>
                  <a:lnTo>
                    <a:pt x="1599" y="1293"/>
                  </a:lnTo>
                  <a:lnTo>
                    <a:pt x="1605" y="1292"/>
                  </a:lnTo>
                  <a:lnTo>
                    <a:pt x="1487" y="1353"/>
                  </a:lnTo>
                  <a:cubicBezTo>
                    <a:pt x="1485" y="1354"/>
                    <a:pt x="1482" y="1354"/>
                    <a:pt x="1479" y="1353"/>
                  </a:cubicBezTo>
                  <a:lnTo>
                    <a:pt x="1411" y="1312"/>
                  </a:lnTo>
                  <a:lnTo>
                    <a:pt x="1421" y="1311"/>
                  </a:lnTo>
                  <a:lnTo>
                    <a:pt x="1353" y="1392"/>
                  </a:lnTo>
                  <a:cubicBezTo>
                    <a:pt x="1350" y="1394"/>
                    <a:pt x="1347" y="1395"/>
                    <a:pt x="1343" y="1394"/>
                  </a:cubicBezTo>
                  <a:lnTo>
                    <a:pt x="1250" y="1353"/>
                  </a:lnTo>
                  <a:lnTo>
                    <a:pt x="1254" y="1354"/>
                  </a:lnTo>
                  <a:lnTo>
                    <a:pt x="1161" y="1354"/>
                  </a:lnTo>
                  <a:lnTo>
                    <a:pt x="1166" y="1352"/>
                  </a:lnTo>
                  <a:lnTo>
                    <a:pt x="1097" y="1413"/>
                  </a:lnTo>
                  <a:cubicBezTo>
                    <a:pt x="1095" y="1415"/>
                    <a:pt x="1091" y="1416"/>
                    <a:pt x="1088" y="1414"/>
                  </a:cubicBezTo>
                  <a:lnTo>
                    <a:pt x="995" y="1353"/>
                  </a:lnTo>
                  <a:lnTo>
                    <a:pt x="1000" y="1354"/>
                  </a:lnTo>
                  <a:lnTo>
                    <a:pt x="838" y="1374"/>
                  </a:lnTo>
                  <a:lnTo>
                    <a:pt x="587" y="1395"/>
                  </a:lnTo>
                  <a:lnTo>
                    <a:pt x="425" y="1415"/>
                  </a:lnTo>
                  <a:lnTo>
                    <a:pt x="428" y="1414"/>
                  </a:lnTo>
                  <a:lnTo>
                    <a:pt x="313" y="1475"/>
                  </a:lnTo>
                  <a:lnTo>
                    <a:pt x="316" y="1473"/>
                  </a:lnTo>
                  <a:lnTo>
                    <a:pt x="269" y="1533"/>
                  </a:lnTo>
                  <a:cubicBezTo>
                    <a:pt x="268" y="1535"/>
                    <a:pt x="265" y="1536"/>
                    <a:pt x="263" y="1536"/>
                  </a:cubicBezTo>
                  <a:lnTo>
                    <a:pt x="170" y="1536"/>
                  </a:lnTo>
                  <a:cubicBezTo>
                    <a:pt x="166" y="1536"/>
                    <a:pt x="163" y="1534"/>
                    <a:pt x="162" y="1530"/>
                  </a:cubicBezTo>
                  <a:lnTo>
                    <a:pt x="140" y="1388"/>
                  </a:lnTo>
                  <a:lnTo>
                    <a:pt x="146" y="1394"/>
                  </a:lnTo>
                  <a:lnTo>
                    <a:pt x="53" y="1374"/>
                  </a:lnTo>
                  <a:cubicBezTo>
                    <a:pt x="50" y="1373"/>
                    <a:pt x="47" y="1370"/>
                    <a:pt x="47" y="1366"/>
                  </a:cubicBezTo>
                  <a:lnTo>
                    <a:pt x="47" y="1306"/>
                  </a:lnTo>
                  <a:cubicBezTo>
                    <a:pt x="47" y="1303"/>
                    <a:pt x="48" y="1302"/>
                    <a:pt x="49" y="1300"/>
                  </a:cubicBezTo>
                  <a:lnTo>
                    <a:pt x="164" y="1178"/>
                  </a:lnTo>
                  <a:lnTo>
                    <a:pt x="163" y="1188"/>
                  </a:lnTo>
                  <a:lnTo>
                    <a:pt x="48" y="985"/>
                  </a:lnTo>
                  <a:lnTo>
                    <a:pt x="1" y="883"/>
                  </a:lnTo>
                  <a:cubicBezTo>
                    <a:pt x="0" y="880"/>
                    <a:pt x="1" y="875"/>
                    <a:pt x="4" y="873"/>
                  </a:cubicBezTo>
                  <a:lnTo>
                    <a:pt x="97" y="812"/>
                  </a:lnTo>
                  <a:cubicBezTo>
                    <a:pt x="99" y="811"/>
                    <a:pt x="101" y="811"/>
                    <a:pt x="103" y="811"/>
                  </a:cubicBezTo>
                  <a:lnTo>
                    <a:pt x="196" y="832"/>
                  </a:lnTo>
                  <a:lnTo>
                    <a:pt x="191" y="832"/>
                  </a:lnTo>
                  <a:lnTo>
                    <a:pt x="235" y="812"/>
                  </a:lnTo>
                  <a:lnTo>
                    <a:pt x="231" y="822"/>
                  </a:lnTo>
                  <a:lnTo>
                    <a:pt x="209" y="761"/>
                  </a:lnTo>
                  <a:cubicBezTo>
                    <a:pt x="208" y="759"/>
                    <a:pt x="208" y="756"/>
                    <a:pt x="209" y="754"/>
                  </a:cubicBezTo>
                  <a:cubicBezTo>
                    <a:pt x="211" y="752"/>
                    <a:pt x="212" y="751"/>
                    <a:pt x="215" y="751"/>
                  </a:cubicBezTo>
                  <a:lnTo>
                    <a:pt x="308" y="730"/>
                  </a:lnTo>
                  <a:lnTo>
                    <a:pt x="305" y="731"/>
                  </a:lnTo>
                  <a:lnTo>
                    <a:pt x="374" y="691"/>
                  </a:lnTo>
                  <a:cubicBezTo>
                    <a:pt x="376" y="690"/>
                    <a:pt x="378" y="689"/>
                    <a:pt x="380" y="690"/>
                  </a:cubicBezTo>
                  <a:lnTo>
                    <a:pt x="449" y="710"/>
                  </a:lnTo>
                  <a:lnTo>
                    <a:pt x="439" y="722"/>
                  </a:lnTo>
                  <a:lnTo>
                    <a:pt x="393" y="641"/>
                  </a:lnTo>
                  <a:cubicBezTo>
                    <a:pt x="392" y="640"/>
                    <a:pt x="392" y="638"/>
                    <a:pt x="392" y="637"/>
                  </a:cubicBezTo>
                  <a:lnTo>
                    <a:pt x="392" y="556"/>
                  </a:lnTo>
                  <a:lnTo>
                    <a:pt x="392" y="475"/>
                  </a:lnTo>
                  <a:cubicBezTo>
                    <a:pt x="392" y="471"/>
                    <a:pt x="394" y="468"/>
                    <a:pt x="398" y="467"/>
                  </a:cubicBezTo>
                  <a:lnTo>
                    <a:pt x="469" y="447"/>
                  </a:lnTo>
                  <a:lnTo>
                    <a:pt x="463" y="452"/>
                  </a:lnTo>
                  <a:lnTo>
                    <a:pt x="485" y="391"/>
                  </a:lnTo>
                  <a:cubicBezTo>
                    <a:pt x="486" y="388"/>
                    <a:pt x="488" y="387"/>
                    <a:pt x="491" y="386"/>
                  </a:cubicBezTo>
                  <a:lnTo>
                    <a:pt x="559" y="366"/>
                  </a:lnTo>
                  <a:lnTo>
                    <a:pt x="554" y="369"/>
                  </a:lnTo>
                  <a:lnTo>
                    <a:pt x="579" y="329"/>
                  </a:lnTo>
                  <a:lnTo>
                    <a:pt x="584" y="340"/>
                  </a:lnTo>
                  <a:lnTo>
                    <a:pt x="515" y="320"/>
                  </a:lnTo>
                  <a:cubicBezTo>
                    <a:pt x="512" y="319"/>
                    <a:pt x="509" y="316"/>
                    <a:pt x="509" y="312"/>
                  </a:cubicBezTo>
                  <a:lnTo>
                    <a:pt x="509" y="231"/>
                  </a:lnTo>
                  <a:lnTo>
                    <a:pt x="512" y="238"/>
                  </a:lnTo>
                  <a:lnTo>
                    <a:pt x="488" y="217"/>
                  </a:lnTo>
                  <a:cubicBezTo>
                    <a:pt x="486" y="216"/>
                    <a:pt x="485" y="213"/>
                    <a:pt x="485" y="211"/>
                  </a:cubicBezTo>
                  <a:cubicBezTo>
                    <a:pt x="485" y="208"/>
                    <a:pt x="487" y="206"/>
                    <a:pt x="489" y="204"/>
                  </a:cubicBezTo>
                  <a:lnTo>
                    <a:pt x="557" y="164"/>
                  </a:lnTo>
                  <a:cubicBezTo>
                    <a:pt x="558" y="163"/>
                    <a:pt x="560" y="163"/>
                    <a:pt x="561" y="163"/>
                  </a:cubicBezTo>
                  <a:lnTo>
                    <a:pt x="679" y="163"/>
                  </a:lnTo>
                  <a:lnTo>
                    <a:pt x="672" y="167"/>
                  </a:lnTo>
                  <a:lnTo>
                    <a:pt x="762" y="5"/>
                  </a:lnTo>
                  <a:cubicBezTo>
                    <a:pt x="764" y="2"/>
                    <a:pt x="766" y="0"/>
                    <a:pt x="769" y="0"/>
                  </a:cubicBezTo>
                  <a:lnTo>
                    <a:pt x="838" y="0"/>
                  </a:lnTo>
                  <a:cubicBezTo>
                    <a:pt x="839" y="0"/>
                    <a:pt x="840" y="1"/>
                    <a:pt x="842" y="2"/>
                  </a:cubicBezTo>
                  <a:lnTo>
                    <a:pt x="913" y="42"/>
                  </a:lnTo>
                  <a:lnTo>
                    <a:pt x="906" y="42"/>
                  </a:lnTo>
                  <a:lnTo>
                    <a:pt x="952" y="21"/>
                  </a:lnTo>
                  <a:cubicBezTo>
                    <a:pt x="954" y="21"/>
                    <a:pt x="955" y="21"/>
                    <a:pt x="957" y="21"/>
                  </a:cubicBezTo>
                  <a:lnTo>
                    <a:pt x="1047" y="41"/>
                  </a:lnTo>
                  <a:cubicBezTo>
                    <a:pt x="1049" y="41"/>
                    <a:pt x="1050" y="42"/>
                    <a:pt x="1051" y="43"/>
                  </a:cubicBezTo>
                  <a:lnTo>
                    <a:pt x="1097" y="83"/>
                  </a:lnTo>
                  <a:lnTo>
                    <a:pt x="1088" y="82"/>
                  </a:lnTo>
                  <a:lnTo>
                    <a:pt x="1203" y="22"/>
                  </a:lnTo>
                  <a:cubicBezTo>
                    <a:pt x="1205" y="21"/>
                    <a:pt x="1207" y="21"/>
                    <a:pt x="1209" y="21"/>
                  </a:cubicBezTo>
                  <a:lnTo>
                    <a:pt x="1302" y="41"/>
                  </a:lnTo>
                  <a:cubicBezTo>
                    <a:pt x="1303" y="41"/>
                    <a:pt x="1304" y="42"/>
                    <a:pt x="1304" y="42"/>
                  </a:cubicBezTo>
                  <a:lnTo>
                    <a:pt x="1398" y="103"/>
                  </a:lnTo>
                  <a:cubicBezTo>
                    <a:pt x="1399" y="104"/>
                    <a:pt x="1400" y="106"/>
                    <a:pt x="1401" y="108"/>
                  </a:cubicBezTo>
                  <a:lnTo>
                    <a:pt x="1423" y="189"/>
                  </a:lnTo>
                  <a:cubicBezTo>
                    <a:pt x="1423" y="189"/>
                    <a:pt x="1423" y="190"/>
                    <a:pt x="1423" y="191"/>
                  </a:cubicBezTo>
                  <a:lnTo>
                    <a:pt x="1423" y="272"/>
                  </a:lnTo>
                  <a:lnTo>
                    <a:pt x="1418" y="265"/>
                  </a:lnTo>
                  <a:lnTo>
                    <a:pt x="1511" y="305"/>
                  </a:lnTo>
                  <a:cubicBezTo>
                    <a:pt x="1514" y="306"/>
                    <a:pt x="1516" y="309"/>
                    <a:pt x="1516" y="312"/>
                  </a:cubicBezTo>
                  <a:lnTo>
                    <a:pt x="1516" y="353"/>
                  </a:lnTo>
                  <a:lnTo>
                    <a:pt x="1512" y="346"/>
                  </a:lnTo>
                  <a:lnTo>
                    <a:pt x="1606" y="407"/>
                  </a:lnTo>
                  <a:lnTo>
                    <a:pt x="1603" y="406"/>
                  </a:lnTo>
                  <a:lnTo>
                    <a:pt x="1717" y="426"/>
                  </a:lnTo>
                  <a:cubicBezTo>
                    <a:pt x="1720" y="427"/>
                    <a:pt x="1723" y="429"/>
                    <a:pt x="1724" y="431"/>
                  </a:cubicBezTo>
                  <a:lnTo>
                    <a:pt x="1745" y="492"/>
                  </a:lnTo>
                  <a:lnTo>
                    <a:pt x="1740" y="487"/>
                  </a:lnTo>
                  <a:lnTo>
                    <a:pt x="1926" y="528"/>
                  </a:lnTo>
                  <a:cubicBezTo>
                    <a:pt x="1927" y="528"/>
                    <a:pt x="1928" y="529"/>
                    <a:pt x="1929" y="529"/>
                  </a:cubicBezTo>
                  <a:lnTo>
                    <a:pt x="1998" y="590"/>
                  </a:lnTo>
                  <a:cubicBezTo>
                    <a:pt x="2001" y="593"/>
                    <a:pt x="2001" y="598"/>
                    <a:pt x="1999" y="601"/>
                  </a:cubicBezTo>
                  <a:lnTo>
                    <a:pt x="1952" y="662"/>
                  </a:lnTo>
                  <a:cubicBezTo>
                    <a:pt x="1952" y="662"/>
                    <a:pt x="1952" y="663"/>
                    <a:pt x="1951" y="663"/>
                  </a:cubicBezTo>
                  <a:lnTo>
                    <a:pt x="1905" y="704"/>
                  </a:lnTo>
                  <a:cubicBezTo>
                    <a:pt x="1904" y="705"/>
                    <a:pt x="1902" y="705"/>
                    <a:pt x="1901" y="705"/>
                  </a:cubicBezTo>
                  <a:lnTo>
                    <a:pt x="1764" y="726"/>
                  </a:lnTo>
                  <a:lnTo>
                    <a:pt x="1770" y="721"/>
                  </a:lnTo>
                  <a:lnTo>
                    <a:pt x="1745" y="782"/>
                  </a:lnTo>
                  <a:lnTo>
                    <a:pt x="1742" y="772"/>
                  </a:lnTo>
                  <a:lnTo>
                    <a:pt x="1810" y="812"/>
                  </a:lnTo>
                  <a:cubicBezTo>
                    <a:pt x="1813" y="814"/>
                    <a:pt x="1814" y="816"/>
                    <a:pt x="1814" y="819"/>
                  </a:cubicBezTo>
                  <a:lnTo>
                    <a:pt x="1814" y="880"/>
                  </a:lnTo>
                  <a:lnTo>
                    <a:pt x="1813" y="875"/>
                  </a:lnTo>
                  <a:lnTo>
                    <a:pt x="1859" y="935"/>
                  </a:lnTo>
                  <a:close/>
                </a:path>
              </a:pathLst>
            </a:custGeom>
            <a:solidFill>
              <a:srgbClr val="000000"/>
            </a:solidFill>
            <a:ln w="0" cap="flat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217" name="Freeform 184"/>
            <p:cNvSpPr>
              <a:spLocks noEditPoints="1"/>
            </p:cNvSpPr>
            <p:nvPr/>
          </p:nvSpPr>
          <p:spPr bwMode="auto">
            <a:xfrm>
              <a:off x="2525" y="1746"/>
              <a:ext cx="264" cy="249"/>
            </a:xfrm>
            <a:custGeom>
              <a:avLst/>
              <a:gdLst>
                <a:gd name="T0" fmla="*/ 0 w 1105"/>
                <a:gd name="T1" fmla="*/ 0 h 1040"/>
                <a:gd name="T2" fmla="*/ 0 w 1105"/>
                <a:gd name="T3" fmla="*/ 0 h 1040"/>
                <a:gd name="T4" fmla="*/ 0 w 1105"/>
                <a:gd name="T5" fmla="*/ 0 h 1040"/>
                <a:gd name="T6" fmla="*/ 0 w 1105"/>
                <a:gd name="T7" fmla="*/ 0 h 1040"/>
                <a:gd name="T8" fmla="*/ 0 w 1105"/>
                <a:gd name="T9" fmla="*/ 0 h 1040"/>
                <a:gd name="T10" fmla="*/ 0 w 1105"/>
                <a:gd name="T11" fmla="*/ 0 h 1040"/>
                <a:gd name="T12" fmla="*/ 0 w 1105"/>
                <a:gd name="T13" fmla="*/ 0 h 1040"/>
                <a:gd name="T14" fmla="*/ 0 w 1105"/>
                <a:gd name="T15" fmla="*/ 0 h 1040"/>
                <a:gd name="T16" fmla="*/ 0 w 1105"/>
                <a:gd name="T17" fmla="*/ 0 h 1040"/>
                <a:gd name="T18" fmla="*/ 0 w 1105"/>
                <a:gd name="T19" fmla="*/ 0 h 1040"/>
                <a:gd name="T20" fmla="*/ 0 w 1105"/>
                <a:gd name="T21" fmla="*/ 0 h 1040"/>
                <a:gd name="T22" fmla="*/ 0 w 1105"/>
                <a:gd name="T23" fmla="*/ 0 h 1040"/>
                <a:gd name="T24" fmla="*/ 0 w 1105"/>
                <a:gd name="T25" fmla="*/ 0 h 1040"/>
                <a:gd name="T26" fmla="*/ 0 w 1105"/>
                <a:gd name="T27" fmla="*/ 0 h 1040"/>
                <a:gd name="T28" fmla="*/ 0 w 1105"/>
                <a:gd name="T29" fmla="*/ 0 h 1040"/>
                <a:gd name="T30" fmla="*/ 0 w 1105"/>
                <a:gd name="T31" fmla="*/ 0 h 1040"/>
                <a:gd name="T32" fmla="*/ 0 w 1105"/>
                <a:gd name="T33" fmla="*/ 0 h 1040"/>
                <a:gd name="T34" fmla="*/ 0 w 1105"/>
                <a:gd name="T35" fmla="*/ 0 h 1040"/>
                <a:gd name="T36" fmla="*/ 0 w 1105"/>
                <a:gd name="T37" fmla="*/ 0 h 1040"/>
                <a:gd name="T38" fmla="*/ 0 w 1105"/>
                <a:gd name="T39" fmla="*/ 0 h 1040"/>
                <a:gd name="T40" fmla="*/ 0 w 1105"/>
                <a:gd name="T41" fmla="*/ 0 h 1040"/>
                <a:gd name="T42" fmla="*/ 0 w 1105"/>
                <a:gd name="T43" fmla="*/ 0 h 1040"/>
                <a:gd name="T44" fmla="*/ 0 w 1105"/>
                <a:gd name="T45" fmla="*/ 0 h 1040"/>
                <a:gd name="T46" fmla="*/ 0 w 1105"/>
                <a:gd name="T47" fmla="*/ 0 h 1040"/>
                <a:gd name="T48" fmla="*/ 0 w 1105"/>
                <a:gd name="T49" fmla="*/ 0 h 1040"/>
                <a:gd name="T50" fmla="*/ 0 w 1105"/>
                <a:gd name="T51" fmla="*/ 0 h 1040"/>
                <a:gd name="T52" fmla="*/ 0 w 1105"/>
                <a:gd name="T53" fmla="*/ 0 h 1040"/>
                <a:gd name="T54" fmla="*/ 0 w 1105"/>
                <a:gd name="T55" fmla="*/ 0 h 1040"/>
                <a:gd name="T56" fmla="*/ 0 w 1105"/>
                <a:gd name="T57" fmla="*/ 0 h 1040"/>
                <a:gd name="T58" fmla="*/ 0 w 1105"/>
                <a:gd name="T59" fmla="*/ 0 h 1040"/>
                <a:gd name="T60" fmla="*/ 0 w 1105"/>
                <a:gd name="T61" fmla="*/ 0 h 1040"/>
                <a:gd name="T62" fmla="*/ 0 w 1105"/>
                <a:gd name="T63" fmla="*/ 0 h 1040"/>
                <a:gd name="T64" fmla="*/ 0 w 1105"/>
                <a:gd name="T65" fmla="*/ 0 h 1040"/>
                <a:gd name="T66" fmla="*/ 0 w 1105"/>
                <a:gd name="T67" fmla="*/ 0 h 1040"/>
                <a:gd name="T68" fmla="*/ 0 w 1105"/>
                <a:gd name="T69" fmla="*/ 0 h 1040"/>
                <a:gd name="T70" fmla="*/ 0 w 1105"/>
                <a:gd name="T71" fmla="*/ 0 h 1040"/>
                <a:gd name="T72" fmla="*/ 0 w 1105"/>
                <a:gd name="T73" fmla="*/ 0 h 1040"/>
                <a:gd name="T74" fmla="*/ 0 w 1105"/>
                <a:gd name="T75" fmla="*/ 0 h 1040"/>
                <a:gd name="T76" fmla="*/ 0 w 1105"/>
                <a:gd name="T77" fmla="*/ 0 h 1040"/>
                <a:gd name="T78" fmla="*/ 0 w 1105"/>
                <a:gd name="T79" fmla="*/ 0 h 1040"/>
                <a:gd name="T80" fmla="*/ 0 w 1105"/>
                <a:gd name="T81" fmla="*/ 0 h 1040"/>
                <a:gd name="T82" fmla="*/ 0 w 1105"/>
                <a:gd name="T83" fmla="*/ 0 h 1040"/>
                <a:gd name="T84" fmla="*/ 0 w 1105"/>
                <a:gd name="T85" fmla="*/ 0 h 1040"/>
                <a:gd name="T86" fmla="*/ 0 w 1105"/>
                <a:gd name="T87" fmla="*/ 0 h 1040"/>
                <a:gd name="T88" fmla="*/ 0 w 1105"/>
                <a:gd name="T89" fmla="*/ 0 h 1040"/>
                <a:gd name="T90" fmla="*/ 0 w 1105"/>
                <a:gd name="T91" fmla="*/ 0 h 1040"/>
                <a:gd name="T92" fmla="*/ 0 w 1105"/>
                <a:gd name="T93" fmla="*/ 0 h 1040"/>
                <a:gd name="T94" fmla="*/ 0 w 1105"/>
                <a:gd name="T95" fmla="*/ 0 h 1040"/>
                <a:gd name="T96" fmla="*/ 0 w 1105"/>
                <a:gd name="T97" fmla="*/ 0 h 1040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1105"/>
                <a:gd name="T148" fmla="*/ 0 h 1040"/>
                <a:gd name="T149" fmla="*/ 1105 w 1105"/>
                <a:gd name="T150" fmla="*/ 1040 h 1040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1105" h="1040">
                  <a:moveTo>
                    <a:pt x="1006" y="418"/>
                  </a:moveTo>
                  <a:cubicBezTo>
                    <a:pt x="1003" y="418"/>
                    <a:pt x="1000" y="416"/>
                    <a:pt x="998" y="413"/>
                  </a:cubicBezTo>
                  <a:lnTo>
                    <a:pt x="974" y="353"/>
                  </a:lnTo>
                  <a:lnTo>
                    <a:pt x="977" y="357"/>
                  </a:lnTo>
                  <a:lnTo>
                    <a:pt x="908" y="317"/>
                  </a:lnTo>
                  <a:lnTo>
                    <a:pt x="917" y="316"/>
                  </a:lnTo>
                  <a:lnTo>
                    <a:pt x="823" y="377"/>
                  </a:lnTo>
                  <a:cubicBezTo>
                    <a:pt x="820" y="379"/>
                    <a:pt x="815" y="378"/>
                    <a:pt x="813" y="375"/>
                  </a:cubicBezTo>
                  <a:lnTo>
                    <a:pt x="722" y="254"/>
                  </a:lnTo>
                  <a:cubicBezTo>
                    <a:pt x="719" y="251"/>
                    <a:pt x="720" y="246"/>
                    <a:pt x="723" y="243"/>
                  </a:cubicBezTo>
                  <a:lnTo>
                    <a:pt x="767" y="203"/>
                  </a:lnTo>
                  <a:lnTo>
                    <a:pt x="764" y="209"/>
                  </a:lnTo>
                  <a:lnTo>
                    <a:pt x="764" y="169"/>
                  </a:lnTo>
                  <a:cubicBezTo>
                    <a:pt x="764" y="165"/>
                    <a:pt x="768" y="161"/>
                    <a:pt x="772" y="161"/>
                  </a:cubicBezTo>
                  <a:lnTo>
                    <a:pt x="866" y="161"/>
                  </a:lnTo>
                  <a:lnTo>
                    <a:pt x="859" y="165"/>
                  </a:lnTo>
                  <a:lnTo>
                    <a:pt x="884" y="125"/>
                  </a:lnTo>
                  <a:lnTo>
                    <a:pt x="905" y="85"/>
                  </a:lnTo>
                  <a:cubicBezTo>
                    <a:pt x="906" y="83"/>
                    <a:pt x="908" y="82"/>
                    <a:pt x="909" y="81"/>
                  </a:cubicBezTo>
                  <a:lnTo>
                    <a:pt x="956" y="61"/>
                  </a:lnTo>
                  <a:lnTo>
                    <a:pt x="952" y="66"/>
                  </a:lnTo>
                  <a:lnTo>
                    <a:pt x="974" y="6"/>
                  </a:lnTo>
                  <a:lnTo>
                    <a:pt x="981" y="16"/>
                  </a:lnTo>
                  <a:lnTo>
                    <a:pt x="912" y="16"/>
                  </a:lnTo>
                  <a:lnTo>
                    <a:pt x="915" y="16"/>
                  </a:lnTo>
                  <a:lnTo>
                    <a:pt x="846" y="36"/>
                  </a:lnTo>
                  <a:cubicBezTo>
                    <a:pt x="845" y="36"/>
                    <a:pt x="844" y="37"/>
                    <a:pt x="844" y="37"/>
                  </a:cubicBezTo>
                  <a:lnTo>
                    <a:pt x="728" y="37"/>
                  </a:lnTo>
                  <a:lnTo>
                    <a:pt x="736" y="32"/>
                  </a:lnTo>
                  <a:lnTo>
                    <a:pt x="711" y="92"/>
                  </a:lnTo>
                  <a:cubicBezTo>
                    <a:pt x="710" y="93"/>
                    <a:pt x="709" y="95"/>
                    <a:pt x="708" y="96"/>
                  </a:cubicBezTo>
                  <a:lnTo>
                    <a:pt x="615" y="156"/>
                  </a:lnTo>
                  <a:lnTo>
                    <a:pt x="618" y="149"/>
                  </a:lnTo>
                  <a:lnTo>
                    <a:pt x="618" y="209"/>
                  </a:lnTo>
                  <a:cubicBezTo>
                    <a:pt x="618" y="212"/>
                    <a:pt x="616" y="215"/>
                    <a:pt x="613" y="217"/>
                  </a:cubicBezTo>
                  <a:lnTo>
                    <a:pt x="523" y="257"/>
                  </a:lnTo>
                  <a:cubicBezTo>
                    <a:pt x="521" y="258"/>
                    <a:pt x="519" y="258"/>
                    <a:pt x="517" y="257"/>
                  </a:cubicBezTo>
                  <a:lnTo>
                    <a:pt x="355" y="197"/>
                  </a:lnTo>
                  <a:lnTo>
                    <a:pt x="363" y="195"/>
                  </a:lnTo>
                  <a:lnTo>
                    <a:pt x="269" y="276"/>
                  </a:lnTo>
                  <a:lnTo>
                    <a:pt x="271" y="265"/>
                  </a:lnTo>
                  <a:lnTo>
                    <a:pt x="318" y="346"/>
                  </a:lnTo>
                  <a:cubicBezTo>
                    <a:pt x="320" y="349"/>
                    <a:pt x="319" y="354"/>
                    <a:pt x="315" y="357"/>
                  </a:cubicBezTo>
                  <a:lnTo>
                    <a:pt x="222" y="417"/>
                  </a:lnTo>
                  <a:lnTo>
                    <a:pt x="222" y="404"/>
                  </a:lnTo>
                  <a:lnTo>
                    <a:pt x="316" y="484"/>
                  </a:lnTo>
                  <a:lnTo>
                    <a:pt x="313" y="483"/>
                  </a:lnTo>
                  <a:lnTo>
                    <a:pt x="429" y="523"/>
                  </a:lnTo>
                  <a:cubicBezTo>
                    <a:pt x="431" y="524"/>
                    <a:pt x="433" y="525"/>
                    <a:pt x="434" y="528"/>
                  </a:cubicBezTo>
                  <a:cubicBezTo>
                    <a:pt x="434" y="530"/>
                    <a:pt x="434" y="532"/>
                    <a:pt x="433" y="534"/>
                  </a:cubicBezTo>
                  <a:lnTo>
                    <a:pt x="411" y="575"/>
                  </a:lnTo>
                  <a:cubicBezTo>
                    <a:pt x="410" y="577"/>
                    <a:pt x="407" y="579"/>
                    <a:pt x="404" y="579"/>
                  </a:cubicBezTo>
                  <a:lnTo>
                    <a:pt x="333" y="579"/>
                  </a:lnTo>
                  <a:lnTo>
                    <a:pt x="340" y="575"/>
                  </a:lnTo>
                  <a:lnTo>
                    <a:pt x="296" y="655"/>
                  </a:lnTo>
                  <a:cubicBezTo>
                    <a:pt x="295" y="657"/>
                    <a:pt x="293" y="658"/>
                    <a:pt x="291" y="659"/>
                  </a:cubicBezTo>
                  <a:lnTo>
                    <a:pt x="151" y="699"/>
                  </a:lnTo>
                  <a:lnTo>
                    <a:pt x="157" y="691"/>
                  </a:lnTo>
                  <a:lnTo>
                    <a:pt x="157" y="771"/>
                  </a:lnTo>
                  <a:cubicBezTo>
                    <a:pt x="157" y="775"/>
                    <a:pt x="154" y="779"/>
                    <a:pt x="150" y="779"/>
                  </a:cubicBezTo>
                  <a:lnTo>
                    <a:pt x="35" y="799"/>
                  </a:lnTo>
                  <a:lnTo>
                    <a:pt x="38" y="785"/>
                  </a:lnTo>
                  <a:lnTo>
                    <a:pt x="85" y="826"/>
                  </a:lnTo>
                  <a:cubicBezTo>
                    <a:pt x="88" y="828"/>
                    <a:pt x="89" y="833"/>
                    <a:pt x="86" y="836"/>
                  </a:cubicBezTo>
                  <a:lnTo>
                    <a:pt x="15" y="937"/>
                  </a:lnTo>
                  <a:lnTo>
                    <a:pt x="11" y="924"/>
                  </a:lnTo>
                  <a:lnTo>
                    <a:pt x="82" y="944"/>
                  </a:lnTo>
                  <a:cubicBezTo>
                    <a:pt x="86" y="945"/>
                    <a:pt x="88" y="949"/>
                    <a:pt x="88" y="952"/>
                  </a:cubicBezTo>
                  <a:lnTo>
                    <a:pt x="88" y="1012"/>
                  </a:lnTo>
                  <a:lnTo>
                    <a:pt x="82" y="1005"/>
                  </a:lnTo>
                  <a:lnTo>
                    <a:pt x="172" y="1025"/>
                  </a:lnTo>
                  <a:lnTo>
                    <a:pt x="171" y="1024"/>
                  </a:lnTo>
                  <a:lnTo>
                    <a:pt x="448" y="1024"/>
                  </a:lnTo>
                  <a:lnTo>
                    <a:pt x="445" y="1025"/>
                  </a:lnTo>
                  <a:lnTo>
                    <a:pt x="632" y="945"/>
                  </a:lnTo>
                  <a:cubicBezTo>
                    <a:pt x="633" y="944"/>
                    <a:pt x="634" y="944"/>
                    <a:pt x="635" y="944"/>
                  </a:cubicBezTo>
                  <a:lnTo>
                    <a:pt x="797" y="944"/>
                  </a:lnTo>
                  <a:cubicBezTo>
                    <a:pt x="798" y="944"/>
                    <a:pt x="799" y="944"/>
                    <a:pt x="800" y="945"/>
                  </a:cubicBezTo>
                  <a:lnTo>
                    <a:pt x="915" y="985"/>
                  </a:lnTo>
                  <a:lnTo>
                    <a:pt x="904" y="992"/>
                  </a:lnTo>
                  <a:lnTo>
                    <a:pt x="904" y="912"/>
                  </a:lnTo>
                  <a:cubicBezTo>
                    <a:pt x="904" y="910"/>
                    <a:pt x="905" y="908"/>
                    <a:pt x="906" y="907"/>
                  </a:cubicBezTo>
                  <a:lnTo>
                    <a:pt x="975" y="826"/>
                  </a:lnTo>
                  <a:lnTo>
                    <a:pt x="1021" y="767"/>
                  </a:lnTo>
                  <a:lnTo>
                    <a:pt x="1020" y="769"/>
                  </a:lnTo>
                  <a:lnTo>
                    <a:pt x="1067" y="589"/>
                  </a:lnTo>
                  <a:lnTo>
                    <a:pt x="1067" y="593"/>
                  </a:lnTo>
                  <a:lnTo>
                    <a:pt x="1045" y="533"/>
                  </a:lnTo>
                  <a:lnTo>
                    <a:pt x="1020" y="453"/>
                  </a:lnTo>
                  <a:cubicBezTo>
                    <a:pt x="1019" y="450"/>
                    <a:pt x="1020" y="448"/>
                    <a:pt x="1021" y="446"/>
                  </a:cubicBezTo>
                  <a:cubicBezTo>
                    <a:pt x="1022" y="445"/>
                    <a:pt x="1023" y="443"/>
                    <a:pt x="1026" y="443"/>
                  </a:cubicBezTo>
                  <a:lnTo>
                    <a:pt x="1094" y="422"/>
                  </a:lnTo>
                  <a:lnTo>
                    <a:pt x="1093" y="437"/>
                  </a:lnTo>
                  <a:lnTo>
                    <a:pt x="1049" y="417"/>
                  </a:lnTo>
                  <a:lnTo>
                    <a:pt x="1053" y="418"/>
                  </a:lnTo>
                  <a:lnTo>
                    <a:pt x="1006" y="418"/>
                  </a:lnTo>
                  <a:close/>
                  <a:moveTo>
                    <a:pt x="1053" y="402"/>
                  </a:moveTo>
                  <a:cubicBezTo>
                    <a:pt x="1054" y="402"/>
                    <a:pt x="1055" y="402"/>
                    <a:pt x="1056" y="403"/>
                  </a:cubicBezTo>
                  <a:lnTo>
                    <a:pt x="1100" y="423"/>
                  </a:lnTo>
                  <a:cubicBezTo>
                    <a:pt x="1103" y="424"/>
                    <a:pt x="1105" y="427"/>
                    <a:pt x="1104" y="431"/>
                  </a:cubicBezTo>
                  <a:cubicBezTo>
                    <a:pt x="1104" y="434"/>
                    <a:pt x="1102" y="437"/>
                    <a:pt x="1099" y="438"/>
                  </a:cubicBezTo>
                  <a:lnTo>
                    <a:pt x="1030" y="458"/>
                  </a:lnTo>
                  <a:lnTo>
                    <a:pt x="1035" y="448"/>
                  </a:lnTo>
                  <a:lnTo>
                    <a:pt x="1060" y="528"/>
                  </a:lnTo>
                  <a:lnTo>
                    <a:pt x="1082" y="588"/>
                  </a:lnTo>
                  <a:cubicBezTo>
                    <a:pt x="1083" y="590"/>
                    <a:pt x="1083" y="591"/>
                    <a:pt x="1082" y="593"/>
                  </a:cubicBezTo>
                  <a:lnTo>
                    <a:pt x="1036" y="773"/>
                  </a:lnTo>
                  <a:cubicBezTo>
                    <a:pt x="1035" y="775"/>
                    <a:pt x="1035" y="775"/>
                    <a:pt x="1034" y="776"/>
                  </a:cubicBezTo>
                  <a:lnTo>
                    <a:pt x="987" y="837"/>
                  </a:lnTo>
                  <a:lnTo>
                    <a:pt x="918" y="917"/>
                  </a:lnTo>
                  <a:lnTo>
                    <a:pt x="920" y="912"/>
                  </a:lnTo>
                  <a:lnTo>
                    <a:pt x="920" y="992"/>
                  </a:lnTo>
                  <a:cubicBezTo>
                    <a:pt x="920" y="995"/>
                    <a:pt x="919" y="997"/>
                    <a:pt x="917" y="999"/>
                  </a:cubicBezTo>
                  <a:cubicBezTo>
                    <a:pt x="915" y="1000"/>
                    <a:pt x="912" y="1001"/>
                    <a:pt x="910" y="1000"/>
                  </a:cubicBezTo>
                  <a:lnTo>
                    <a:pt x="794" y="960"/>
                  </a:lnTo>
                  <a:lnTo>
                    <a:pt x="797" y="960"/>
                  </a:lnTo>
                  <a:lnTo>
                    <a:pt x="635" y="960"/>
                  </a:lnTo>
                  <a:lnTo>
                    <a:pt x="638" y="960"/>
                  </a:lnTo>
                  <a:lnTo>
                    <a:pt x="451" y="1040"/>
                  </a:lnTo>
                  <a:cubicBezTo>
                    <a:pt x="450" y="1040"/>
                    <a:pt x="449" y="1040"/>
                    <a:pt x="448" y="1040"/>
                  </a:cubicBezTo>
                  <a:lnTo>
                    <a:pt x="171" y="1040"/>
                  </a:lnTo>
                  <a:cubicBezTo>
                    <a:pt x="170" y="1040"/>
                    <a:pt x="169" y="1040"/>
                    <a:pt x="169" y="1040"/>
                  </a:cubicBezTo>
                  <a:lnTo>
                    <a:pt x="78" y="1020"/>
                  </a:lnTo>
                  <a:cubicBezTo>
                    <a:pt x="75" y="1019"/>
                    <a:pt x="72" y="1016"/>
                    <a:pt x="72" y="1012"/>
                  </a:cubicBezTo>
                  <a:lnTo>
                    <a:pt x="72" y="952"/>
                  </a:lnTo>
                  <a:lnTo>
                    <a:pt x="78" y="960"/>
                  </a:lnTo>
                  <a:lnTo>
                    <a:pt x="6" y="940"/>
                  </a:lnTo>
                  <a:cubicBezTo>
                    <a:pt x="4" y="939"/>
                    <a:pt x="2" y="937"/>
                    <a:pt x="1" y="935"/>
                  </a:cubicBezTo>
                  <a:cubicBezTo>
                    <a:pt x="0" y="932"/>
                    <a:pt x="0" y="930"/>
                    <a:pt x="2" y="927"/>
                  </a:cubicBezTo>
                  <a:lnTo>
                    <a:pt x="73" y="827"/>
                  </a:lnTo>
                  <a:lnTo>
                    <a:pt x="75" y="838"/>
                  </a:lnTo>
                  <a:lnTo>
                    <a:pt x="28" y="798"/>
                  </a:lnTo>
                  <a:cubicBezTo>
                    <a:pt x="26" y="796"/>
                    <a:pt x="25" y="792"/>
                    <a:pt x="25" y="789"/>
                  </a:cubicBezTo>
                  <a:cubicBezTo>
                    <a:pt x="26" y="786"/>
                    <a:pt x="29" y="784"/>
                    <a:pt x="32" y="784"/>
                  </a:cubicBezTo>
                  <a:lnTo>
                    <a:pt x="147" y="764"/>
                  </a:lnTo>
                  <a:lnTo>
                    <a:pt x="141" y="771"/>
                  </a:lnTo>
                  <a:lnTo>
                    <a:pt x="141" y="691"/>
                  </a:lnTo>
                  <a:cubicBezTo>
                    <a:pt x="141" y="688"/>
                    <a:pt x="143" y="684"/>
                    <a:pt x="146" y="683"/>
                  </a:cubicBezTo>
                  <a:lnTo>
                    <a:pt x="287" y="643"/>
                  </a:lnTo>
                  <a:lnTo>
                    <a:pt x="282" y="647"/>
                  </a:lnTo>
                  <a:lnTo>
                    <a:pt x="326" y="567"/>
                  </a:lnTo>
                  <a:cubicBezTo>
                    <a:pt x="327" y="564"/>
                    <a:pt x="330" y="563"/>
                    <a:pt x="333" y="563"/>
                  </a:cubicBezTo>
                  <a:lnTo>
                    <a:pt x="404" y="563"/>
                  </a:lnTo>
                  <a:lnTo>
                    <a:pt x="397" y="567"/>
                  </a:lnTo>
                  <a:lnTo>
                    <a:pt x="419" y="527"/>
                  </a:lnTo>
                  <a:lnTo>
                    <a:pt x="423" y="538"/>
                  </a:lnTo>
                  <a:lnTo>
                    <a:pt x="308" y="498"/>
                  </a:lnTo>
                  <a:cubicBezTo>
                    <a:pt x="307" y="498"/>
                    <a:pt x="306" y="497"/>
                    <a:pt x="305" y="496"/>
                  </a:cubicBezTo>
                  <a:lnTo>
                    <a:pt x="212" y="416"/>
                  </a:lnTo>
                  <a:cubicBezTo>
                    <a:pt x="210" y="414"/>
                    <a:pt x="209" y="412"/>
                    <a:pt x="209" y="409"/>
                  </a:cubicBezTo>
                  <a:cubicBezTo>
                    <a:pt x="209" y="407"/>
                    <a:pt x="211" y="405"/>
                    <a:pt x="213" y="403"/>
                  </a:cubicBezTo>
                  <a:lnTo>
                    <a:pt x="306" y="343"/>
                  </a:lnTo>
                  <a:lnTo>
                    <a:pt x="304" y="354"/>
                  </a:lnTo>
                  <a:lnTo>
                    <a:pt x="257" y="274"/>
                  </a:lnTo>
                  <a:cubicBezTo>
                    <a:pt x="255" y="270"/>
                    <a:pt x="256" y="266"/>
                    <a:pt x="259" y="263"/>
                  </a:cubicBezTo>
                  <a:lnTo>
                    <a:pt x="352" y="183"/>
                  </a:lnTo>
                  <a:cubicBezTo>
                    <a:pt x="354" y="181"/>
                    <a:pt x="357" y="181"/>
                    <a:pt x="360" y="182"/>
                  </a:cubicBezTo>
                  <a:lnTo>
                    <a:pt x="522" y="242"/>
                  </a:lnTo>
                  <a:lnTo>
                    <a:pt x="516" y="242"/>
                  </a:lnTo>
                  <a:lnTo>
                    <a:pt x="607" y="202"/>
                  </a:lnTo>
                  <a:lnTo>
                    <a:pt x="602" y="209"/>
                  </a:lnTo>
                  <a:lnTo>
                    <a:pt x="602" y="149"/>
                  </a:lnTo>
                  <a:cubicBezTo>
                    <a:pt x="602" y="146"/>
                    <a:pt x="604" y="144"/>
                    <a:pt x="606" y="142"/>
                  </a:cubicBezTo>
                  <a:lnTo>
                    <a:pt x="699" y="82"/>
                  </a:lnTo>
                  <a:lnTo>
                    <a:pt x="696" y="86"/>
                  </a:lnTo>
                  <a:lnTo>
                    <a:pt x="721" y="26"/>
                  </a:lnTo>
                  <a:cubicBezTo>
                    <a:pt x="722" y="22"/>
                    <a:pt x="725" y="21"/>
                    <a:pt x="728" y="21"/>
                  </a:cubicBezTo>
                  <a:lnTo>
                    <a:pt x="844" y="21"/>
                  </a:lnTo>
                  <a:lnTo>
                    <a:pt x="841" y="21"/>
                  </a:lnTo>
                  <a:lnTo>
                    <a:pt x="910" y="1"/>
                  </a:lnTo>
                  <a:cubicBezTo>
                    <a:pt x="911" y="1"/>
                    <a:pt x="912" y="0"/>
                    <a:pt x="912" y="0"/>
                  </a:cubicBezTo>
                  <a:lnTo>
                    <a:pt x="981" y="0"/>
                  </a:lnTo>
                  <a:cubicBezTo>
                    <a:pt x="984" y="0"/>
                    <a:pt x="986" y="2"/>
                    <a:pt x="988" y="4"/>
                  </a:cubicBezTo>
                  <a:cubicBezTo>
                    <a:pt x="989" y="6"/>
                    <a:pt x="989" y="9"/>
                    <a:pt x="989" y="11"/>
                  </a:cubicBezTo>
                  <a:lnTo>
                    <a:pt x="967" y="71"/>
                  </a:lnTo>
                  <a:cubicBezTo>
                    <a:pt x="966" y="74"/>
                    <a:pt x="964" y="75"/>
                    <a:pt x="962" y="76"/>
                  </a:cubicBezTo>
                  <a:lnTo>
                    <a:pt x="916" y="96"/>
                  </a:lnTo>
                  <a:lnTo>
                    <a:pt x="919" y="93"/>
                  </a:lnTo>
                  <a:lnTo>
                    <a:pt x="897" y="133"/>
                  </a:lnTo>
                  <a:lnTo>
                    <a:pt x="872" y="173"/>
                  </a:lnTo>
                  <a:cubicBezTo>
                    <a:pt x="871" y="176"/>
                    <a:pt x="868" y="177"/>
                    <a:pt x="866" y="177"/>
                  </a:cubicBezTo>
                  <a:lnTo>
                    <a:pt x="772" y="177"/>
                  </a:lnTo>
                  <a:lnTo>
                    <a:pt x="780" y="169"/>
                  </a:lnTo>
                  <a:lnTo>
                    <a:pt x="780" y="209"/>
                  </a:lnTo>
                  <a:cubicBezTo>
                    <a:pt x="780" y="212"/>
                    <a:pt x="779" y="214"/>
                    <a:pt x="778" y="215"/>
                  </a:cubicBezTo>
                  <a:lnTo>
                    <a:pt x="734" y="255"/>
                  </a:lnTo>
                  <a:lnTo>
                    <a:pt x="735" y="245"/>
                  </a:lnTo>
                  <a:lnTo>
                    <a:pt x="825" y="365"/>
                  </a:lnTo>
                  <a:lnTo>
                    <a:pt x="815" y="363"/>
                  </a:lnTo>
                  <a:lnTo>
                    <a:pt x="908" y="303"/>
                  </a:lnTo>
                  <a:cubicBezTo>
                    <a:pt x="911" y="301"/>
                    <a:pt x="914" y="301"/>
                    <a:pt x="916" y="303"/>
                  </a:cubicBezTo>
                  <a:lnTo>
                    <a:pt x="985" y="343"/>
                  </a:lnTo>
                  <a:cubicBezTo>
                    <a:pt x="987" y="344"/>
                    <a:pt x="988" y="345"/>
                    <a:pt x="988" y="347"/>
                  </a:cubicBezTo>
                  <a:lnTo>
                    <a:pt x="1013" y="407"/>
                  </a:lnTo>
                  <a:lnTo>
                    <a:pt x="1006" y="402"/>
                  </a:lnTo>
                  <a:lnTo>
                    <a:pt x="1053" y="402"/>
                  </a:lnTo>
                  <a:close/>
                </a:path>
              </a:pathLst>
            </a:custGeom>
            <a:solidFill>
              <a:srgbClr val="000000"/>
            </a:solidFill>
            <a:ln w="0" cap="flat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218" name="Rectangle 185"/>
            <p:cNvSpPr>
              <a:spLocks noChangeArrowheads="1"/>
            </p:cNvSpPr>
            <p:nvPr/>
          </p:nvSpPr>
          <p:spPr bwMode="auto">
            <a:xfrm>
              <a:off x="2683" y="1875"/>
              <a:ext cx="64" cy="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sz="500" b="1">
                  <a:solidFill>
                    <a:srgbClr val="000000"/>
                  </a:solidFill>
                </a:rPr>
                <a:t>RoI</a:t>
              </a:r>
              <a:endParaRPr lang="de-DE"/>
            </a:p>
          </p:txBody>
        </p:sp>
        <p:sp>
          <p:nvSpPr>
            <p:cNvPr id="7219" name="Freeform 186"/>
            <p:cNvSpPr>
              <a:spLocks noEditPoints="1"/>
            </p:cNvSpPr>
            <p:nvPr/>
          </p:nvSpPr>
          <p:spPr bwMode="auto">
            <a:xfrm>
              <a:off x="2694" y="1762"/>
              <a:ext cx="137" cy="87"/>
            </a:xfrm>
            <a:custGeom>
              <a:avLst/>
              <a:gdLst>
                <a:gd name="T0" fmla="*/ 0 w 577"/>
                <a:gd name="T1" fmla="*/ 0 h 368"/>
                <a:gd name="T2" fmla="*/ 0 w 577"/>
                <a:gd name="T3" fmla="*/ 0 h 368"/>
                <a:gd name="T4" fmla="*/ 0 w 577"/>
                <a:gd name="T5" fmla="*/ 0 h 368"/>
                <a:gd name="T6" fmla="*/ 0 w 577"/>
                <a:gd name="T7" fmla="*/ 0 h 368"/>
                <a:gd name="T8" fmla="*/ 0 w 577"/>
                <a:gd name="T9" fmla="*/ 0 h 368"/>
                <a:gd name="T10" fmla="*/ 0 w 577"/>
                <a:gd name="T11" fmla="*/ 0 h 368"/>
                <a:gd name="T12" fmla="*/ 0 w 577"/>
                <a:gd name="T13" fmla="*/ 0 h 368"/>
                <a:gd name="T14" fmla="*/ 0 w 577"/>
                <a:gd name="T15" fmla="*/ 0 h 368"/>
                <a:gd name="T16" fmla="*/ 0 w 577"/>
                <a:gd name="T17" fmla="*/ 0 h 368"/>
                <a:gd name="T18" fmla="*/ 0 w 577"/>
                <a:gd name="T19" fmla="*/ 0 h 368"/>
                <a:gd name="T20" fmla="*/ 0 w 577"/>
                <a:gd name="T21" fmla="*/ 0 h 368"/>
                <a:gd name="T22" fmla="*/ 0 w 577"/>
                <a:gd name="T23" fmla="*/ 0 h 368"/>
                <a:gd name="T24" fmla="*/ 0 w 577"/>
                <a:gd name="T25" fmla="*/ 0 h 368"/>
                <a:gd name="T26" fmla="*/ 0 w 577"/>
                <a:gd name="T27" fmla="*/ 0 h 368"/>
                <a:gd name="T28" fmla="*/ 0 w 577"/>
                <a:gd name="T29" fmla="*/ 0 h 368"/>
                <a:gd name="T30" fmla="*/ 0 w 577"/>
                <a:gd name="T31" fmla="*/ 0 h 368"/>
                <a:gd name="T32" fmla="*/ 0 w 577"/>
                <a:gd name="T33" fmla="*/ 0 h 368"/>
                <a:gd name="T34" fmla="*/ 0 w 577"/>
                <a:gd name="T35" fmla="*/ 0 h 368"/>
                <a:gd name="T36" fmla="*/ 0 w 577"/>
                <a:gd name="T37" fmla="*/ 0 h 368"/>
                <a:gd name="T38" fmla="*/ 0 w 577"/>
                <a:gd name="T39" fmla="*/ 0 h 368"/>
                <a:gd name="T40" fmla="*/ 0 w 577"/>
                <a:gd name="T41" fmla="*/ 0 h 368"/>
                <a:gd name="T42" fmla="*/ 0 w 577"/>
                <a:gd name="T43" fmla="*/ 0 h 368"/>
                <a:gd name="T44" fmla="*/ 0 w 577"/>
                <a:gd name="T45" fmla="*/ 0 h 368"/>
                <a:gd name="T46" fmla="*/ 0 w 577"/>
                <a:gd name="T47" fmla="*/ 0 h 368"/>
                <a:gd name="T48" fmla="*/ 0 w 577"/>
                <a:gd name="T49" fmla="*/ 0 h 368"/>
                <a:gd name="T50" fmla="*/ 0 w 577"/>
                <a:gd name="T51" fmla="*/ 0 h 368"/>
                <a:gd name="T52" fmla="*/ 0 w 577"/>
                <a:gd name="T53" fmla="*/ 0 h 368"/>
                <a:gd name="T54" fmla="*/ 0 w 577"/>
                <a:gd name="T55" fmla="*/ 0 h 368"/>
                <a:gd name="T56" fmla="*/ 0 w 577"/>
                <a:gd name="T57" fmla="*/ 0 h 368"/>
                <a:gd name="T58" fmla="*/ 0 w 577"/>
                <a:gd name="T59" fmla="*/ 0 h 368"/>
                <a:gd name="T60" fmla="*/ 0 w 577"/>
                <a:gd name="T61" fmla="*/ 0 h 368"/>
                <a:gd name="T62" fmla="*/ 0 w 577"/>
                <a:gd name="T63" fmla="*/ 0 h 368"/>
                <a:gd name="T64" fmla="*/ 0 w 577"/>
                <a:gd name="T65" fmla="*/ 0 h 368"/>
                <a:gd name="T66" fmla="*/ 0 w 577"/>
                <a:gd name="T67" fmla="*/ 0 h 368"/>
                <a:gd name="T68" fmla="*/ 0 w 577"/>
                <a:gd name="T69" fmla="*/ 0 h 368"/>
                <a:gd name="T70" fmla="*/ 0 w 577"/>
                <a:gd name="T71" fmla="*/ 0 h 368"/>
                <a:gd name="T72" fmla="*/ 0 w 577"/>
                <a:gd name="T73" fmla="*/ 0 h 368"/>
                <a:gd name="T74" fmla="*/ 0 w 577"/>
                <a:gd name="T75" fmla="*/ 0 h 368"/>
                <a:gd name="T76" fmla="*/ 0 w 577"/>
                <a:gd name="T77" fmla="*/ 0 h 368"/>
                <a:gd name="T78" fmla="*/ 0 w 577"/>
                <a:gd name="T79" fmla="*/ 0 h 368"/>
                <a:gd name="T80" fmla="*/ 0 w 577"/>
                <a:gd name="T81" fmla="*/ 0 h 368"/>
                <a:gd name="T82" fmla="*/ 0 w 577"/>
                <a:gd name="T83" fmla="*/ 0 h 368"/>
                <a:gd name="T84" fmla="*/ 0 w 577"/>
                <a:gd name="T85" fmla="*/ 0 h 368"/>
                <a:gd name="T86" fmla="*/ 0 w 577"/>
                <a:gd name="T87" fmla="*/ 0 h 368"/>
                <a:gd name="T88" fmla="*/ 0 w 577"/>
                <a:gd name="T89" fmla="*/ 0 h 368"/>
                <a:gd name="T90" fmla="*/ 0 w 577"/>
                <a:gd name="T91" fmla="*/ 0 h 368"/>
                <a:gd name="T92" fmla="*/ 0 w 577"/>
                <a:gd name="T93" fmla="*/ 0 h 368"/>
                <a:gd name="T94" fmla="*/ 0 w 577"/>
                <a:gd name="T95" fmla="*/ 0 h 368"/>
                <a:gd name="T96" fmla="*/ 0 w 577"/>
                <a:gd name="T97" fmla="*/ 0 h 368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577"/>
                <a:gd name="T148" fmla="*/ 0 h 368"/>
                <a:gd name="T149" fmla="*/ 577 w 577"/>
                <a:gd name="T150" fmla="*/ 368 h 368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577" h="368">
                  <a:moveTo>
                    <a:pt x="516" y="191"/>
                  </a:moveTo>
                  <a:cubicBezTo>
                    <a:pt x="515" y="190"/>
                    <a:pt x="514" y="189"/>
                    <a:pt x="514" y="187"/>
                  </a:cubicBezTo>
                  <a:lnTo>
                    <a:pt x="492" y="129"/>
                  </a:lnTo>
                  <a:cubicBezTo>
                    <a:pt x="491" y="128"/>
                    <a:pt x="491" y="127"/>
                    <a:pt x="491" y="126"/>
                  </a:cubicBezTo>
                  <a:lnTo>
                    <a:pt x="491" y="48"/>
                  </a:lnTo>
                  <a:lnTo>
                    <a:pt x="495" y="55"/>
                  </a:lnTo>
                  <a:lnTo>
                    <a:pt x="423" y="16"/>
                  </a:lnTo>
                  <a:lnTo>
                    <a:pt x="427" y="16"/>
                  </a:lnTo>
                  <a:lnTo>
                    <a:pt x="358" y="16"/>
                  </a:lnTo>
                  <a:lnTo>
                    <a:pt x="311" y="16"/>
                  </a:lnTo>
                  <a:lnTo>
                    <a:pt x="241" y="16"/>
                  </a:lnTo>
                  <a:lnTo>
                    <a:pt x="249" y="8"/>
                  </a:lnTo>
                  <a:lnTo>
                    <a:pt x="249" y="28"/>
                  </a:lnTo>
                  <a:lnTo>
                    <a:pt x="249" y="39"/>
                  </a:lnTo>
                  <a:lnTo>
                    <a:pt x="233" y="39"/>
                  </a:lnTo>
                  <a:lnTo>
                    <a:pt x="233" y="8"/>
                  </a:lnTo>
                  <a:lnTo>
                    <a:pt x="244" y="16"/>
                  </a:lnTo>
                  <a:lnTo>
                    <a:pt x="197" y="35"/>
                  </a:lnTo>
                  <a:lnTo>
                    <a:pt x="201" y="32"/>
                  </a:lnTo>
                  <a:lnTo>
                    <a:pt x="179" y="71"/>
                  </a:lnTo>
                  <a:lnTo>
                    <a:pt x="154" y="111"/>
                  </a:lnTo>
                  <a:cubicBezTo>
                    <a:pt x="152" y="113"/>
                    <a:pt x="150" y="114"/>
                    <a:pt x="147" y="114"/>
                  </a:cubicBezTo>
                  <a:lnTo>
                    <a:pt x="53" y="114"/>
                  </a:lnTo>
                  <a:lnTo>
                    <a:pt x="61" y="106"/>
                  </a:lnTo>
                  <a:lnTo>
                    <a:pt x="61" y="145"/>
                  </a:lnTo>
                  <a:cubicBezTo>
                    <a:pt x="61" y="148"/>
                    <a:pt x="60" y="150"/>
                    <a:pt x="58" y="151"/>
                  </a:cubicBezTo>
                  <a:lnTo>
                    <a:pt x="14" y="190"/>
                  </a:lnTo>
                  <a:lnTo>
                    <a:pt x="15" y="180"/>
                  </a:lnTo>
                  <a:lnTo>
                    <a:pt x="106" y="297"/>
                  </a:lnTo>
                  <a:lnTo>
                    <a:pt x="96" y="295"/>
                  </a:lnTo>
                  <a:lnTo>
                    <a:pt x="190" y="236"/>
                  </a:lnTo>
                  <a:cubicBezTo>
                    <a:pt x="192" y="235"/>
                    <a:pt x="196" y="235"/>
                    <a:pt x="198" y="236"/>
                  </a:cubicBezTo>
                  <a:lnTo>
                    <a:pt x="267" y="275"/>
                  </a:lnTo>
                  <a:cubicBezTo>
                    <a:pt x="269" y="276"/>
                    <a:pt x="270" y="277"/>
                    <a:pt x="271" y="279"/>
                  </a:cubicBezTo>
                  <a:lnTo>
                    <a:pt x="296" y="338"/>
                  </a:lnTo>
                  <a:lnTo>
                    <a:pt x="288" y="333"/>
                  </a:lnTo>
                  <a:lnTo>
                    <a:pt x="336" y="333"/>
                  </a:lnTo>
                  <a:cubicBezTo>
                    <a:pt x="337" y="333"/>
                    <a:pt x="338" y="333"/>
                    <a:pt x="339" y="334"/>
                  </a:cubicBezTo>
                  <a:lnTo>
                    <a:pt x="383" y="353"/>
                  </a:lnTo>
                  <a:lnTo>
                    <a:pt x="380" y="352"/>
                  </a:lnTo>
                  <a:lnTo>
                    <a:pt x="405" y="352"/>
                  </a:lnTo>
                  <a:lnTo>
                    <a:pt x="401" y="353"/>
                  </a:lnTo>
                  <a:lnTo>
                    <a:pt x="470" y="314"/>
                  </a:lnTo>
                  <a:cubicBezTo>
                    <a:pt x="471" y="314"/>
                    <a:pt x="471" y="314"/>
                    <a:pt x="472" y="314"/>
                  </a:cubicBezTo>
                  <a:lnTo>
                    <a:pt x="541" y="294"/>
                  </a:lnTo>
                  <a:lnTo>
                    <a:pt x="536" y="299"/>
                  </a:lnTo>
                  <a:lnTo>
                    <a:pt x="561" y="221"/>
                  </a:lnTo>
                  <a:lnTo>
                    <a:pt x="563" y="230"/>
                  </a:lnTo>
                  <a:lnTo>
                    <a:pt x="516" y="191"/>
                  </a:lnTo>
                  <a:close/>
                  <a:moveTo>
                    <a:pt x="574" y="217"/>
                  </a:moveTo>
                  <a:cubicBezTo>
                    <a:pt x="576" y="220"/>
                    <a:pt x="577" y="223"/>
                    <a:pt x="576" y="226"/>
                  </a:cubicBezTo>
                  <a:lnTo>
                    <a:pt x="551" y="304"/>
                  </a:lnTo>
                  <a:cubicBezTo>
                    <a:pt x="550" y="307"/>
                    <a:pt x="548" y="309"/>
                    <a:pt x="546" y="310"/>
                  </a:cubicBezTo>
                  <a:lnTo>
                    <a:pt x="476" y="329"/>
                  </a:lnTo>
                  <a:lnTo>
                    <a:pt x="478" y="328"/>
                  </a:lnTo>
                  <a:lnTo>
                    <a:pt x="409" y="367"/>
                  </a:lnTo>
                  <a:cubicBezTo>
                    <a:pt x="408" y="368"/>
                    <a:pt x="406" y="368"/>
                    <a:pt x="405" y="368"/>
                  </a:cubicBezTo>
                  <a:lnTo>
                    <a:pt x="380" y="368"/>
                  </a:lnTo>
                  <a:cubicBezTo>
                    <a:pt x="379" y="368"/>
                    <a:pt x="378" y="368"/>
                    <a:pt x="377" y="368"/>
                  </a:cubicBezTo>
                  <a:lnTo>
                    <a:pt x="332" y="348"/>
                  </a:lnTo>
                  <a:lnTo>
                    <a:pt x="336" y="349"/>
                  </a:lnTo>
                  <a:lnTo>
                    <a:pt x="288" y="349"/>
                  </a:lnTo>
                  <a:cubicBezTo>
                    <a:pt x="285" y="349"/>
                    <a:pt x="282" y="347"/>
                    <a:pt x="281" y="344"/>
                  </a:cubicBezTo>
                  <a:lnTo>
                    <a:pt x="256" y="285"/>
                  </a:lnTo>
                  <a:lnTo>
                    <a:pt x="260" y="289"/>
                  </a:lnTo>
                  <a:lnTo>
                    <a:pt x="190" y="250"/>
                  </a:lnTo>
                  <a:lnTo>
                    <a:pt x="198" y="250"/>
                  </a:lnTo>
                  <a:lnTo>
                    <a:pt x="104" y="309"/>
                  </a:lnTo>
                  <a:cubicBezTo>
                    <a:pt x="101" y="311"/>
                    <a:pt x="96" y="310"/>
                    <a:pt x="94" y="307"/>
                  </a:cubicBezTo>
                  <a:lnTo>
                    <a:pt x="2" y="189"/>
                  </a:lnTo>
                  <a:cubicBezTo>
                    <a:pt x="0" y="186"/>
                    <a:pt x="0" y="181"/>
                    <a:pt x="3" y="178"/>
                  </a:cubicBezTo>
                  <a:lnTo>
                    <a:pt x="48" y="139"/>
                  </a:lnTo>
                  <a:lnTo>
                    <a:pt x="45" y="145"/>
                  </a:lnTo>
                  <a:lnTo>
                    <a:pt x="45" y="106"/>
                  </a:lnTo>
                  <a:cubicBezTo>
                    <a:pt x="45" y="102"/>
                    <a:pt x="48" y="98"/>
                    <a:pt x="53" y="98"/>
                  </a:cubicBezTo>
                  <a:lnTo>
                    <a:pt x="147" y="98"/>
                  </a:lnTo>
                  <a:lnTo>
                    <a:pt x="140" y="102"/>
                  </a:lnTo>
                  <a:lnTo>
                    <a:pt x="165" y="63"/>
                  </a:lnTo>
                  <a:lnTo>
                    <a:pt x="187" y="24"/>
                  </a:lnTo>
                  <a:cubicBezTo>
                    <a:pt x="188" y="23"/>
                    <a:pt x="189" y="21"/>
                    <a:pt x="191" y="21"/>
                  </a:cubicBezTo>
                  <a:lnTo>
                    <a:pt x="238" y="1"/>
                  </a:lnTo>
                  <a:cubicBezTo>
                    <a:pt x="241" y="0"/>
                    <a:pt x="244" y="0"/>
                    <a:pt x="246" y="2"/>
                  </a:cubicBezTo>
                  <a:cubicBezTo>
                    <a:pt x="248" y="3"/>
                    <a:pt x="249" y="6"/>
                    <a:pt x="249" y="8"/>
                  </a:cubicBezTo>
                  <a:lnTo>
                    <a:pt x="249" y="28"/>
                  </a:lnTo>
                  <a:lnTo>
                    <a:pt x="233" y="28"/>
                  </a:lnTo>
                  <a:lnTo>
                    <a:pt x="233" y="8"/>
                  </a:lnTo>
                  <a:cubicBezTo>
                    <a:pt x="233" y="4"/>
                    <a:pt x="237" y="0"/>
                    <a:pt x="241" y="0"/>
                  </a:cubicBezTo>
                  <a:lnTo>
                    <a:pt x="311" y="0"/>
                  </a:lnTo>
                  <a:lnTo>
                    <a:pt x="358" y="0"/>
                  </a:lnTo>
                  <a:lnTo>
                    <a:pt x="427" y="0"/>
                  </a:lnTo>
                  <a:cubicBezTo>
                    <a:pt x="428" y="0"/>
                    <a:pt x="430" y="1"/>
                    <a:pt x="431" y="1"/>
                  </a:cubicBezTo>
                  <a:lnTo>
                    <a:pt x="503" y="41"/>
                  </a:lnTo>
                  <a:cubicBezTo>
                    <a:pt x="506" y="42"/>
                    <a:pt x="507" y="45"/>
                    <a:pt x="507" y="48"/>
                  </a:cubicBezTo>
                  <a:lnTo>
                    <a:pt x="507" y="126"/>
                  </a:lnTo>
                  <a:lnTo>
                    <a:pt x="507" y="123"/>
                  </a:lnTo>
                  <a:lnTo>
                    <a:pt x="529" y="182"/>
                  </a:lnTo>
                  <a:lnTo>
                    <a:pt x="526" y="178"/>
                  </a:lnTo>
                  <a:lnTo>
                    <a:pt x="574" y="217"/>
                  </a:lnTo>
                  <a:close/>
                </a:path>
              </a:pathLst>
            </a:custGeom>
            <a:solidFill>
              <a:srgbClr val="000000"/>
            </a:solidFill>
            <a:ln w="0" cap="flat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220" name="Rectangle 187"/>
            <p:cNvSpPr>
              <a:spLocks noChangeArrowheads="1"/>
            </p:cNvSpPr>
            <p:nvPr/>
          </p:nvSpPr>
          <p:spPr bwMode="auto">
            <a:xfrm>
              <a:off x="2746" y="1766"/>
              <a:ext cx="40" cy="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sz="500" b="1">
                  <a:solidFill>
                    <a:srgbClr val="000000"/>
                  </a:solidFill>
                </a:rPr>
                <a:t>NI</a:t>
              </a:r>
              <a:endParaRPr lang="de-DE"/>
            </a:p>
          </p:txBody>
        </p:sp>
        <p:sp>
          <p:nvSpPr>
            <p:cNvPr id="7221" name="Freeform 188"/>
            <p:cNvSpPr>
              <a:spLocks noEditPoints="1"/>
            </p:cNvSpPr>
            <p:nvPr/>
          </p:nvSpPr>
          <p:spPr bwMode="auto">
            <a:xfrm>
              <a:off x="2747" y="1533"/>
              <a:ext cx="440" cy="618"/>
            </a:xfrm>
            <a:custGeom>
              <a:avLst/>
              <a:gdLst>
                <a:gd name="T0" fmla="*/ 0 w 1840"/>
                <a:gd name="T1" fmla="*/ 0 h 2593"/>
                <a:gd name="T2" fmla="*/ 0 w 1840"/>
                <a:gd name="T3" fmla="*/ 0 h 2593"/>
                <a:gd name="T4" fmla="*/ 0 w 1840"/>
                <a:gd name="T5" fmla="*/ 0 h 2593"/>
                <a:gd name="T6" fmla="*/ 0 w 1840"/>
                <a:gd name="T7" fmla="*/ 0 h 2593"/>
                <a:gd name="T8" fmla="*/ 0 w 1840"/>
                <a:gd name="T9" fmla="*/ 0 h 2593"/>
                <a:gd name="T10" fmla="*/ 0 w 1840"/>
                <a:gd name="T11" fmla="*/ 0 h 2593"/>
                <a:gd name="T12" fmla="*/ 0 w 1840"/>
                <a:gd name="T13" fmla="*/ 0 h 2593"/>
                <a:gd name="T14" fmla="*/ 0 w 1840"/>
                <a:gd name="T15" fmla="*/ 0 h 2593"/>
                <a:gd name="T16" fmla="*/ 0 w 1840"/>
                <a:gd name="T17" fmla="*/ 0 h 2593"/>
                <a:gd name="T18" fmla="*/ 0 w 1840"/>
                <a:gd name="T19" fmla="*/ 0 h 2593"/>
                <a:gd name="T20" fmla="*/ 0 w 1840"/>
                <a:gd name="T21" fmla="*/ 0 h 2593"/>
                <a:gd name="T22" fmla="*/ 0 w 1840"/>
                <a:gd name="T23" fmla="*/ 0 h 2593"/>
                <a:gd name="T24" fmla="*/ 0 w 1840"/>
                <a:gd name="T25" fmla="*/ 0 h 2593"/>
                <a:gd name="T26" fmla="*/ 0 w 1840"/>
                <a:gd name="T27" fmla="*/ 0 h 2593"/>
                <a:gd name="T28" fmla="*/ 0 w 1840"/>
                <a:gd name="T29" fmla="*/ 0 h 2593"/>
                <a:gd name="T30" fmla="*/ 0 w 1840"/>
                <a:gd name="T31" fmla="*/ 0 h 2593"/>
                <a:gd name="T32" fmla="*/ 0 w 1840"/>
                <a:gd name="T33" fmla="*/ 0 h 2593"/>
                <a:gd name="T34" fmla="*/ 0 w 1840"/>
                <a:gd name="T35" fmla="*/ 0 h 2593"/>
                <a:gd name="T36" fmla="*/ 0 w 1840"/>
                <a:gd name="T37" fmla="*/ 0 h 2593"/>
                <a:gd name="T38" fmla="*/ 0 w 1840"/>
                <a:gd name="T39" fmla="*/ 0 h 2593"/>
                <a:gd name="T40" fmla="*/ 0 w 1840"/>
                <a:gd name="T41" fmla="*/ 0 h 2593"/>
                <a:gd name="T42" fmla="*/ 0 w 1840"/>
                <a:gd name="T43" fmla="*/ 0 h 2593"/>
                <a:gd name="T44" fmla="*/ 0 w 1840"/>
                <a:gd name="T45" fmla="*/ 0 h 2593"/>
                <a:gd name="T46" fmla="*/ 0 w 1840"/>
                <a:gd name="T47" fmla="*/ 0 h 2593"/>
                <a:gd name="T48" fmla="*/ 0 w 1840"/>
                <a:gd name="T49" fmla="*/ 0 h 2593"/>
                <a:gd name="T50" fmla="*/ 0 w 1840"/>
                <a:gd name="T51" fmla="*/ 0 h 2593"/>
                <a:gd name="T52" fmla="*/ 0 w 1840"/>
                <a:gd name="T53" fmla="*/ 0 h 2593"/>
                <a:gd name="T54" fmla="*/ 0 w 1840"/>
                <a:gd name="T55" fmla="*/ 0 h 2593"/>
                <a:gd name="T56" fmla="*/ 0 w 1840"/>
                <a:gd name="T57" fmla="*/ 0 h 2593"/>
                <a:gd name="T58" fmla="*/ 0 w 1840"/>
                <a:gd name="T59" fmla="*/ 0 h 2593"/>
                <a:gd name="T60" fmla="*/ 0 w 1840"/>
                <a:gd name="T61" fmla="*/ 0 h 2593"/>
                <a:gd name="T62" fmla="*/ 0 w 1840"/>
                <a:gd name="T63" fmla="*/ 0 h 2593"/>
                <a:gd name="T64" fmla="*/ 0 w 1840"/>
                <a:gd name="T65" fmla="*/ 0 h 2593"/>
                <a:gd name="T66" fmla="*/ 0 w 1840"/>
                <a:gd name="T67" fmla="*/ 0 h 2593"/>
                <a:gd name="T68" fmla="*/ 0 w 1840"/>
                <a:gd name="T69" fmla="*/ 0 h 2593"/>
                <a:gd name="T70" fmla="*/ 0 w 1840"/>
                <a:gd name="T71" fmla="*/ 0 h 2593"/>
                <a:gd name="T72" fmla="*/ 0 w 1840"/>
                <a:gd name="T73" fmla="*/ 0 h 2593"/>
                <a:gd name="T74" fmla="*/ 0 w 1840"/>
                <a:gd name="T75" fmla="*/ 0 h 2593"/>
                <a:gd name="T76" fmla="*/ 0 w 1840"/>
                <a:gd name="T77" fmla="*/ 0 h 2593"/>
                <a:gd name="T78" fmla="*/ 0 w 1840"/>
                <a:gd name="T79" fmla="*/ 0 h 2593"/>
                <a:gd name="T80" fmla="*/ 0 w 1840"/>
                <a:gd name="T81" fmla="*/ 0 h 2593"/>
                <a:gd name="T82" fmla="*/ 0 w 1840"/>
                <a:gd name="T83" fmla="*/ 0 h 2593"/>
                <a:gd name="T84" fmla="*/ 0 w 1840"/>
                <a:gd name="T85" fmla="*/ 0 h 2593"/>
                <a:gd name="T86" fmla="*/ 0 w 1840"/>
                <a:gd name="T87" fmla="*/ 0 h 2593"/>
                <a:gd name="T88" fmla="*/ 0 w 1840"/>
                <a:gd name="T89" fmla="*/ 0 h 2593"/>
                <a:gd name="T90" fmla="*/ 0 w 1840"/>
                <a:gd name="T91" fmla="*/ 0 h 2593"/>
                <a:gd name="T92" fmla="*/ 0 w 1840"/>
                <a:gd name="T93" fmla="*/ 0 h 2593"/>
                <a:gd name="T94" fmla="*/ 0 w 1840"/>
                <a:gd name="T95" fmla="*/ 0 h 2593"/>
                <a:gd name="T96" fmla="*/ 0 w 1840"/>
                <a:gd name="T97" fmla="*/ 0 h 2593"/>
                <a:gd name="T98" fmla="*/ 0 w 1840"/>
                <a:gd name="T99" fmla="*/ 0 h 2593"/>
                <a:gd name="T100" fmla="*/ 0 w 1840"/>
                <a:gd name="T101" fmla="*/ 0 h 2593"/>
                <a:gd name="T102" fmla="*/ 0 w 1840"/>
                <a:gd name="T103" fmla="*/ 0 h 2593"/>
                <a:gd name="T104" fmla="*/ 0 w 1840"/>
                <a:gd name="T105" fmla="*/ 0 h 2593"/>
                <a:gd name="T106" fmla="*/ 0 w 1840"/>
                <a:gd name="T107" fmla="*/ 0 h 2593"/>
                <a:gd name="T108" fmla="*/ 0 w 1840"/>
                <a:gd name="T109" fmla="*/ 0 h 2593"/>
                <a:gd name="T110" fmla="*/ 0 w 1840"/>
                <a:gd name="T111" fmla="*/ 0 h 2593"/>
                <a:gd name="T112" fmla="*/ 0 w 1840"/>
                <a:gd name="T113" fmla="*/ 0 h 2593"/>
                <a:gd name="T114" fmla="*/ 0 w 1840"/>
                <a:gd name="T115" fmla="*/ 0 h 2593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840"/>
                <a:gd name="T175" fmla="*/ 0 h 2593"/>
                <a:gd name="T176" fmla="*/ 1840 w 1840"/>
                <a:gd name="T177" fmla="*/ 2593 h 2593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840" h="2593">
                  <a:moveTo>
                    <a:pt x="911" y="341"/>
                  </a:moveTo>
                  <a:cubicBezTo>
                    <a:pt x="907" y="341"/>
                    <a:pt x="904" y="340"/>
                    <a:pt x="902" y="336"/>
                  </a:cubicBezTo>
                  <a:cubicBezTo>
                    <a:pt x="901" y="333"/>
                    <a:pt x="902" y="329"/>
                    <a:pt x="904" y="327"/>
                  </a:cubicBezTo>
                  <a:lnTo>
                    <a:pt x="973" y="266"/>
                  </a:lnTo>
                  <a:lnTo>
                    <a:pt x="975" y="279"/>
                  </a:lnTo>
                  <a:lnTo>
                    <a:pt x="928" y="259"/>
                  </a:lnTo>
                  <a:cubicBezTo>
                    <a:pt x="925" y="258"/>
                    <a:pt x="924" y="255"/>
                    <a:pt x="923" y="252"/>
                  </a:cubicBezTo>
                  <a:cubicBezTo>
                    <a:pt x="923" y="249"/>
                    <a:pt x="925" y="246"/>
                    <a:pt x="927" y="245"/>
                  </a:cubicBezTo>
                  <a:lnTo>
                    <a:pt x="1067" y="164"/>
                  </a:lnTo>
                  <a:cubicBezTo>
                    <a:pt x="1068" y="163"/>
                    <a:pt x="1068" y="163"/>
                    <a:pt x="1069" y="163"/>
                  </a:cubicBezTo>
                  <a:lnTo>
                    <a:pt x="1137" y="143"/>
                  </a:lnTo>
                  <a:lnTo>
                    <a:pt x="1132" y="148"/>
                  </a:lnTo>
                  <a:lnTo>
                    <a:pt x="1154" y="67"/>
                  </a:lnTo>
                  <a:lnTo>
                    <a:pt x="1161" y="77"/>
                  </a:lnTo>
                  <a:lnTo>
                    <a:pt x="884" y="57"/>
                  </a:lnTo>
                  <a:cubicBezTo>
                    <a:pt x="883" y="57"/>
                    <a:pt x="882" y="57"/>
                    <a:pt x="882" y="56"/>
                  </a:cubicBezTo>
                  <a:lnTo>
                    <a:pt x="791" y="16"/>
                  </a:lnTo>
                  <a:lnTo>
                    <a:pt x="801" y="13"/>
                  </a:lnTo>
                  <a:lnTo>
                    <a:pt x="754" y="74"/>
                  </a:lnTo>
                  <a:cubicBezTo>
                    <a:pt x="754" y="75"/>
                    <a:pt x="754" y="75"/>
                    <a:pt x="753" y="75"/>
                  </a:cubicBezTo>
                  <a:lnTo>
                    <a:pt x="707" y="116"/>
                  </a:lnTo>
                  <a:lnTo>
                    <a:pt x="708" y="114"/>
                  </a:lnTo>
                  <a:lnTo>
                    <a:pt x="687" y="154"/>
                  </a:lnTo>
                  <a:lnTo>
                    <a:pt x="687" y="148"/>
                  </a:lnTo>
                  <a:lnTo>
                    <a:pt x="709" y="209"/>
                  </a:lnTo>
                  <a:cubicBezTo>
                    <a:pt x="710" y="211"/>
                    <a:pt x="709" y="213"/>
                    <a:pt x="708" y="215"/>
                  </a:cubicBezTo>
                  <a:cubicBezTo>
                    <a:pt x="707" y="217"/>
                    <a:pt x="705" y="219"/>
                    <a:pt x="703" y="219"/>
                  </a:cubicBezTo>
                  <a:lnTo>
                    <a:pt x="610" y="239"/>
                  </a:lnTo>
                  <a:lnTo>
                    <a:pt x="614" y="238"/>
                  </a:lnTo>
                  <a:lnTo>
                    <a:pt x="567" y="278"/>
                  </a:lnTo>
                  <a:lnTo>
                    <a:pt x="570" y="272"/>
                  </a:lnTo>
                  <a:lnTo>
                    <a:pt x="570" y="353"/>
                  </a:lnTo>
                  <a:lnTo>
                    <a:pt x="570" y="414"/>
                  </a:lnTo>
                  <a:cubicBezTo>
                    <a:pt x="570" y="416"/>
                    <a:pt x="569" y="417"/>
                    <a:pt x="568" y="419"/>
                  </a:cubicBezTo>
                  <a:lnTo>
                    <a:pt x="524" y="480"/>
                  </a:lnTo>
                  <a:cubicBezTo>
                    <a:pt x="524" y="480"/>
                    <a:pt x="524" y="481"/>
                    <a:pt x="523" y="481"/>
                  </a:cubicBezTo>
                  <a:lnTo>
                    <a:pt x="477" y="522"/>
                  </a:lnTo>
                  <a:lnTo>
                    <a:pt x="478" y="520"/>
                  </a:lnTo>
                  <a:lnTo>
                    <a:pt x="385" y="642"/>
                  </a:lnTo>
                  <a:lnTo>
                    <a:pt x="380" y="630"/>
                  </a:lnTo>
                  <a:lnTo>
                    <a:pt x="449" y="650"/>
                  </a:lnTo>
                  <a:lnTo>
                    <a:pt x="443" y="650"/>
                  </a:lnTo>
                  <a:lnTo>
                    <a:pt x="558" y="590"/>
                  </a:lnTo>
                  <a:cubicBezTo>
                    <a:pt x="561" y="588"/>
                    <a:pt x="565" y="589"/>
                    <a:pt x="567" y="591"/>
                  </a:cubicBezTo>
                  <a:cubicBezTo>
                    <a:pt x="570" y="594"/>
                    <a:pt x="570" y="597"/>
                    <a:pt x="569" y="600"/>
                  </a:cubicBezTo>
                  <a:lnTo>
                    <a:pt x="525" y="682"/>
                  </a:lnTo>
                  <a:lnTo>
                    <a:pt x="526" y="680"/>
                  </a:lnTo>
                  <a:lnTo>
                    <a:pt x="501" y="761"/>
                  </a:lnTo>
                  <a:lnTo>
                    <a:pt x="479" y="823"/>
                  </a:lnTo>
                  <a:lnTo>
                    <a:pt x="407" y="965"/>
                  </a:lnTo>
                  <a:lnTo>
                    <a:pt x="400" y="954"/>
                  </a:lnTo>
                  <a:lnTo>
                    <a:pt x="471" y="954"/>
                  </a:lnTo>
                  <a:lnTo>
                    <a:pt x="464" y="958"/>
                  </a:lnTo>
                  <a:lnTo>
                    <a:pt x="511" y="877"/>
                  </a:lnTo>
                  <a:lnTo>
                    <a:pt x="554" y="776"/>
                  </a:lnTo>
                  <a:cubicBezTo>
                    <a:pt x="556" y="773"/>
                    <a:pt x="559" y="771"/>
                    <a:pt x="562" y="771"/>
                  </a:cubicBezTo>
                  <a:cubicBezTo>
                    <a:pt x="565" y="771"/>
                    <a:pt x="568" y="773"/>
                    <a:pt x="569" y="776"/>
                  </a:cubicBezTo>
                  <a:lnTo>
                    <a:pt x="594" y="837"/>
                  </a:lnTo>
                  <a:lnTo>
                    <a:pt x="583" y="833"/>
                  </a:lnTo>
                  <a:lnTo>
                    <a:pt x="630" y="812"/>
                  </a:lnTo>
                  <a:cubicBezTo>
                    <a:pt x="633" y="811"/>
                    <a:pt x="636" y="812"/>
                    <a:pt x="638" y="814"/>
                  </a:cubicBezTo>
                  <a:cubicBezTo>
                    <a:pt x="641" y="816"/>
                    <a:pt x="642" y="820"/>
                    <a:pt x="640" y="823"/>
                  </a:cubicBezTo>
                  <a:lnTo>
                    <a:pt x="616" y="884"/>
                  </a:lnTo>
                  <a:lnTo>
                    <a:pt x="615" y="876"/>
                  </a:lnTo>
                  <a:lnTo>
                    <a:pt x="640" y="917"/>
                  </a:lnTo>
                  <a:cubicBezTo>
                    <a:pt x="641" y="920"/>
                    <a:pt x="641" y="923"/>
                    <a:pt x="639" y="926"/>
                  </a:cubicBezTo>
                  <a:lnTo>
                    <a:pt x="524" y="1088"/>
                  </a:lnTo>
                  <a:lnTo>
                    <a:pt x="526" y="1082"/>
                  </a:lnTo>
                  <a:lnTo>
                    <a:pt x="548" y="1204"/>
                  </a:lnTo>
                  <a:lnTo>
                    <a:pt x="532" y="1203"/>
                  </a:lnTo>
                  <a:lnTo>
                    <a:pt x="554" y="1122"/>
                  </a:lnTo>
                  <a:cubicBezTo>
                    <a:pt x="555" y="1119"/>
                    <a:pt x="556" y="1117"/>
                    <a:pt x="559" y="1117"/>
                  </a:cubicBezTo>
                  <a:cubicBezTo>
                    <a:pt x="561" y="1116"/>
                    <a:pt x="564" y="1116"/>
                    <a:pt x="566" y="1117"/>
                  </a:cubicBezTo>
                  <a:lnTo>
                    <a:pt x="659" y="1178"/>
                  </a:lnTo>
                  <a:lnTo>
                    <a:pt x="652" y="1178"/>
                  </a:lnTo>
                  <a:lnTo>
                    <a:pt x="698" y="1157"/>
                  </a:lnTo>
                  <a:cubicBezTo>
                    <a:pt x="700" y="1157"/>
                    <a:pt x="702" y="1156"/>
                    <a:pt x="704" y="1157"/>
                  </a:cubicBezTo>
                  <a:lnTo>
                    <a:pt x="772" y="1177"/>
                  </a:lnTo>
                  <a:lnTo>
                    <a:pt x="766" y="1178"/>
                  </a:lnTo>
                  <a:lnTo>
                    <a:pt x="834" y="1137"/>
                  </a:lnTo>
                  <a:cubicBezTo>
                    <a:pt x="836" y="1136"/>
                    <a:pt x="838" y="1136"/>
                    <a:pt x="840" y="1137"/>
                  </a:cubicBezTo>
                  <a:lnTo>
                    <a:pt x="912" y="1157"/>
                  </a:lnTo>
                  <a:cubicBezTo>
                    <a:pt x="915" y="1158"/>
                    <a:pt x="917" y="1160"/>
                    <a:pt x="917" y="1163"/>
                  </a:cubicBezTo>
                  <a:cubicBezTo>
                    <a:pt x="918" y="1167"/>
                    <a:pt x="917" y="1170"/>
                    <a:pt x="914" y="1171"/>
                  </a:cubicBezTo>
                  <a:lnTo>
                    <a:pt x="821" y="1232"/>
                  </a:lnTo>
                  <a:lnTo>
                    <a:pt x="823" y="1229"/>
                  </a:lnTo>
                  <a:lnTo>
                    <a:pt x="802" y="1270"/>
                  </a:lnTo>
                  <a:lnTo>
                    <a:pt x="801" y="1262"/>
                  </a:lnTo>
                  <a:lnTo>
                    <a:pt x="870" y="1384"/>
                  </a:lnTo>
                  <a:lnTo>
                    <a:pt x="863" y="1380"/>
                  </a:lnTo>
                  <a:lnTo>
                    <a:pt x="910" y="1380"/>
                  </a:lnTo>
                  <a:cubicBezTo>
                    <a:pt x="914" y="1380"/>
                    <a:pt x="918" y="1383"/>
                    <a:pt x="918" y="1388"/>
                  </a:cubicBezTo>
                  <a:lnTo>
                    <a:pt x="918" y="1469"/>
                  </a:lnTo>
                  <a:cubicBezTo>
                    <a:pt x="918" y="1473"/>
                    <a:pt x="914" y="1477"/>
                    <a:pt x="910" y="1477"/>
                  </a:cubicBezTo>
                  <a:lnTo>
                    <a:pt x="885" y="1477"/>
                  </a:lnTo>
                  <a:lnTo>
                    <a:pt x="893" y="1470"/>
                  </a:lnTo>
                  <a:lnTo>
                    <a:pt x="871" y="1612"/>
                  </a:lnTo>
                  <a:cubicBezTo>
                    <a:pt x="871" y="1614"/>
                    <a:pt x="870" y="1616"/>
                    <a:pt x="868" y="1617"/>
                  </a:cubicBezTo>
                  <a:lnTo>
                    <a:pt x="822" y="1657"/>
                  </a:lnTo>
                  <a:cubicBezTo>
                    <a:pt x="819" y="1660"/>
                    <a:pt x="814" y="1660"/>
                    <a:pt x="811" y="1657"/>
                  </a:cubicBezTo>
                  <a:lnTo>
                    <a:pt x="789" y="1637"/>
                  </a:lnTo>
                  <a:lnTo>
                    <a:pt x="794" y="1639"/>
                  </a:lnTo>
                  <a:lnTo>
                    <a:pt x="655" y="1639"/>
                  </a:lnTo>
                  <a:cubicBezTo>
                    <a:pt x="654" y="1639"/>
                    <a:pt x="653" y="1639"/>
                    <a:pt x="652" y="1638"/>
                  </a:cubicBezTo>
                  <a:lnTo>
                    <a:pt x="558" y="1598"/>
                  </a:lnTo>
                  <a:lnTo>
                    <a:pt x="565" y="1598"/>
                  </a:lnTo>
                  <a:lnTo>
                    <a:pt x="521" y="1618"/>
                  </a:lnTo>
                  <a:lnTo>
                    <a:pt x="523" y="1605"/>
                  </a:lnTo>
                  <a:lnTo>
                    <a:pt x="567" y="1646"/>
                  </a:lnTo>
                  <a:cubicBezTo>
                    <a:pt x="569" y="1647"/>
                    <a:pt x="570" y="1650"/>
                    <a:pt x="570" y="1652"/>
                  </a:cubicBezTo>
                  <a:cubicBezTo>
                    <a:pt x="570" y="1654"/>
                    <a:pt x="568" y="1657"/>
                    <a:pt x="566" y="1658"/>
                  </a:cubicBezTo>
                  <a:lnTo>
                    <a:pt x="451" y="1739"/>
                  </a:lnTo>
                  <a:lnTo>
                    <a:pt x="450" y="1725"/>
                  </a:lnTo>
                  <a:lnTo>
                    <a:pt x="496" y="1746"/>
                  </a:lnTo>
                  <a:lnTo>
                    <a:pt x="491" y="1745"/>
                  </a:lnTo>
                  <a:lnTo>
                    <a:pt x="559" y="1725"/>
                  </a:lnTo>
                  <a:cubicBezTo>
                    <a:pt x="562" y="1724"/>
                    <a:pt x="564" y="1725"/>
                    <a:pt x="566" y="1726"/>
                  </a:cubicBezTo>
                  <a:cubicBezTo>
                    <a:pt x="568" y="1727"/>
                    <a:pt x="569" y="1729"/>
                    <a:pt x="570" y="1731"/>
                  </a:cubicBezTo>
                  <a:lnTo>
                    <a:pt x="594" y="1894"/>
                  </a:lnTo>
                  <a:cubicBezTo>
                    <a:pt x="595" y="1897"/>
                    <a:pt x="593" y="1901"/>
                    <a:pt x="589" y="1902"/>
                  </a:cubicBezTo>
                  <a:lnTo>
                    <a:pt x="474" y="1943"/>
                  </a:lnTo>
                  <a:lnTo>
                    <a:pt x="402" y="1963"/>
                  </a:lnTo>
                  <a:lnTo>
                    <a:pt x="286" y="1984"/>
                  </a:lnTo>
                  <a:lnTo>
                    <a:pt x="288" y="1983"/>
                  </a:lnTo>
                  <a:lnTo>
                    <a:pt x="242" y="2004"/>
                  </a:lnTo>
                  <a:lnTo>
                    <a:pt x="244" y="1990"/>
                  </a:lnTo>
                  <a:lnTo>
                    <a:pt x="268" y="2010"/>
                  </a:lnTo>
                  <a:cubicBezTo>
                    <a:pt x="269" y="2011"/>
                    <a:pt x="270" y="2012"/>
                    <a:pt x="270" y="2013"/>
                  </a:cubicBezTo>
                  <a:lnTo>
                    <a:pt x="292" y="2053"/>
                  </a:lnTo>
                  <a:lnTo>
                    <a:pt x="288" y="2050"/>
                  </a:lnTo>
                  <a:lnTo>
                    <a:pt x="381" y="2090"/>
                  </a:lnTo>
                  <a:lnTo>
                    <a:pt x="373" y="2092"/>
                  </a:lnTo>
                  <a:lnTo>
                    <a:pt x="419" y="2051"/>
                  </a:lnTo>
                  <a:cubicBezTo>
                    <a:pt x="423" y="2048"/>
                    <a:pt x="427" y="2048"/>
                    <a:pt x="430" y="2051"/>
                  </a:cubicBezTo>
                  <a:lnTo>
                    <a:pt x="477" y="2092"/>
                  </a:lnTo>
                  <a:cubicBezTo>
                    <a:pt x="480" y="2094"/>
                    <a:pt x="480" y="2098"/>
                    <a:pt x="478" y="2102"/>
                  </a:cubicBezTo>
                  <a:lnTo>
                    <a:pt x="454" y="2142"/>
                  </a:lnTo>
                  <a:lnTo>
                    <a:pt x="447" y="2130"/>
                  </a:lnTo>
                  <a:lnTo>
                    <a:pt x="540" y="2130"/>
                  </a:lnTo>
                  <a:cubicBezTo>
                    <a:pt x="542" y="2130"/>
                    <a:pt x="544" y="2131"/>
                    <a:pt x="545" y="2132"/>
                  </a:cubicBezTo>
                  <a:lnTo>
                    <a:pt x="614" y="2193"/>
                  </a:lnTo>
                  <a:lnTo>
                    <a:pt x="608" y="2191"/>
                  </a:lnTo>
                  <a:lnTo>
                    <a:pt x="723" y="2191"/>
                  </a:lnTo>
                  <a:lnTo>
                    <a:pt x="720" y="2192"/>
                  </a:lnTo>
                  <a:lnTo>
                    <a:pt x="767" y="2171"/>
                  </a:lnTo>
                  <a:lnTo>
                    <a:pt x="813" y="2151"/>
                  </a:lnTo>
                  <a:cubicBezTo>
                    <a:pt x="817" y="2150"/>
                    <a:pt x="821" y="2151"/>
                    <a:pt x="823" y="2154"/>
                  </a:cubicBezTo>
                  <a:cubicBezTo>
                    <a:pt x="825" y="2158"/>
                    <a:pt x="825" y="2162"/>
                    <a:pt x="822" y="2164"/>
                  </a:cubicBezTo>
                  <a:lnTo>
                    <a:pt x="753" y="2225"/>
                  </a:lnTo>
                  <a:lnTo>
                    <a:pt x="755" y="2224"/>
                  </a:lnTo>
                  <a:lnTo>
                    <a:pt x="730" y="2264"/>
                  </a:lnTo>
                  <a:cubicBezTo>
                    <a:pt x="729" y="2266"/>
                    <a:pt x="727" y="2267"/>
                    <a:pt x="725" y="2268"/>
                  </a:cubicBezTo>
                  <a:lnTo>
                    <a:pt x="635" y="2288"/>
                  </a:lnTo>
                  <a:cubicBezTo>
                    <a:pt x="634" y="2288"/>
                    <a:pt x="633" y="2288"/>
                    <a:pt x="632" y="2288"/>
                  </a:cubicBezTo>
                  <a:lnTo>
                    <a:pt x="446" y="2268"/>
                  </a:lnTo>
                  <a:lnTo>
                    <a:pt x="452" y="2266"/>
                  </a:lnTo>
                  <a:lnTo>
                    <a:pt x="430" y="2286"/>
                  </a:lnTo>
                  <a:cubicBezTo>
                    <a:pt x="429" y="2287"/>
                    <a:pt x="428" y="2288"/>
                    <a:pt x="427" y="2288"/>
                  </a:cubicBezTo>
                  <a:lnTo>
                    <a:pt x="359" y="2308"/>
                  </a:lnTo>
                  <a:lnTo>
                    <a:pt x="363" y="2305"/>
                  </a:lnTo>
                  <a:lnTo>
                    <a:pt x="316" y="2366"/>
                  </a:lnTo>
                  <a:cubicBezTo>
                    <a:pt x="316" y="2367"/>
                    <a:pt x="315" y="2368"/>
                    <a:pt x="314" y="2368"/>
                  </a:cubicBezTo>
                  <a:lnTo>
                    <a:pt x="128" y="2490"/>
                  </a:lnTo>
                  <a:cubicBezTo>
                    <a:pt x="127" y="2490"/>
                    <a:pt x="126" y="2491"/>
                    <a:pt x="125" y="2491"/>
                  </a:cubicBezTo>
                  <a:lnTo>
                    <a:pt x="10" y="2511"/>
                  </a:lnTo>
                  <a:lnTo>
                    <a:pt x="14" y="2497"/>
                  </a:lnTo>
                  <a:lnTo>
                    <a:pt x="38" y="2517"/>
                  </a:lnTo>
                  <a:lnTo>
                    <a:pt x="33" y="2516"/>
                  </a:lnTo>
                  <a:lnTo>
                    <a:pt x="102" y="2516"/>
                  </a:lnTo>
                  <a:cubicBezTo>
                    <a:pt x="104" y="2516"/>
                    <a:pt x="106" y="2517"/>
                    <a:pt x="108" y="2519"/>
                  </a:cubicBezTo>
                  <a:lnTo>
                    <a:pt x="155" y="2580"/>
                  </a:lnTo>
                  <a:lnTo>
                    <a:pt x="145" y="2577"/>
                  </a:lnTo>
                  <a:lnTo>
                    <a:pt x="192" y="2557"/>
                  </a:lnTo>
                  <a:lnTo>
                    <a:pt x="187" y="2564"/>
                  </a:lnTo>
                  <a:lnTo>
                    <a:pt x="187" y="2524"/>
                  </a:lnTo>
                  <a:cubicBezTo>
                    <a:pt x="187" y="2521"/>
                    <a:pt x="188" y="2518"/>
                    <a:pt x="191" y="2517"/>
                  </a:cubicBezTo>
                  <a:lnTo>
                    <a:pt x="259" y="2476"/>
                  </a:lnTo>
                  <a:cubicBezTo>
                    <a:pt x="260" y="2475"/>
                    <a:pt x="262" y="2475"/>
                    <a:pt x="263" y="2475"/>
                  </a:cubicBezTo>
                  <a:lnTo>
                    <a:pt x="400" y="2475"/>
                  </a:lnTo>
                  <a:cubicBezTo>
                    <a:pt x="402" y="2475"/>
                    <a:pt x="405" y="2476"/>
                    <a:pt x="406" y="2478"/>
                  </a:cubicBezTo>
                  <a:lnTo>
                    <a:pt x="477" y="2559"/>
                  </a:lnTo>
                  <a:lnTo>
                    <a:pt x="466" y="2558"/>
                  </a:lnTo>
                  <a:lnTo>
                    <a:pt x="603" y="2436"/>
                  </a:lnTo>
                  <a:cubicBezTo>
                    <a:pt x="604" y="2436"/>
                    <a:pt x="605" y="2435"/>
                    <a:pt x="607" y="2435"/>
                  </a:cubicBezTo>
                  <a:lnTo>
                    <a:pt x="722" y="2414"/>
                  </a:lnTo>
                  <a:cubicBezTo>
                    <a:pt x="724" y="2414"/>
                    <a:pt x="726" y="2414"/>
                    <a:pt x="728" y="2415"/>
                  </a:cubicBezTo>
                  <a:lnTo>
                    <a:pt x="821" y="2476"/>
                  </a:lnTo>
                  <a:lnTo>
                    <a:pt x="818" y="2475"/>
                  </a:lnTo>
                  <a:lnTo>
                    <a:pt x="933" y="2495"/>
                  </a:lnTo>
                  <a:lnTo>
                    <a:pt x="925" y="2499"/>
                  </a:lnTo>
                  <a:lnTo>
                    <a:pt x="949" y="2459"/>
                  </a:lnTo>
                  <a:cubicBezTo>
                    <a:pt x="951" y="2456"/>
                    <a:pt x="953" y="2455"/>
                    <a:pt x="956" y="2455"/>
                  </a:cubicBezTo>
                  <a:lnTo>
                    <a:pt x="1071" y="2455"/>
                  </a:lnTo>
                  <a:lnTo>
                    <a:pt x="1161" y="2455"/>
                  </a:lnTo>
                  <a:lnTo>
                    <a:pt x="1301" y="2455"/>
                  </a:lnTo>
                  <a:cubicBezTo>
                    <a:pt x="1302" y="2455"/>
                    <a:pt x="1303" y="2455"/>
                    <a:pt x="1304" y="2455"/>
                  </a:cubicBezTo>
                  <a:lnTo>
                    <a:pt x="1397" y="2496"/>
                  </a:lnTo>
                  <a:lnTo>
                    <a:pt x="1393" y="2496"/>
                  </a:lnTo>
                  <a:lnTo>
                    <a:pt x="1576" y="2455"/>
                  </a:lnTo>
                  <a:lnTo>
                    <a:pt x="1573" y="2457"/>
                  </a:lnTo>
                  <a:lnTo>
                    <a:pt x="1619" y="2416"/>
                  </a:lnTo>
                  <a:cubicBezTo>
                    <a:pt x="1621" y="2415"/>
                    <a:pt x="1622" y="2414"/>
                    <a:pt x="1624" y="2414"/>
                  </a:cubicBezTo>
                  <a:lnTo>
                    <a:pt x="1717" y="2414"/>
                  </a:lnTo>
                  <a:lnTo>
                    <a:pt x="1709" y="2422"/>
                  </a:lnTo>
                  <a:lnTo>
                    <a:pt x="1709" y="2361"/>
                  </a:lnTo>
                  <a:lnTo>
                    <a:pt x="1715" y="2369"/>
                  </a:lnTo>
                  <a:lnTo>
                    <a:pt x="1554" y="2329"/>
                  </a:lnTo>
                  <a:cubicBezTo>
                    <a:pt x="1551" y="2328"/>
                    <a:pt x="1548" y="2325"/>
                    <a:pt x="1548" y="2322"/>
                  </a:cubicBezTo>
                  <a:cubicBezTo>
                    <a:pt x="1547" y="2319"/>
                    <a:pt x="1549" y="2316"/>
                    <a:pt x="1552" y="2314"/>
                  </a:cubicBezTo>
                  <a:lnTo>
                    <a:pt x="1620" y="2273"/>
                  </a:lnTo>
                  <a:lnTo>
                    <a:pt x="1616" y="2280"/>
                  </a:lnTo>
                  <a:lnTo>
                    <a:pt x="1616" y="2219"/>
                  </a:lnTo>
                  <a:cubicBezTo>
                    <a:pt x="1616" y="2215"/>
                    <a:pt x="1620" y="2211"/>
                    <a:pt x="1624" y="2211"/>
                  </a:cubicBezTo>
                  <a:lnTo>
                    <a:pt x="1717" y="2211"/>
                  </a:lnTo>
                  <a:lnTo>
                    <a:pt x="1709" y="2219"/>
                  </a:lnTo>
                  <a:lnTo>
                    <a:pt x="1709" y="2179"/>
                  </a:lnTo>
                  <a:cubicBezTo>
                    <a:pt x="1709" y="2176"/>
                    <a:pt x="1711" y="2173"/>
                    <a:pt x="1713" y="2172"/>
                  </a:cubicBezTo>
                  <a:lnTo>
                    <a:pt x="1782" y="2131"/>
                  </a:lnTo>
                  <a:lnTo>
                    <a:pt x="1778" y="2136"/>
                  </a:lnTo>
                  <a:lnTo>
                    <a:pt x="1800" y="2075"/>
                  </a:lnTo>
                  <a:cubicBezTo>
                    <a:pt x="1800" y="2074"/>
                    <a:pt x="1801" y="2074"/>
                    <a:pt x="1801" y="2073"/>
                  </a:cubicBezTo>
                  <a:lnTo>
                    <a:pt x="1826" y="2033"/>
                  </a:lnTo>
                  <a:lnTo>
                    <a:pt x="1824" y="2037"/>
                  </a:lnTo>
                  <a:lnTo>
                    <a:pt x="1824" y="1935"/>
                  </a:lnTo>
                  <a:lnTo>
                    <a:pt x="1830" y="1943"/>
                  </a:lnTo>
                  <a:lnTo>
                    <a:pt x="1600" y="1862"/>
                  </a:lnTo>
                  <a:lnTo>
                    <a:pt x="1608" y="1860"/>
                  </a:lnTo>
                  <a:lnTo>
                    <a:pt x="1561" y="1901"/>
                  </a:lnTo>
                  <a:cubicBezTo>
                    <a:pt x="1559" y="1903"/>
                    <a:pt x="1555" y="1903"/>
                    <a:pt x="1552" y="1902"/>
                  </a:cubicBezTo>
                  <a:lnTo>
                    <a:pt x="1481" y="1861"/>
                  </a:lnTo>
                  <a:cubicBezTo>
                    <a:pt x="1478" y="1860"/>
                    <a:pt x="1477" y="1857"/>
                    <a:pt x="1477" y="1855"/>
                  </a:cubicBezTo>
                  <a:cubicBezTo>
                    <a:pt x="1477" y="1852"/>
                    <a:pt x="1478" y="1849"/>
                    <a:pt x="1480" y="1848"/>
                  </a:cubicBezTo>
                  <a:lnTo>
                    <a:pt x="1573" y="1787"/>
                  </a:lnTo>
                  <a:lnTo>
                    <a:pt x="1570" y="1796"/>
                  </a:lnTo>
                  <a:lnTo>
                    <a:pt x="1524" y="1675"/>
                  </a:lnTo>
                  <a:lnTo>
                    <a:pt x="1527" y="1678"/>
                  </a:lnTo>
                  <a:lnTo>
                    <a:pt x="1436" y="1618"/>
                  </a:lnTo>
                  <a:cubicBezTo>
                    <a:pt x="1433" y="1616"/>
                    <a:pt x="1432" y="1612"/>
                    <a:pt x="1433" y="1609"/>
                  </a:cubicBezTo>
                  <a:cubicBezTo>
                    <a:pt x="1434" y="1605"/>
                    <a:pt x="1437" y="1603"/>
                    <a:pt x="1441" y="1603"/>
                  </a:cubicBezTo>
                  <a:lnTo>
                    <a:pt x="1509" y="1603"/>
                  </a:lnTo>
                  <a:lnTo>
                    <a:pt x="1502" y="1613"/>
                  </a:lnTo>
                  <a:lnTo>
                    <a:pt x="1477" y="1511"/>
                  </a:lnTo>
                  <a:cubicBezTo>
                    <a:pt x="1477" y="1511"/>
                    <a:pt x="1477" y="1510"/>
                    <a:pt x="1477" y="1509"/>
                  </a:cubicBezTo>
                  <a:lnTo>
                    <a:pt x="1477" y="1469"/>
                  </a:lnTo>
                  <a:lnTo>
                    <a:pt x="1478" y="1473"/>
                  </a:lnTo>
                  <a:lnTo>
                    <a:pt x="1456" y="1432"/>
                  </a:lnTo>
                  <a:cubicBezTo>
                    <a:pt x="1455" y="1432"/>
                    <a:pt x="1455" y="1431"/>
                    <a:pt x="1455" y="1431"/>
                  </a:cubicBezTo>
                  <a:lnTo>
                    <a:pt x="1433" y="1370"/>
                  </a:lnTo>
                  <a:lnTo>
                    <a:pt x="1437" y="1375"/>
                  </a:lnTo>
                  <a:lnTo>
                    <a:pt x="1319" y="1314"/>
                  </a:lnTo>
                  <a:cubicBezTo>
                    <a:pt x="1317" y="1313"/>
                    <a:pt x="1316" y="1311"/>
                    <a:pt x="1315" y="1309"/>
                  </a:cubicBezTo>
                  <a:lnTo>
                    <a:pt x="1293" y="1228"/>
                  </a:lnTo>
                  <a:lnTo>
                    <a:pt x="1294" y="1229"/>
                  </a:lnTo>
                  <a:lnTo>
                    <a:pt x="1247" y="1127"/>
                  </a:lnTo>
                  <a:cubicBezTo>
                    <a:pt x="1247" y="1126"/>
                    <a:pt x="1247" y="1125"/>
                    <a:pt x="1247" y="1124"/>
                  </a:cubicBezTo>
                  <a:lnTo>
                    <a:pt x="1247" y="1002"/>
                  </a:lnTo>
                  <a:lnTo>
                    <a:pt x="1248" y="1006"/>
                  </a:lnTo>
                  <a:lnTo>
                    <a:pt x="1226" y="966"/>
                  </a:lnTo>
                  <a:lnTo>
                    <a:pt x="1227" y="968"/>
                  </a:lnTo>
                  <a:lnTo>
                    <a:pt x="1156" y="907"/>
                  </a:lnTo>
                  <a:lnTo>
                    <a:pt x="1134" y="887"/>
                  </a:lnTo>
                  <a:lnTo>
                    <a:pt x="1088" y="846"/>
                  </a:lnTo>
                  <a:lnTo>
                    <a:pt x="1093" y="848"/>
                  </a:lnTo>
                  <a:lnTo>
                    <a:pt x="1000" y="848"/>
                  </a:lnTo>
                  <a:cubicBezTo>
                    <a:pt x="999" y="848"/>
                    <a:pt x="998" y="848"/>
                    <a:pt x="998" y="848"/>
                  </a:cubicBezTo>
                  <a:lnTo>
                    <a:pt x="929" y="827"/>
                  </a:lnTo>
                  <a:cubicBezTo>
                    <a:pt x="926" y="826"/>
                    <a:pt x="923" y="823"/>
                    <a:pt x="923" y="820"/>
                  </a:cubicBezTo>
                  <a:cubicBezTo>
                    <a:pt x="924" y="816"/>
                    <a:pt x="926" y="813"/>
                    <a:pt x="930" y="812"/>
                  </a:cubicBezTo>
                  <a:lnTo>
                    <a:pt x="1023" y="792"/>
                  </a:lnTo>
                  <a:lnTo>
                    <a:pt x="1091" y="772"/>
                  </a:lnTo>
                  <a:lnTo>
                    <a:pt x="1085" y="782"/>
                  </a:lnTo>
                  <a:lnTo>
                    <a:pt x="1064" y="721"/>
                  </a:lnTo>
                  <a:cubicBezTo>
                    <a:pt x="1062" y="717"/>
                    <a:pt x="1064" y="713"/>
                    <a:pt x="1068" y="711"/>
                  </a:cubicBezTo>
                  <a:lnTo>
                    <a:pt x="1158" y="671"/>
                  </a:lnTo>
                  <a:lnTo>
                    <a:pt x="1153" y="678"/>
                  </a:lnTo>
                  <a:lnTo>
                    <a:pt x="1153" y="637"/>
                  </a:lnTo>
                  <a:cubicBezTo>
                    <a:pt x="1153" y="635"/>
                    <a:pt x="1154" y="633"/>
                    <a:pt x="1156" y="631"/>
                  </a:cubicBezTo>
                  <a:lnTo>
                    <a:pt x="1227" y="570"/>
                  </a:lnTo>
                  <a:lnTo>
                    <a:pt x="1225" y="574"/>
                  </a:lnTo>
                  <a:lnTo>
                    <a:pt x="1247" y="493"/>
                  </a:lnTo>
                  <a:cubicBezTo>
                    <a:pt x="1247" y="491"/>
                    <a:pt x="1249" y="490"/>
                    <a:pt x="1250" y="489"/>
                  </a:cubicBezTo>
                  <a:lnTo>
                    <a:pt x="1343" y="428"/>
                  </a:lnTo>
                  <a:lnTo>
                    <a:pt x="1340" y="434"/>
                  </a:lnTo>
                  <a:lnTo>
                    <a:pt x="1340" y="374"/>
                  </a:lnTo>
                  <a:lnTo>
                    <a:pt x="1348" y="382"/>
                  </a:lnTo>
                  <a:lnTo>
                    <a:pt x="1233" y="382"/>
                  </a:lnTo>
                  <a:cubicBezTo>
                    <a:pt x="1231" y="382"/>
                    <a:pt x="1229" y="381"/>
                    <a:pt x="1227" y="380"/>
                  </a:cubicBezTo>
                  <a:lnTo>
                    <a:pt x="1181" y="339"/>
                  </a:lnTo>
                  <a:lnTo>
                    <a:pt x="1185" y="341"/>
                  </a:lnTo>
                  <a:lnTo>
                    <a:pt x="1045" y="321"/>
                  </a:lnTo>
                  <a:lnTo>
                    <a:pt x="1048" y="321"/>
                  </a:lnTo>
                  <a:lnTo>
                    <a:pt x="911" y="341"/>
                  </a:lnTo>
                  <a:close/>
                  <a:moveTo>
                    <a:pt x="1045" y="305"/>
                  </a:moveTo>
                  <a:cubicBezTo>
                    <a:pt x="1046" y="305"/>
                    <a:pt x="1047" y="305"/>
                    <a:pt x="1048" y="305"/>
                  </a:cubicBezTo>
                  <a:lnTo>
                    <a:pt x="1187" y="325"/>
                  </a:lnTo>
                  <a:cubicBezTo>
                    <a:pt x="1189" y="325"/>
                    <a:pt x="1190" y="326"/>
                    <a:pt x="1191" y="327"/>
                  </a:cubicBezTo>
                  <a:lnTo>
                    <a:pt x="1238" y="368"/>
                  </a:lnTo>
                  <a:lnTo>
                    <a:pt x="1233" y="366"/>
                  </a:lnTo>
                  <a:lnTo>
                    <a:pt x="1348" y="366"/>
                  </a:lnTo>
                  <a:cubicBezTo>
                    <a:pt x="1352" y="366"/>
                    <a:pt x="1356" y="369"/>
                    <a:pt x="1356" y="374"/>
                  </a:cubicBezTo>
                  <a:lnTo>
                    <a:pt x="1356" y="434"/>
                  </a:lnTo>
                  <a:cubicBezTo>
                    <a:pt x="1356" y="437"/>
                    <a:pt x="1354" y="440"/>
                    <a:pt x="1352" y="441"/>
                  </a:cubicBezTo>
                  <a:lnTo>
                    <a:pt x="1259" y="502"/>
                  </a:lnTo>
                  <a:lnTo>
                    <a:pt x="1262" y="497"/>
                  </a:lnTo>
                  <a:lnTo>
                    <a:pt x="1240" y="578"/>
                  </a:lnTo>
                  <a:cubicBezTo>
                    <a:pt x="1240" y="580"/>
                    <a:pt x="1239" y="581"/>
                    <a:pt x="1238" y="582"/>
                  </a:cubicBezTo>
                  <a:lnTo>
                    <a:pt x="1167" y="643"/>
                  </a:lnTo>
                  <a:lnTo>
                    <a:pt x="1169" y="637"/>
                  </a:lnTo>
                  <a:lnTo>
                    <a:pt x="1169" y="678"/>
                  </a:lnTo>
                  <a:cubicBezTo>
                    <a:pt x="1169" y="681"/>
                    <a:pt x="1168" y="684"/>
                    <a:pt x="1165" y="685"/>
                  </a:cubicBezTo>
                  <a:lnTo>
                    <a:pt x="1074" y="726"/>
                  </a:lnTo>
                  <a:lnTo>
                    <a:pt x="1079" y="716"/>
                  </a:lnTo>
                  <a:lnTo>
                    <a:pt x="1101" y="777"/>
                  </a:lnTo>
                  <a:cubicBezTo>
                    <a:pt x="1101" y="779"/>
                    <a:pt x="1101" y="781"/>
                    <a:pt x="1100" y="783"/>
                  </a:cubicBezTo>
                  <a:cubicBezTo>
                    <a:pt x="1099" y="785"/>
                    <a:pt x="1097" y="786"/>
                    <a:pt x="1095" y="787"/>
                  </a:cubicBezTo>
                  <a:lnTo>
                    <a:pt x="1026" y="807"/>
                  </a:lnTo>
                  <a:lnTo>
                    <a:pt x="933" y="828"/>
                  </a:lnTo>
                  <a:lnTo>
                    <a:pt x="934" y="812"/>
                  </a:lnTo>
                  <a:lnTo>
                    <a:pt x="1002" y="832"/>
                  </a:lnTo>
                  <a:lnTo>
                    <a:pt x="1000" y="832"/>
                  </a:lnTo>
                  <a:lnTo>
                    <a:pt x="1093" y="832"/>
                  </a:lnTo>
                  <a:cubicBezTo>
                    <a:pt x="1095" y="832"/>
                    <a:pt x="1097" y="833"/>
                    <a:pt x="1098" y="834"/>
                  </a:cubicBezTo>
                  <a:lnTo>
                    <a:pt x="1145" y="875"/>
                  </a:lnTo>
                  <a:lnTo>
                    <a:pt x="1167" y="895"/>
                  </a:lnTo>
                  <a:lnTo>
                    <a:pt x="1238" y="956"/>
                  </a:lnTo>
                  <a:cubicBezTo>
                    <a:pt x="1239" y="956"/>
                    <a:pt x="1239" y="957"/>
                    <a:pt x="1240" y="958"/>
                  </a:cubicBezTo>
                  <a:lnTo>
                    <a:pt x="1262" y="999"/>
                  </a:lnTo>
                  <a:cubicBezTo>
                    <a:pt x="1262" y="1000"/>
                    <a:pt x="1263" y="1001"/>
                    <a:pt x="1263" y="1002"/>
                  </a:cubicBezTo>
                  <a:lnTo>
                    <a:pt x="1263" y="1124"/>
                  </a:lnTo>
                  <a:lnTo>
                    <a:pt x="1262" y="1121"/>
                  </a:lnTo>
                  <a:lnTo>
                    <a:pt x="1308" y="1222"/>
                  </a:lnTo>
                  <a:cubicBezTo>
                    <a:pt x="1309" y="1223"/>
                    <a:pt x="1309" y="1223"/>
                    <a:pt x="1309" y="1223"/>
                  </a:cubicBezTo>
                  <a:lnTo>
                    <a:pt x="1331" y="1305"/>
                  </a:lnTo>
                  <a:lnTo>
                    <a:pt x="1327" y="1299"/>
                  </a:lnTo>
                  <a:lnTo>
                    <a:pt x="1445" y="1360"/>
                  </a:lnTo>
                  <a:cubicBezTo>
                    <a:pt x="1446" y="1361"/>
                    <a:pt x="1448" y="1363"/>
                    <a:pt x="1448" y="1365"/>
                  </a:cubicBezTo>
                  <a:lnTo>
                    <a:pt x="1470" y="1426"/>
                  </a:lnTo>
                  <a:lnTo>
                    <a:pt x="1470" y="1425"/>
                  </a:lnTo>
                  <a:lnTo>
                    <a:pt x="1492" y="1465"/>
                  </a:lnTo>
                  <a:cubicBezTo>
                    <a:pt x="1492" y="1466"/>
                    <a:pt x="1493" y="1468"/>
                    <a:pt x="1493" y="1469"/>
                  </a:cubicBezTo>
                  <a:lnTo>
                    <a:pt x="1493" y="1509"/>
                  </a:lnTo>
                  <a:lnTo>
                    <a:pt x="1492" y="1508"/>
                  </a:lnTo>
                  <a:lnTo>
                    <a:pt x="1517" y="1609"/>
                  </a:lnTo>
                  <a:cubicBezTo>
                    <a:pt x="1518" y="1611"/>
                    <a:pt x="1517" y="1614"/>
                    <a:pt x="1516" y="1616"/>
                  </a:cubicBezTo>
                  <a:cubicBezTo>
                    <a:pt x="1514" y="1618"/>
                    <a:pt x="1512" y="1619"/>
                    <a:pt x="1509" y="1619"/>
                  </a:cubicBezTo>
                  <a:lnTo>
                    <a:pt x="1441" y="1619"/>
                  </a:lnTo>
                  <a:lnTo>
                    <a:pt x="1445" y="1604"/>
                  </a:lnTo>
                  <a:lnTo>
                    <a:pt x="1536" y="1665"/>
                  </a:lnTo>
                  <a:cubicBezTo>
                    <a:pt x="1537" y="1666"/>
                    <a:pt x="1538" y="1667"/>
                    <a:pt x="1539" y="1669"/>
                  </a:cubicBezTo>
                  <a:lnTo>
                    <a:pt x="1585" y="1791"/>
                  </a:lnTo>
                  <a:cubicBezTo>
                    <a:pt x="1587" y="1794"/>
                    <a:pt x="1585" y="1798"/>
                    <a:pt x="1582" y="1800"/>
                  </a:cubicBezTo>
                  <a:lnTo>
                    <a:pt x="1489" y="1861"/>
                  </a:lnTo>
                  <a:lnTo>
                    <a:pt x="1489" y="1847"/>
                  </a:lnTo>
                  <a:lnTo>
                    <a:pt x="1560" y="1888"/>
                  </a:lnTo>
                  <a:lnTo>
                    <a:pt x="1551" y="1889"/>
                  </a:lnTo>
                  <a:lnTo>
                    <a:pt x="1597" y="1848"/>
                  </a:lnTo>
                  <a:cubicBezTo>
                    <a:pt x="1599" y="1846"/>
                    <a:pt x="1602" y="1846"/>
                    <a:pt x="1605" y="1847"/>
                  </a:cubicBezTo>
                  <a:lnTo>
                    <a:pt x="1835" y="1928"/>
                  </a:lnTo>
                  <a:cubicBezTo>
                    <a:pt x="1838" y="1929"/>
                    <a:pt x="1840" y="1932"/>
                    <a:pt x="1840" y="1935"/>
                  </a:cubicBezTo>
                  <a:lnTo>
                    <a:pt x="1840" y="2037"/>
                  </a:lnTo>
                  <a:cubicBezTo>
                    <a:pt x="1840" y="2038"/>
                    <a:pt x="1840" y="2040"/>
                    <a:pt x="1839" y="2041"/>
                  </a:cubicBezTo>
                  <a:lnTo>
                    <a:pt x="1815" y="2082"/>
                  </a:lnTo>
                  <a:lnTo>
                    <a:pt x="1815" y="2080"/>
                  </a:lnTo>
                  <a:lnTo>
                    <a:pt x="1793" y="2141"/>
                  </a:lnTo>
                  <a:cubicBezTo>
                    <a:pt x="1793" y="2143"/>
                    <a:pt x="1792" y="2144"/>
                    <a:pt x="1790" y="2145"/>
                  </a:cubicBezTo>
                  <a:lnTo>
                    <a:pt x="1722" y="2186"/>
                  </a:lnTo>
                  <a:lnTo>
                    <a:pt x="1725" y="2179"/>
                  </a:lnTo>
                  <a:lnTo>
                    <a:pt x="1725" y="2219"/>
                  </a:lnTo>
                  <a:cubicBezTo>
                    <a:pt x="1725" y="2224"/>
                    <a:pt x="1722" y="2227"/>
                    <a:pt x="1717" y="2227"/>
                  </a:cubicBezTo>
                  <a:lnTo>
                    <a:pt x="1624" y="2227"/>
                  </a:lnTo>
                  <a:lnTo>
                    <a:pt x="1632" y="2219"/>
                  </a:lnTo>
                  <a:lnTo>
                    <a:pt x="1632" y="2280"/>
                  </a:lnTo>
                  <a:cubicBezTo>
                    <a:pt x="1632" y="2283"/>
                    <a:pt x="1631" y="2286"/>
                    <a:pt x="1628" y="2287"/>
                  </a:cubicBezTo>
                  <a:lnTo>
                    <a:pt x="1560" y="2328"/>
                  </a:lnTo>
                  <a:lnTo>
                    <a:pt x="1558" y="2313"/>
                  </a:lnTo>
                  <a:lnTo>
                    <a:pt x="1719" y="2354"/>
                  </a:lnTo>
                  <a:cubicBezTo>
                    <a:pt x="1723" y="2354"/>
                    <a:pt x="1725" y="2358"/>
                    <a:pt x="1725" y="2361"/>
                  </a:cubicBezTo>
                  <a:lnTo>
                    <a:pt x="1725" y="2422"/>
                  </a:lnTo>
                  <a:cubicBezTo>
                    <a:pt x="1725" y="2427"/>
                    <a:pt x="1722" y="2430"/>
                    <a:pt x="1717" y="2430"/>
                  </a:cubicBezTo>
                  <a:lnTo>
                    <a:pt x="1624" y="2430"/>
                  </a:lnTo>
                  <a:lnTo>
                    <a:pt x="1630" y="2428"/>
                  </a:lnTo>
                  <a:lnTo>
                    <a:pt x="1583" y="2469"/>
                  </a:lnTo>
                  <a:cubicBezTo>
                    <a:pt x="1582" y="2470"/>
                    <a:pt x="1581" y="2470"/>
                    <a:pt x="1579" y="2471"/>
                  </a:cubicBezTo>
                  <a:lnTo>
                    <a:pt x="1396" y="2511"/>
                  </a:lnTo>
                  <a:cubicBezTo>
                    <a:pt x="1394" y="2512"/>
                    <a:pt x="1393" y="2511"/>
                    <a:pt x="1391" y="2511"/>
                  </a:cubicBezTo>
                  <a:lnTo>
                    <a:pt x="1298" y="2470"/>
                  </a:lnTo>
                  <a:lnTo>
                    <a:pt x="1301" y="2471"/>
                  </a:lnTo>
                  <a:lnTo>
                    <a:pt x="1161" y="2471"/>
                  </a:lnTo>
                  <a:lnTo>
                    <a:pt x="1071" y="2471"/>
                  </a:lnTo>
                  <a:lnTo>
                    <a:pt x="956" y="2471"/>
                  </a:lnTo>
                  <a:lnTo>
                    <a:pt x="963" y="2467"/>
                  </a:lnTo>
                  <a:lnTo>
                    <a:pt x="938" y="2507"/>
                  </a:lnTo>
                  <a:cubicBezTo>
                    <a:pt x="937" y="2510"/>
                    <a:pt x="933" y="2512"/>
                    <a:pt x="930" y="2511"/>
                  </a:cubicBezTo>
                  <a:lnTo>
                    <a:pt x="815" y="2491"/>
                  </a:lnTo>
                  <a:cubicBezTo>
                    <a:pt x="814" y="2491"/>
                    <a:pt x="813" y="2490"/>
                    <a:pt x="812" y="2490"/>
                  </a:cubicBezTo>
                  <a:lnTo>
                    <a:pt x="719" y="2429"/>
                  </a:lnTo>
                  <a:lnTo>
                    <a:pt x="725" y="2430"/>
                  </a:lnTo>
                  <a:lnTo>
                    <a:pt x="610" y="2450"/>
                  </a:lnTo>
                  <a:lnTo>
                    <a:pt x="614" y="2448"/>
                  </a:lnTo>
                  <a:lnTo>
                    <a:pt x="477" y="2570"/>
                  </a:lnTo>
                  <a:cubicBezTo>
                    <a:pt x="475" y="2572"/>
                    <a:pt x="473" y="2572"/>
                    <a:pt x="471" y="2572"/>
                  </a:cubicBezTo>
                  <a:cubicBezTo>
                    <a:pt x="469" y="2572"/>
                    <a:pt x="467" y="2571"/>
                    <a:pt x="465" y="2569"/>
                  </a:cubicBezTo>
                  <a:lnTo>
                    <a:pt x="394" y="2488"/>
                  </a:lnTo>
                  <a:lnTo>
                    <a:pt x="400" y="2491"/>
                  </a:lnTo>
                  <a:lnTo>
                    <a:pt x="263" y="2491"/>
                  </a:lnTo>
                  <a:lnTo>
                    <a:pt x="267" y="2490"/>
                  </a:lnTo>
                  <a:lnTo>
                    <a:pt x="199" y="2531"/>
                  </a:lnTo>
                  <a:lnTo>
                    <a:pt x="203" y="2524"/>
                  </a:lnTo>
                  <a:lnTo>
                    <a:pt x="203" y="2564"/>
                  </a:lnTo>
                  <a:cubicBezTo>
                    <a:pt x="203" y="2567"/>
                    <a:pt x="201" y="2570"/>
                    <a:pt x="198" y="2572"/>
                  </a:cubicBezTo>
                  <a:lnTo>
                    <a:pt x="151" y="2592"/>
                  </a:lnTo>
                  <a:cubicBezTo>
                    <a:pt x="148" y="2593"/>
                    <a:pt x="144" y="2592"/>
                    <a:pt x="142" y="2589"/>
                  </a:cubicBezTo>
                  <a:lnTo>
                    <a:pt x="95" y="2528"/>
                  </a:lnTo>
                  <a:lnTo>
                    <a:pt x="102" y="2532"/>
                  </a:lnTo>
                  <a:lnTo>
                    <a:pt x="33" y="2532"/>
                  </a:lnTo>
                  <a:cubicBezTo>
                    <a:pt x="31" y="2532"/>
                    <a:pt x="29" y="2531"/>
                    <a:pt x="28" y="2530"/>
                  </a:cubicBezTo>
                  <a:lnTo>
                    <a:pt x="3" y="2510"/>
                  </a:lnTo>
                  <a:cubicBezTo>
                    <a:pt x="1" y="2508"/>
                    <a:pt x="0" y="2504"/>
                    <a:pt x="1" y="2501"/>
                  </a:cubicBezTo>
                  <a:cubicBezTo>
                    <a:pt x="2" y="2498"/>
                    <a:pt x="4" y="2496"/>
                    <a:pt x="7" y="2495"/>
                  </a:cubicBezTo>
                  <a:lnTo>
                    <a:pt x="122" y="2475"/>
                  </a:lnTo>
                  <a:lnTo>
                    <a:pt x="119" y="2476"/>
                  </a:lnTo>
                  <a:lnTo>
                    <a:pt x="305" y="2355"/>
                  </a:lnTo>
                  <a:lnTo>
                    <a:pt x="303" y="2356"/>
                  </a:lnTo>
                  <a:lnTo>
                    <a:pt x="350" y="2296"/>
                  </a:lnTo>
                  <a:cubicBezTo>
                    <a:pt x="351" y="2294"/>
                    <a:pt x="352" y="2293"/>
                    <a:pt x="354" y="2293"/>
                  </a:cubicBezTo>
                  <a:lnTo>
                    <a:pt x="422" y="2273"/>
                  </a:lnTo>
                  <a:lnTo>
                    <a:pt x="419" y="2274"/>
                  </a:lnTo>
                  <a:lnTo>
                    <a:pt x="441" y="2254"/>
                  </a:lnTo>
                  <a:cubicBezTo>
                    <a:pt x="443" y="2252"/>
                    <a:pt x="445" y="2252"/>
                    <a:pt x="448" y="2252"/>
                  </a:cubicBezTo>
                  <a:lnTo>
                    <a:pt x="634" y="2272"/>
                  </a:lnTo>
                  <a:lnTo>
                    <a:pt x="631" y="2272"/>
                  </a:lnTo>
                  <a:lnTo>
                    <a:pt x="722" y="2252"/>
                  </a:lnTo>
                  <a:lnTo>
                    <a:pt x="716" y="2256"/>
                  </a:lnTo>
                  <a:lnTo>
                    <a:pt x="741" y="2215"/>
                  </a:lnTo>
                  <a:cubicBezTo>
                    <a:pt x="741" y="2215"/>
                    <a:pt x="742" y="2214"/>
                    <a:pt x="743" y="2213"/>
                  </a:cubicBezTo>
                  <a:lnTo>
                    <a:pt x="811" y="2153"/>
                  </a:lnTo>
                  <a:lnTo>
                    <a:pt x="820" y="2166"/>
                  </a:lnTo>
                  <a:lnTo>
                    <a:pt x="773" y="2186"/>
                  </a:lnTo>
                  <a:lnTo>
                    <a:pt x="726" y="2206"/>
                  </a:lnTo>
                  <a:cubicBezTo>
                    <a:pt x="725" y="2207"/>
                    <a:pt x="724" y="2207"/>
                    <a:pt x="723" y="2207"/>
                  </a:cubicBezTo>
                  <a:lnTo>
                    <a:pt x="608" y="2207"/>
                  </a:lnTo>
                  <a:cubicBezTo>
                    <a:pt x="606" y="2207"/>
                    <a:pt x="604" y="2206"/>
                    <a:pt x="603" y="2205"/>
                  </a:cubicBezTo>
                  <a:lnTo>
                    <a:pt x="534" y="2144"/>
                  </a:lnTo>
                  <a:lnTo>
                    <a:pt x="540" y="2146"/>
                  </a:lnTo>
                  <a:lnTo>
                    <a:pt x="447" y="2146"/>
                  </a:lnTo>
                  <a:cubicBezTo>
                    <a:pt x="444" y="2146"/>
                    <a:pt x="441" y="2145"/>
                    <a:pt x="440" y="2142"/>
                  </a:cubicBezTo>
                  <a:cubicBezTo>
                    <a:pt x="438" y="2140"/>
                    <a:pt x="438" y="2137"/>
                    <a:pt x="440" y="2134"/>
                  </a:cubicBezTo>
                  <a:lnTo>
                    <a:pt x="464" y="2094"/>
                  </a:lnTo>
                  <a:lnTo>
                    <a:pt x="466" y="2104"/>
                  </a:lnTo>
                  <a:lnTo>
                    <a:pt x="419" y="2063"/>
                  </a:lnTo>
                  <a:lnTo>
                    <a:pt x="430" y="2063"/>
                  </a:lnTo>
                  <a:lnTo>
                    <a:pt x="383" y="2104"/>
                  </a:lnTo>
                  <a:cubicBezTo>
                    <a:pt x="381" y="2106"/>
                    <a:pt x="378" y="2106"/>
                    <a:pt x="375" y="2105"/>
                  </a:cubicBezTo>
                  <a:lnTo>
                    <a:pt x="282" y="2064"/>
                  </a:lnTo>
                  <a:cubicBezTo>
                    <a:pt x="280" y="2064"/>
                    <a:pt x="279" y="2062"/>
                    <a:pt x="278" y="2061"/>
                  </a:cubicBezTo>
                  <a:lnTo>
                    <a:pt x="256" y="2020"/>
                  </a:lnTo>
                  <a:lnTo>
                    <a:pt x="258" y="2023"/>
                  </a:lnTo>
                  <a:lnTo>
                    <a:pt x="233" y="2002"/>
                  </a:lnTo>
                  <a:cubicBezTo>
                    <a:pt x="231" y="2001"/>
                    <a:pt x="230" y="1998"/>
                    <a:pt x="231" y="1995"/>
                  </a:cubicBezTo>
                  <a:cubicBezTo>
                    <a:pt x="231" y="1992"/>
                    <a:pt x="233" y="1990"/>
                    <a:pt x="235" y="1989"/>
                  </a:cubicBezTo>
                  <a:lnTo>
                    <a:pt x="282" y="1969"/>
                  </a:lnTo>
                  <a:cubicBezTo>
                    <a:pt x="282" y="1968"/>
                    <a:pt x="283" y="1968"/>
                    <a:pt x="284" y="1968"/>
                  </a:cubicBezTo>
                  <a:lnTo>
                    <a:pt x="398" y="1948"/>
                  </a:lnTo>
                  <a:lnTo>
                    <a:pt x="469" y="1928"/>
                  </a:lnTo>
                  <a:lnTo>
                    <a:pt x="584" y="1887"/>
                  </a:lnTo>
                  <a:lnTo>
                    <a:pt x="578" y="1896"/>
                  </a:lnTo>
                  <a:lnTo>
                    <a:pt x="554" y="1734"/>
                  </a:lnTo>
                  <a:lnTo>
                    <a:pt x="564" y="1740"/>
                  </a:lnTo>
                  <a:lnTo>
                    <a:pt x="495" y="1761"/>
                  </a:lnTo>
                  <a:cubicBezTo>
                    <a:pt x="494" y="1761"/>
                    <a:pt x="492" y="1761"/>
                    <a:pt x="490" y="1760"/>
                  </a:cubicBezTo>
                  <a:lnTo>
                    <a:pt x="443" y="1740"/>
                  </a:lnTo>
                  <a:cubicBezTo>
                    <a:pt x="441" y="1739"/>
                    <a:pt x="439" y="1736"/>
                    <a:pt x="439" y="1733"/>
                  </a:cubicBezTo>
                  <a:cubicBezTo>
                    <a:pt x="438" y="1730"/>
                    <a:pt x="440" y="1728"/>
                    <a:pt x="442" y="1726"/>
                  </a:cubicBezTo>
                  <a:lnTo>
                    <a:pt x="557" y="1645"/>
                  </a:lnTo>
                  <a:lnTo>
                    <a:pt x="556" y="1657"/>
                  </a:lnTo>
                  <a:lnTo>
                    <a:pt x="512" y="1617"/>
                  </a:lnTo>
                  <a:cubicBezTo>
                    <a:pt x="510" y="1615"/>
                    <a:pt x="510" y="1612"/>
                    <a:pt x="510" y="1610"/>
                  </a:cubicBezTo>
                  <a:cubicBezTo>
                    <a:pt x="510" y="1607"/>
                    <a:pt x="512" y="1605"/>
                    <a:pt x="515" y="1604"/>
                  </a:cubicBezTo>
                  <a:lnTo>
                    <a:pt x="558" y="1583"/>
                  </a:lnTo>
                  <a:cubicBezTo>
                    <a:pt x="560" y="1582"/>
                    <a:pt x="563" y="1582"/>
                    <a:pt x="565" y="1583"/>
                  </a:cubicBezTo>
                  <a:lnTo>
                    <a:pt x="658" y="1624"/>
                  </a:lnTo>
                  <a:lnTo>
                    <a:pt x="655" y="1623"/>
                  </a:lnTo>
                  <a:lnTo>
                    <a:pt x="794" y="1623"/>
                  </a:lnTo>
                  <a:cubicBezTo>
                    <a:pt x="797" y="1623"/>
                    <a:pt x="798" y="1624"/>
                    <a:pt x="800" y="1625"/>
                  </a:cubicBezTo>
                  <a:lnTo>
                    <a:pt x="822" y="1646"/>
                  </a:lnTo>
                  <a:lnTo>
                    <a:pt x="811" y="1645"/>
                  </a:lnTo>
                  <a:lnTo>
                    <a:pt x="858" y="1605"/>
                  </a:lnTo>
                  <a:lnTo>
                    <a:pt x="855" y="1610"/>
                  </a:lnTo>
                  <a:lnTo>
                    <a:pt x="877" y="1468"/>
                  </a:lnTo>
                  <a:cubicBezTo>
                    <a:pt x="878" y="1464"/>
                    <a:pt x="881" y="1461"/>
                    <a:pt x="885" y="1461"/>
                  </a:cubicBezTo>
                  <a:lnTo>
                    <a:pt x="910" y="1461"/>
                  </a:lnTo>
                  <a:lnTo>
                    <a:pt x="902" y="1469"/>
                  </a:lnTo>
                  <a:lnTo>
                    <a:pt x="902" y="1388"/>
                  </a:lnTo>
                  <a:lnTo>
                    <a:pt x="910" y="1396"/>
                  </a:lnTo>
                  <a:lnTo>
                    <a:pt x="863" y="1396"/>
                  </a:lnTo>
                  <a:cubicBezTo>
                    <a:pt x="860" y="1396"/>
                    <a:pt x="857" y="1394"/>
                    <a:pt x="856" y="1392"/>
                  </a:cubicBezTo>
                  <a:lnTo>
                    <a:pt x="788" y="1270"/>
                  </a:lnTo>
                  <a:cubicBezTo>
                    <a:pt x="786" y="1268"/>
                    <a:pt x="786" y="1265"/>
                    <a:pt x="787" y="1262"/>
                  </a:cubicBezTo>
                  <a:lnTo>
                    <a:pt x="809" y="1222"/>
                  </a:lnTo>
                  <a:cubicBezTo>
                    <a:pt x="810" y="1220"/>
                    <a:pt x="811" y="1220"/>
                    <a:pt x="812" y="1219"/>
                  </a:cubicBezTo>
                  <a:lnTo>
                    <a:pt x="905" y="1158"/>
                  </a:lnTo>
                  <a:lnTo>
                    <a:pt x="907" y="1172"/>
                  </a:lnTo>
                  <a:lnTo>
                    <a:pt x="836" y="1152"/>
                  </a:lnTo>
                  <a:lnTo>
                    <a:pt x="842" y="1151"/>
                  </a:lnTo>
                  <a:lnTo>
                    <a:pt x="774" y="1192"/>
                  </a:lnTo>
                  <a:cubicBezTo>
                    <a:pt x="772" y="1193"/>
                    <a:pt x="770" y="1193"/>
                    <a:pt x="768" y="1193"/>
                  </a:cubicBezTo>
                  <a:lnTo>
                    <a:pt x="699" y="1172"/>
                  </a:lnTo>
                  <a:lnTo>
                    <a:pt x="705" y="1172"/>
                  </a:lnTo>
                  <a:lnTo>
                    <a:pt x="658" y="1192"/>
                  </a:lnTo>
                  <a:cubicBezTo>
                    <a:pt x="656" y="1193"/>
                    <a:pt x="653" y="1193"/>
                    <a:pt x="650" y="1192"/>
                  </a:cubicBezTo>
                  <a:lnTo>
                    <a:pt x="557" y="1131"/>
                  </a:lnTo>
                  <a:lnTo>
                    <a:pt x="569" y="1126"/>
                  </a:lnTo>
                  <a:lnTo>
                    <a:pt x="548" y="1207"/>
                  </a:lnTo>
                  <a:cubicBezTo>
                    <a:pt x="547" y="1211"/>
                    <a:pt x="543" y="1213"/>
                    <a:pt x="539" y="1213"/>
                  </a:cubicBezTo>
                  <a:cubicBezTo>
                    <a:pt x="536" y="1213"/>
                    <a:pt x="533" y="1210"/>
                    <a:pt x="532" y="1207"/>
                  </a:cubicBezTo>
                  <a:lnTo>
                    <a:pt x="510" y="1085"/>
                  </a:lnTo>
                  <a:cubicBezTo>
                    <a:pt x="510" y="1083"/>
                    <a:pt x="510" y="1081"/>
                    <a:pt x="511" y="1079"/>
                  </a:cubicBezTo>
                  <a:lnTo>
                    <a:pt x="626" y="917"/>
                  </a:lnTo>
                  <a:lnTo>
                    <a:pt x="626" y="925"/>
                  </a:lnTo>
                  <a:lnTo>
                    <a:pt x="601" y="885"/>
                  </a:lnTo>
                  <a:cubicBezTo>
                    <a:pt x="600" y="883"/>
                    <a:pt x="600" y="880"/>
                    <a:pt x="601" y="878"/>
                  </a:cubicBezTo>
                  <a:lnTo>
                    <a:pt x="625" y="817"/>
                  </a:lnTo>
                  <a:lnTo>
                    <a:pt x="636" y="827"/>
                  </a:lnTo>
                  <a:lnTo>
                    <a:pt x="590" y="847"/>
                  </a:lnTo>
                  <a:cubicBezTo>
                    <a:pt x="588" y="848"/>
                    <a:pt x="585" y="848"/>
                    <a:pt x="583" y="848"/>
                  </a:cubicBezTo>
                  <a:cubicBezTo>
                    <a:pt x="581" y="847"/>
                    <a:pt x="580" y="845"/>
                    <a:pt x="579" y="843"/>
                  </a:cubicBezTo>
                  <a:lnTo>
                    <a:pt x="554" y="782"/>
                  </a:lnTo>
                  <a:lnTo>
                    <a:pt x="569" y="782"/>
                  </a:lnTo>
                  <a:lnTo>
                    <a:pt x="525" y="885"/>
                  </a:lnTo>
                  <a:lnTo>
                    <a:pt x="478" y="966"/>
                  </a:lnTo>
                  <a:cubicBezTo>
                    <a:pt x="477" y="968"/>
                    <a:pt x="474" y="970"/>
                    <a:pt x="471" y="970"/>
                  </a:cubicBezTo>
                  <a:lnTo>
                    <a:pt x="400" y="970"/>
                  </a:lnTo>
                  <a:cubicBezTo>
                    <a:pt x="397" y="970"/>
                    <a:pt x="395" y="968"/>
                    <a:pt x="393" y="966"/>
                  </a:cubicBezTo>
                  <a:cubicBezTo>
                    <a:pt x="392" y="964"/>
                    <a:pt x="392" y="961"/>
                    <a:pt x="393" y="958"/>
                  </a:cubicBezTo>
                  <a:lnTo>
                    <a:pt x="464" y="817"/>
                  </a:lnTo>
                  <a:lnTo>
                    <a:pt x="486" y="757"/>
                  </a:lnTo>
                  <a:lnTo>
                    <a:pt x="510" y="675"/>
                  </a:lnTo>
                  <a:cubicBezTo>
                    <a:pt x="510" y="675"/>
                    <a:pt x="511" y="674"/>
                    <a:pt x="511" y="674"/>
                  </a:cubicBezTo>
                  <a:lnTo>
                    <a:pt x="555" y="593"/>
                  </a:lnTo>
                  <a:lnTo>
                    <a:pt x="565" y="604"/>
                  </a:lnTo>
                  <a:lnTo>
                    <a:pt x="450" y="665"/>
                  </a:lnTo>
                  <a:cubicBezTo>
                    <a:pt x="449" y="666"/>
                    <a:pt x="446" y="666"/>
                    <a:pt x="444" y="665"/>
                  </a:cubicBezTo>
                  <a:lnTo>
                    <a:pt x="376" y="645"/>
                  </a:lnTo>
                  <a:cubicBezTo>
                    <a:pt x="373" y="644"/>
                    <a:pt x="371" y="642"/>
                    <a:pt x="371" y="640"/>
                  </a:cubicBezTo>
                  <a:cubicBezTo>
                    <a:pt x="370" y="637"/>
                    <a:pt x="370" y="634"/>
                    <a:pt x="372" y="632"/>
                  </a:cubicBezTo>
                  <a:lnTo>
                    <a:pt x="465" y="511"/>
                  </a:lnTo>
                  <a:cubicBezTo>
                    <a:pt x="465" y="510"/>
                    <a:pt x="466" y="510"/>
                    <a:pt x="466" y="510"/>
                  </a:cubicBezTo>
                  <a:lnTo>
                    <a:pt x="513" y="469"/>
                  </a:lnTo>
                  <a:lnTo>
                    <a:pt x="511" y="470"/>
                  </a:lnTo>
                  <a:lnTo>
                    <a:pt x="555" y="409"/>
                  </a:lnTo>
                  <a:lnTo>
                    <a:pt x="554" y="414"/>
                  </a:lnTo>
                  <a:lnTo>
                    <a:pt x="554" y="353"/>
                  </a:lnTo>
                  <a:lnTo>
                    <a:pt x="554" y="272"/>
                  </a:lnTo>
                  <a:cubicBezTo>
                    <a:pt x="554" y="270"/>
                    <a:pt x="555" y="268"/>
                    <a:pt x="556" y="266"/>
                  </a:cubicBezTo>
                  <a:lnTo>
                    <a:pt x="603" y="226"/>
                  </a:lnTo>
                  <a:cubicBezTo>
                    <a:pt x="604" y="225"/>
                    <a:pt x="605" y="224"/>
                    <a:pt x="607" y="224"/>
                  </a:cubicBezTo>
                  <a:lnTo>
                    <a:pt x="700" y="203"/>
                  </a:lnTo>
                  <a:lnTo>
                    <a:pt x="694" y="214"/>
                  </a:lnTo>
                  <a:lnTo>
                    <a:pt x="672" y="153"/>
                  </a:lnTo>
                  <a:cubicBezTo>
                    <a:pt x="671" y="151"/>
                    <a:pt x="671" y="149"/>
                    <a:pt x="672" y="147"/>
                  </a:cubicBezTo>
                  <a:lnTo>
                    <a:pt x="694" y="106"/>
                  </a:lnTo>
                  <a:cubicBezTo>
                    <a:pt x="695" y="105"/>
                    <a:pt x="695" y="104"/>
                    <a:pt x="696" y="104"/>
                  </a:cubicBezTo>
                  <a:lnTo>
                    <a:pt x="743" y="63"/>
                  </a:lnTo>
                  <a:lnTo>
                    <a:pt x="742" y="64"/>
                  </a:lnTo>
                  <a:lnTo>
                    <a:pt x="788" y="4"/>
                  </a:lnTo>
                  <a:cubicBezTo>
                    <a:pt x="790" y="1"/>
                    <a:pt x="794" y="0"/>
                    <a:pt x="798" y="1"/>
                  </a:cubicBezTo>
                  <a:lnTo>
                    <a:pt x="888" y="42"/>
                  </a:lnTo>
                  <a:lnTo>
                    <a:pt x="885" y="41"/>
                  </a:lnTo>
                  <a:lnTo>
                    <a:pt x="1162" y="61"/>
                  </a:lnTo>
                  <a:cubicBezTo>
                    <a:pt x="1164" y="62"/>
                    <a:pt x="1167" y="63"/>
                    <a:pt x="1168" y="65"/>
                  </a:cubicBezTo>
                  <a:cubicBezTo>
                    <a:pt x="1169" y="67"/>
                    <a:pt x="1170" y="69"/>
                    <a:pt x="1169" y="71"/>
                  </a:cubicBezTo>
                  <a:lnTo>
                    <a:pt x="1147" y="153"/>
                  </a:lnTo>
                  <a:cubicBezTo>
                    <a:pt x="1147" y="155"/>
                    <a:pt x="1145" y="157"/>
                    <a:pt x="1142" y="158"/>
                  </a:cubicBezTo>
                  <a:lnTo>
                    <a:pt x="1073" y="178"/>
                  </a:lnTo>
                  <a:lnTo>
                    <a:pt x="1075" y="178"/>
                  </a:lnTo>
                  <a:lnTo>
                    <a:pt x="935" y="259"/>
                  </a:lnTo>
                  <a:lnTo>
                    <a:pt x="935" y="245"/>
                  </a:lnTo>
                  <a:lnTo>
                    <a:pt x="981" y="265"/>
                  </a:lnTo>
                  <a:cubicBezTo>
                    <a:pt x="984" y="266"/>
                    <a:pt x="985" y="268"/>
                    <a:pt x="986" y="271"/>
                  </a:cubicBezTo>
                  <a:cubicBezTo>
                    <a:pt x="986" y="274"/>
                    <a:pt x="985" y="276"/>
                    <a:pt x="983" y="278"/>
                  </a:cubicBezTo>
                  <a:lnTo>
                    <a:pt x="915" y="339"/>
                  </a:lnTo>
                  <a:lnTo>
                    <a:pt x="908" y="325"/>
                  </a:lnTo>
                  <a:lnTo>
                    <a:pt x="1045" y="305"/>
                  </a:lnTo>
                  <a:close/>
                </a:path>
              </a:pathLst>
            </a:custGeom>
            <a:solidFill>
              <a:srgbClr val="000000"/>
            </a:solidFill>
            <a:ln w="0" cap="flat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222" name="Rectangle 189"/>
            <p:cNvSpPr>
              <a:spLocks noChangeArrowheads="1"/>
            </p:cNvSpPr>
            <p:nvPr/>
          </p:nvSpPr>
          <p:spPr bwMode="auto">
            <a:xfrm>
              <a:off x="3002" y="1957"/>
              <a:ext cx="58" cy="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sz="500" b="1">
                  <a:solidFill>
                    <a:srgbClr val="000000"/>
                  </a:solidFill>
                </a:rPr>
                <a:t>UK</a:t>
              </a:r>
              <a:endParaRPr lang="de-DE"/>
            </a:p>
          </p:txBody>
        </p:sp>
        <p:sp>
          <p:nvSpPr>
            <p:cNvPr id="7223" name="Freeform 190"/>
            <p:cNvSpPr>
              <a:spLocks/>
            </p:cNvSpPr>
            <p:nvPr/>
          </p:nvSpPr>
          <p:spPr bwMode="auto">
            <a:xfrm>
              <a:off x="3533" y="2717"/>
              <a:ext cx="65" cy="119"/>
            </a:xfrm>
            <a:custGeom>
              <a:avLst/>
              <a:gdLst>
                <a:gd name="T0" fmla="*/ 81 w 62"/>
                <a:gd name="T1" fmla="*/ 33 h 113"/>
                <a:gd name="T2" fmla="*/ 81 w 62"/>
                <a:gd name="T3" fmla="*/ 0 h 113"/>
                <a:gd name="T4" fmla="*/ 99 w 62"/>
                <a:gd name="T5" fmla="*/ 0 h 113"/>
                <a:gd name="T6" fmla="*/ 99 w 62"/>
                <a:gd name="T7" fmla="*/ 43 h 113"/>
                <a:gd name="T8" fmla="*/ 109 w 62"/>
                <a:gd name="T9" fmla="*/ 61 h 113"/>
                <a:gd name="T10" fmla="*/ 109 w 62"/>
                <a:gd name="T11" fmla="*/ 114 h 113"/>
                <a:gd name="T12" fmla="*/ 99 w 62"/>
                <a:gd name="T13" fmla="*/ 132 h 113"/>
                <a:gd name="T14" fmla="*/ 99 w 62"/>
                <a:gd name="T15" fmla="*/ 168 h 113"/>
                <a:gd name="T16" fmla="*/ 71 w 62"/>
                <a:gd name="T17" fmla="*/ 211 h 113"/>
                <a:gd name="T18" fmla="*/ 56 w 62"/>
                <a:gd name="T19" fmla="*/ 211 h 113"/>
                <a:gd name="T20" fmla="*/ 27 w 62"/>
                <a:gd name="T21" fmla="*/ 194 h 113"/>
                <a:gd name="T22" fmla="*/ 33 w 62"/>
                <a:gd name="T23" fmla="*/ 175 h 113"/>
                <a:gd name="T24" fmla="*/ 10 w 62"/>
                <a:gd name="T25" fmla="*/ 168 h 113"/>
                <a:gd name="T26" fmla="*/ 33 w 62"/>
                <a:gd name="T27" fmla="*/ 147 h 113"/>
                <a:gd name="T28" fmla="*/ 5 w 62"/>
                <a:gd name="T29" fmla="*/ 140 h 113"/>
                <a:gd name="T30" fmla="*/ 27 w 62"/>
                <a:gd name="T31" fmla="*/ 124 h 113"/>
                <a:gd name="T32" fmla="*/ 5 w 62"/>
                <a:gd name="T33" fmla="*/ 106 h 113"/>
                <a:gd name="T34" fmla="*/ 0 w 62"/>
                <a:gd name="T35" fmla="*/ 79 h 113"/>
                <a:gd name="T36" fmla="*/ 10 w 62"/>
                <a:gd name="T37" fmla="*/ 70 h 113"/>
                <a:gd name="T38" fmla="*/ 10 w 62"/>
                <a:gd name="T39" fmla="*/ 55 h 113"/>
                <a:gd name="T40" fmla="*/ 45 w 62"/>
                <a:gd name="T41" fmla="*/ 43 h 113"/>
                <a:gd name="T42" fmla="*/ 81 w 62"/>
                <a:gd name="T43" fmla="*/ 33 h 113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62"/>
                <a:gd name="T67" fmla="*/ 0 h 113"/>
                <a:gd name="T68" fmla="*/ 62 w 62"/>
                <a:gd name="T69" fmla="*/ 113 h 113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62" h="113">
                  <a:moveTo>
                    <a:pt x="46" y="19"/>
                  </a:moveTo>
                  <a:lnTo>
                    <a:pt x="46" y="0"/>
                  </a:lnTo>
                  <a:lnTo>
                    <a:pt x="56" y="0"/>
                  </a:lnTo>
                  <a:lnTo>
                    <a:pt x="56" y="24"/>
                  </a:lnTo>
                  <a:lnTo>
                    <a:pt x="62" y="33"/>
                  </a:lnTo>
                  <a:lnTo>
                    <a:pt x="62" y="62"/>
                  </a:lnTo>
                  <a:lnTo>
                    <a:pt x="56" y="71"/>
                  </a:lnTo>
                  <a:lnTo>
                    <a:pt x="56" y="90"/>
                  </a:lnTo>
                  <a:lnTo>
                    <a:pt x="41" y="113"/>
                  </a:lnTo>
                  <a:lnTo>
                    <a:pt x="31" y="113"/>
                  </a:lnTo>
                  <a:lnTo>
                    <a:pt x="15" y="104"/>
                  </a:lnTo>
                  <a:lnTo>
                    <a:pt x="20" y="94"/>
                  </a:lnTo>
                  <a:lnTo>
                    <a:pt x="10" y="90"/>
                  </a:lnTo>
                  <a:lnTo>
                    <a:pt x="20" y="80"/>
                  </a:lnTo>
                  <a:lnTo>
                    <a:pt x="5" y="76"/>
                  </a:lnTo>
                  <a:lnTo>
                    <a:pt x="15" y="66"/>
                  </a:lnTo>
                  <a:lnTo>
                    <a:pt x="5" y="57"/>
                  </a:lnTo>
                  <a:lnTo>
                    <a:pt x="0" y="43"/>
                  </a:lnTo>
                  <a:lnTo>
                    <a:pt x="10" y="38"/>
                  </a:lnTo>
                  <a:lnTo>
                    <a:pt x="10" y="29"/>
                  </a:lnTo>
                  <a:lnTo>
                    <a:pt x="26" y="24"/>
                  </a:lnTo>
                  <a:lnTo>
                    <a:pt x="46" y="19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cs-CZ"/>
            </a:p>
          </p:txBody>
        </p:sp>
        <p:sp>
          <p:nvSpPr>
            <p:cNvPr id="7224" name="Freeform 191"/>
            <p:cNvSpPr>
              <a:spLocks noEditPoints="1"/>
            </p:cNvSpPr>
            <p:nvPr/>
          </p:nvSpPr>
          <p:spPr bwMode="auto">
            <a:xfrm>
              <a:off x="3531" y="2716"/>
              <a:ext cx="69" cy="122"/>
            </a:xfrm>
            <a:custGeom>
              <a:avLst/>
              <a:gdLst>
                <a:gd name="T0" fmla="*/ 0 w 288"/>
                <a:gd name="T1" fmla="*/ 0 h 512"/>
                <a:gd name="T2" fmla="*/ 0 w 288"/>
                <a:gd name="T3" fmla="*/ 0 h 512"/>
                <a:gd name="T4" fmla="*/ 0 w 288"/>
                <a:gd name="T5" fmla="*/ 0 h 512"/>
                <a:gd name="T6" fmla="*/ 0 w 288"/>
                <a:gd name="T7" fmla="*/ 0 h 512"/>
                <a:gd name="T8" fmla="*/ 0 w 288"/>
                <a:gd name="T9" fmla="*/ 0 h 512"/>
                <a:gd name="T10" fmla="*/ 0 w 288"/>
                <a:gd name="T11" fmla="*/ 0 h 512"/>
                <a:gd name="T12" fmla="*/ 0 w 288"/>
                <a:gd name="T13" fmla="*/ 0 h 512"/>
                <a:gd name="T14" fmla="*/ 0 w 288"/>
                <a:gd name="T15" fmla="*/ 0 h 512"/>
                <a:gd name="T16" fmla="*/ 0 w 288"/>
                <a:gd name="T17" fmla="*/ 0 h 512"/>
                <a:gd name="T18" fmla="*/ 0 w 288"/>
                <a:gd name="T19" fmla="*/ 0 h 512"/>
                <a:gd name="T20" fmla="*/ 0 w 288"/>
                <a:gd name="T21" fmla="*/ 0 h 512"/>
                <a:gd name="T22" fmla="*/ 0 w 288"/>
                <a:gd name="T23" fmla="*/ 0 h 512"/>
                <a:gd name="T24" fmla="*/ 0 w 288"/>
                <a:gd name="T25" fmla="*/ 0 h 512"/>
                <a:gd name="T26" fmla="*/ 0 w 288"/>
                <a:gd name="T27" fmla="*/ 0 h 512"/>
                <a:gd name="T28" fmla="*/ 0 w 288"/>
                <a:gd name="T29" fmla="*/ 0 h 512"/>
                <a:gd name="T30" fmla="*/ 0 w 288"/>
                <a:gd name="T31" fmla="*/ 0 h 512"/>
                <a:gd name="T32" fmla="*/ 0 w 288"/>
                <a:gd name="T33" fmla="*/ 0 h 512"/>
                <a:gd name="T34" fmla="*/ 0 w 288"/>
                <a:gd name="T35" fmla="*/ 0 h 512"/>
                <a:gd name="T36" fmla="*/ 0 w 288"/>
                <a:gd name="T37" fmla="*/ 0 h 512"/>
                <a:gd name="T38" fmla="*/ 0 w 288"/>
                <a:gd name="T39" fmla="*/ 0 h 512"/>
                <a:gd name="T40" fmla="*/ 0 w 288"/>
                <a:gd name="T41" fmla="*/ 0 h 512"/>
                <a:gd name="T42" fmla="*/ 0 w 288"/>
                <a:gd name="T43" fmla="*/ 0 h 512"/>
                <a:gd name="T44" fmla="*/ 0 w 288"/>
                <a:gd name="T45" fmla="*/ 0 h 512"/>
                <a:gd name="T46" fmla="*/ 0 w 288"/>
                <a:gd name="T47" fmla="*/ 0 h 512"/>
                <a:gd name="T48" fmla="*/ 0 w 288"/>
                <a:gd name="T49" fmla="*/ 0 h 512"/>
                <a:gd name="T50" fmla="*/ 0 w 288"/>
                <a:gd name="T51" fmla="*/ 0 h 512"/>
                <a:gd name="T52" fmla="*/ 0 w 288"/>
                <a:gd name="T53" fmla="*/ 0 h 512"/>
                <a:gd name="T54" fmla="*/ 0 w 288"/>
                <a:gd name="T55" fmla="*/ 0 h 512"/>
                <a:gd name="T56" fmla="*/ 0 w 288"/>
                <a:gd name="T57" fmla="*/ 0 h 512"/>
                <a:gd name="T58" fmla="*/ 0 w 288"/>
                <a:gd name="T59" fmla="*/ 0 h 512"/>
                <a:gd name="T60" fmla="*/ 0 w 288"/>
                <a:gd name="T61" fmla="*/ 0 h 512"/>
                <a:gd name="T62" fmla="*/ 0 w 288"/>
                <a:gd name="T63" fmla="*/ 0 h 512"/>
                <a:gd name="T64" fmla="*/ 0 w 288"/>
                <a:gd name="T65" fmla="*/ 0 h 512"/>
                <a:gd name="T66" fmla="*/ 0 w 288"/>
                <a:gd name="T67" fmla="*/ 0 h 512"/>
                <a:gd name="T68" fmla="*/ 0 w 288"/>
                <a:gd name="T69" fmla="*/ 0 h 512"/>
                <a:gd name="T70" fmla="*/ 0 w 288"/>
                <a:gd name="T71" fmla="*/ 0 h 512"/>
                <a:gd name="T72" fmla="*/ 0 w 288"/>
                <a:gd name="T73" fmla="*/ 0 h 512"/>
                <a:gd name="T74" fmla="*/ 0 w 288"/>
                <a:gd name="T75" fmla="*/ 0 h 512"/>
                <a:gd name="T76" fmla="*/ 0 w 288"/>
                <a:gd name="T77" fmla="*/ 0 h 512"/>
                <a:gd name="T78" fmla="*/ 0 w 288"/>
                <a:gd name="T79" fmla="*/ 0 h 512"/>
                <a:gd name="T80" fmla="*/ 0 w 288"/>
                <a:gd name="T81" fmla="*/ 0 h 512"/>
                <a:gd name="T82" fmla="*/ 0 w 288"/>
                <a:gd name="T83" fmla="*/ 0 h 512"/>
                <a:gd name="T84" fmla="*/ 0 w 288"/>
                <a:gd name="T85" fmla="*/ 0 h 512"/>
                <a:gd name="T86" fmla="*/ 0 w 288"/>
                <a:gd name="T87" fmla="*/ 0 h 51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88"/>
                <a:gd name="T133" fmla="*/ 0 h 512"/>
                <a:gd name="T134" fmla="*/ 288 w 288"/>
                <a:gd name="T135" fmla="*/ 512 h 51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88" h="512">
                  <a:moveTo>
                    <a:pt x="209" y="83"/>
                  </a:moveTo>
                  <a:lnTo>
                    <a:pt x="202" y="91"/>
                  </a:lnTo>
                  <a:lnTo>
                    <a:pt x="202" y="8"/>
                  </a:lnTo>
                  <a:cubicBezTo>
                    <a:pt x="202" y="4"/>
                    <a:pt x="206" y="0"/>
                    <a:pt x="210" y="0"/>
                  </a:cubicBezTo>
                  <a:lnTo>
                    <a:pt x="256" y="0"/>
                  </a:lnTo>
                  <a:cubicBezTo>
                    <a:pt x="261" y="0"/>
                    <a:pt x="264" y="4"/>
                    <a:pt x="264" y="8"/>
                  </a:cubicBezTo>
                  <a:lnTo>
                    <a:pt x="264" y="112"/>
                  </a:lnTo>
                  <a:lnTo>
                    <a:pt x="263" y="108"/>
                  </a:lnTo>
                  <a:lnTo>
                    <a:pt x="287" y="149"/>
                  </a:lnTo>
                  <a:cubicBezTo>
                    <a:pt x="288" y="150"/>
                    <a:pt x="288" y="152"/>
                    <a:pt x="288" y="153"/>
                  </a:cubicBezTo>
                  <a:lnTo>
                    <a:pt x="288" y="277"/>
                  </a:lnTo>
                  <a:cubicBezTo>
                    <a:pt x="288" y="279"/>
                    <a:pt x="288" y="280"/>
                    <a:pt x="287" y="281"/>
                  </a:cubicBezTo>
                  <a:lnTo>
                    <a:pt x="263" y="323"/>
                  </a:lnTo>
                  <a:lnTo>
                    <a:pt x="264" y="318"/>
                  </a:lnTo>
                  <a:lnTo>
                    <a:pt x="264" y="401"/>
                  </a:lnTo>
                  <a:cubicBezTo>
                    <a:pt x="264" y="403"/>
                    <a:pt x="264" y="404"/>
                    <a:pt x="263" y="406"/>
                  </a:cubicBezTo>
                  <a:lnTo>
                    <a:pt x="196" y="509"/>
                  </a:lnTo>
                  <a:cubicBezTo>
                    <a:pt x="194" y="511"/>
                    <a:pt x="192" y="512"/>
                    <a:pt x="189" y="512"/>
                  </a:cubicBezTo>
                  <a:lnTo>
                    <a:pt x="143" y="512"/>
                  </a:lnTo>
                  <a:cubicBezTo>
                    <a:pt x="142" y="512"/>
                    <a:pt x="140" y="512"/>
                    <a:pt x="139" y="511"/>
                  </a:cubicBezTo>
                  <a:lnTo>
                    <a:pt x="72" y="470"/>
                  </a:lnTo>
                  <a:cubicBezTo>
                    <a:pt x="68" y="468"/>
                    <a:pt x="67" y="463"/>
                    <a:pt x="69" y="459"/>
                  </a:cubicBezTo>
                  <a:lnTo>
                    <a:pt x="90" y="418"/>
                  </a:lnTo>
                  <a:lnTo>
                    <a:pt x="94" y="429"/>
                  </a:lnTo>
                  <a:lnTo>
                    <a:pt x="51" y="408"/>
                  </a:lnTo>
                  <a:cubicBezTo>
                    <a:pt x="48" y="407"/>
                    <a:pt x="47" y="405"/>
                    <a:pt x="46" y="402"/>
                  </a:cubicBezTo>
                  <a:cubicBezTo>
                    <a:pt x="46" y="400"/>
                    <a:pt x="47" y="397"/>
                    <a:pt x="49" y="395"/>
                  </a:cubicBezTo>
                  <a:lnTo>
                    <a:pt x="92" y="354"/>
                  </a:lnTo>
                  <a:lnTo>
                    <a:pt x="95" y="367"/>
                  </a:lnTo>
                  <a:lnTo>
                    <a:pt x="28" y="347"/>
                  </a:lnTo>
                  <a:cubicBezTo>
                    <a:pt x="25" y="346"/>
                    <a:pt x="23" y="344"/>
                    <a:pt x="22" y="341"/>
                  </a:cubicBezTo>
                  <a:cubicBezTo>
                    <a:pt x="22" y="338"/>
                    <a:pt x="23" y="335"/>
                    <a:pt x="25" y="333"/>
                  </a:cubicBezTo>
                  <a:lnTo>
                    <a:pt x="70" y="292"/>
                  </a:lnTo>
                  <a:lnTo>
                    <a:pt x="70" y="304"/>
                  </a:lnTo>
                  <a:lnTo>
                    <a:pt x="25" y="262"/>
                  </a:lnTo>
                  <a:cubicBezTo>
                    <a:pt x="24" y="262"/>
                    <a:pt x="23" y="260"/>
                    <a:pt x="22" y="259"/>
                  </a:cubicBezTo>
                  <a:lnTo>
                    <a:pt x="1" y="197"/>
                  </a:lnTo>
                  <a:cubicBezTo>
                    <a:pt x="0" y="193"/>
                    <a:pt x="1" y="189"/>
                    <a:pt x="5" y="187"/>
                  </a:cubicBezTo>
                  <a:lnTo>
                    <a:pt x="51" y="166"/>
                  </a:lnTo>
                  <a:lnTo>
                    <a:pt x="46" y="174"/>
                  </a:lnTo>
                  <a:lnTo>
                    <a:pt x="46" y="132"/>
                  </a:lnTo>
                  <a:cubicBezTo>
                    <a:pt x="46" y="129"/>
                    <a:pt x="49" y="126"/>
                    <a:pt x="52" y="125"/>
                  </a:cubicBezTo>
                  <a:lnTo>
                    <a:pt x="119" y="104"/>
                  </a:lnTo>
                  <a:lnTo>
                    <a:pt x="209" y="83"/>
                  </a:lnTo>
                  <a:close/>
                  <a:moveTo>
                    <a:pt x="124" y="119"/>
                  </a:moveTo>
                  <a:lnTo>
                    <a:pt x="57" y="140"/>
                  </a:lnTo>
                  <a:lnTo>
                    <a:pt x="62" y="132"/>
                  </a:lnTo>
                  <a:lnTo>
                    <a:pt x="62" y="174"/>
                  </a:lnTo>
                  <a:cubicBezTo>
                    <a:pt x="62" y="177"/>
                    <a:pt x="60" y="180"/>
                    <a:pt x="58" y="181"/>
                  </a:cubicBezTo>
                  <a:lnTo>
                    <a:pt x="12" y="202"/>
                  </a:lnTo>
                  <a:lnTo>
                    <a:pt x="16" y="192"/>
                  </a:lnTo>
                  <a:lnTo>
                    <a:pt x="38" y="254"/>
                  </a:lnTo>
                  <a:lnTo>
                    <a:pt x="35" y="251"/>
                  </a:lnTo>
                  <a:lnTo>
                    <a:pt x="81" y="292"/>
                  </a:lnTo>
                  <a:cubicBezTo>
                    <a:pt x="83" y="293"/>
                    <a:pt x="84" y="296"/>
                    <a:pt x="84" y="298"/>
                  </a:cubicBezTo>
                  <a:cubicBezTo>
                    <a:pt x="84" y="300"/>
                    <a:pt x="83" y="302"/>
                    <a:pt x="81" y="304"/>
                  </a:cubicBezTo>
                  <a:lnTo>
                    <a:pt x="35" y="345"/>
                  </a:lnTo>
                  <a:lnTo>
                    <a:pt x="32" y="331"/>
                  </a:lnTo>
                  <a:lnTo>
                    <a:pt x="100" y="352"/>
                  </a:lnTo>
                  <a:cubicBezTo>
                    <a:pt x="102" y="353"/>
                    <a:pt x="104" y="355"/>
                    <a:pt x="105" y="358"/>
                  </a:cubicBezTo>
                  <a:cubicBezTo>
                    <a:pt x="106" y="361"/>
                    <a:pt x="105" y="364"/>
                    <a:pt x="103" y="366"/>
                  </a:cubicBezTo>
                  <a:lnTo>
                    <a:pt x="60" y="407"/>
                  </a:lnTo>
                  <a:lnTo>
                    <a:pt x="58" y="394"/>
                  </a:lnTo>
                  <a:lnTo>
                    <a:pt x="101" y="415"/>
                  </a:lnTo>
                  <a:cubicBezTo>
                    <a:pt x="103" y="416"/>
                    <a:pt x="104" y="417"/>
                    <a:pt x="105" y="419"/>
                  </a:cubicBezTo>
                  <a:cubicBezTo>
                    <a:pt x="106" y="421"/>
                    <a:pt x="105" y="424"/>
                    <a:pt x="104" y="425"/>
                  </a:cubicBezTo>
                  <a:lnTo>
                    <a:pt x="83" y="467"/>
                  </a:lnTo>
                  <a:lnTo>
                    <a:pt x="80" y="456"/>
                  </a:lnTo>
                  <a:lnTo>
                    <a:pt x="147" y="498"/>
                  </a:lnTo>
                  <a:lnTo>
                    <a:pt x="143" y="496"/>
                  </a:lnTo>
                  <a:lnTo>
                    <a:pt x="189" y="496"/>
                  </a:lnTo>
                  <a:lnTo>
                    <a:pt x="182" y="500"/>
                  </a:lnTo>
                  <a:lnTo>
                    <a:pt x="250" y="397"/>
                  </a:lnTo>
                  <a:lnTo>
                    <a:pt x="248" y="401"/>
                  </a:lnTo>
                  <a:lnTo>
                    <a:pt x="248" y="318"/>
                  </a:lnTo>
                  <a:cubicBezTo>
                    <a:pt x="248" y="317"/>
                    <a:pt x="249" y="316"/>
                    <a:pt x="249" y="314"/>
                  </a:cubicBezTo>
                  <a:lnTo>
                    <a:pt x="274" y="273"/>
                  </a:lnTo>
                  <a:lnTo>
                    <a:pt x="272" y="277"/>
                  </a:lnTo>
                  <a:lnTo>
                    <a:pt x="272" y="153"/>
                  </a:lnTo>
                  <a:lnTo>
                    <a:pt x="274" y="157"/>
                  </a:lnTo>
                  <a:lnTo>
                    <a:pt x="249" y="116"/>
                  </a:lnTo>
                  <a:cubicBezTo>
                    <a:pt x="249" y="115"/>
                    <a:pt x="248" y="113"/>
                    <a:pt x="248" y="112"/>
                  </a:cubicBezTo>
                  <a:lnTo>
                    <a:pt x="248" y="8"/>
                  </a:lnTo>
                  <a:lnTo>
                    <a:pt x="256" y="16"/>
                  </a:lnTo>
                  <a:lnTo>
                    <a:pt x="210" y="16"/>
                  </a:lnTo>
                  <a:lnTo>
                    <a:pt x="218" y="8"/>
                  </a:lnTo>
                  <a:lnTo>
                    <a:pt x="218" y="91"/>
                  </a:lnTo>
                  <a:cubicBezTo>
                    <a:pt x="218" y="95"/>
                    <a:pt x="216" y="98"/>
                    <a:pt x="212" y="99"/>
                  </a:cubicBezTo>
                  <a:lnTo>
                    <a:pt x="124" y="119"/>
                  </a:lnTo>
                  <a:close/>
                </a:path>
              </a:pathLst>
            </a:custGeom>
            <a:solidFill>
              <a:srgbClr val="000000"/>
            </a:solidFill>
            <a:ln w="0" cap="flat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225" name="Freeform 192"/>
            <p:cNvSpPr>
              <a:spLocks/>
            </p:cNvSpPr>
            <p:nvPr/>
          </p:nvSpPr>
          <p:spPr bwMode="auto">
            <a:xfrm>
              <a:off x="2768" y="2115"/>
              <a:ext cx="753" cy="656"/>
            </a:xfrm>
            <a:custGeom>
              <a:avLst/>
              <a:gdLst>
                <a:gd name="T0" fmla="*/ 1107 w 716"/>
                <a:gd name="T1" fmla="*/ 617 h 625"/>
                <a:gd name="T2" fmla="*/ 1078 w 716"/>
                <a:gd name="T3" fmla="*/ 600 h 625"/>
                <a:gd name="T4" fmla="*/ 1127 w 716"/>
                <a:gd name="T5" fmla="*/ 535 h 625"/>
                <a:gd name="T6" fmla="*/ 1164 w 716"/>
                <a:gd name="T7" fmla="*/ 485 h 625"/>
                <a:gd name="T8" fmla="*/ 1243 w 716"/>
                <a:gd name="T9" fmla="*/ 462 h 625"/>
                <a:gd name="T10" fmla="*/ 1275 w 716"/>
                <a:gd name="T11" fmla="*/ 330 h 625"/>
                <a:gd name="T12" fmla="*/ 1250 w 716"/>
                <a:gd name="T13" fmla="*/ 279 h 625"/>
                <a:gd name="T14" fmla="*/ 1156 w 716"/>
                <a:gd name="T15" fmla="*/ 254 h 625"/>
                <a:gd name="T16" fmla="*/ 1060 w 716"/>
                <a:gd name="T17" fmla="*/ 215 h 625"/>
                <a:gd name="T18" fmla="*/ 972 w 716"/>
                <a:gd name="T19" fmla="*/ 139 h 625"/>
                <a:gd name="T20" fmla="*/ 924 w 716"/>
                <a:gd name="T21" fmla="*/ 117 h 625"/>
                <a:gd name="T22" fmla="*/ 876 w 716"/>
                <a:gd name="T23" fmla="*/ 92 h 625"/>
                <a:gd name="T24" fmla="*/ 811 w 716"/>
                <a:gd name="T25" fmla="*/ 49 h 625"/>
                <a:gd name="T26" fmla="*/ 762 w 716"/>
                <a:gd name="T27" fmla="*/ 0 h 625"/>
                <a:gd name="T28" fmla="*/ 683 w 716"/>
                <a:gd name="T29" fmla="*/ 26 h 625"/>
                <a:gd name="T30" fmla="*/ 645 w 716"/>
                <a:gd name="T31" fmla="*/ 107 h 625"/>
                <a:gd name="T32" fmla="*/ 559 w 716"/>
                <a:gd name="T33" fmla="*/ 139 h 625"/>
                <a:gd name="T34" fmla="*/ 522 w 716"/>
                <a:gd name="T35" fmla="*/ 173 h 625"/>
                <a:gd name="T36" fmla="*/ 472 w 716"/>
                <a:gd name="T37" fmla="*/ 190 h 625"/>
                <a:gd name="T38" fmla="*/ 396 w 716"/>
                <a:gd name="T39" fmla="*/ 165 h 625"/>
                <a:gd name="T40" fmla="*/ 308 w 716"/>
                <a:gd name="T41" fmla="*/ 149 h 625"/>
                <a:gd name="T42" fmla="*/ 347 w 716"/>
                <a:gd name="T43" fmla="*/ 262 h 625"/>
                <a:gd name="T44" fmla="*/ 242 w 716"/>
                <a:gd name="T45" fmla="*/ 248 h 625"/>
                <a:gd name="T46" fmla="*/ 204 w 716"/>
                <a:gd name="T47" fmla="*/ 238 h 625"/>
                <a:gd name="T48" fmla="*/ 143 w 716"/>
                <a:gd name="T49" fmla="*/ 215 h 625"/>
                <a:gd name="T50" fmla="*/ 98 w 716"/>
                <a:gd name="T51" fmla="*/ 220 h 625"/>
                <a:gd name="T52" fmla="*/ 5 w 716"/>
                <a:gd name="T53" fmla="*/ 238 h 625"/>
                <a:gd name="T54" fmla="*/ 5 w 716"/>
                <a:gd name="T55" fmla="*/ 254 h 625"/>
                <a:gd name="T56" fmla="*/ 28 w 716"/>
                <a:gd name="T57" fmla="*/ 279 h 625"/>
                <a:gd name="T58" fmla="*/ 23 w 716"/>
                <a:gd name="T59" fmla="*/ 298 h 625"/>
                <a:gd name="T60" fmla="*/ 46 w 716"/>
                <a:gd name="T61" fmla="*/ 320 h 625"/>
                <a:gd name="T62" fmla="*/ 126 w 716"/>
                <a:gd name="T63" fmla="*/ 336 h 625"/>
                <a:gd name="T64" fmla="*/ 183 w 716"/>
                <a:gd name="T65" fmla="*/ 380 h 625"/>
                <a:gd name="T66" fmla="*/ 221 w 716"/>
                <a:gd name="T67" fmla="*/ 412 h 625"/>
                <a:gd name="T68" fmla="*/ 242 w 716"/>
                <a:gd name="T69" fmla="*/ 462 h 625"/>
                <a:gd name="T70" fmla="*/ 308 w 716"/>
                <a:gd name="T71" fmla="*/ 550 h 625"/>
                <a:gd name="T72" fmla="*/ 318 w 716"/>
                <a:gd name="T73" fmla="*/ 600 h 625"/>
                <a:gd name="T74" fmla="*/ 340 w 716"/>
                <a:gd name="T75" fmla="*/ 657 h 625"/>
                <a:gd name="T76" fmla="*/ 270 w 716"/>
                <a:gd name="T77" fmla="*/ 798 h 625"/>
                <a:gd name="T78" fmla="*/ 204 w 716"/>
                <a:gd name="T79" fmla="*/ 895 h 625"/>
                <a:gd name="T80" fmla="*/ 183 w 716"/>
                <a:gd name="T81" fmla="*/ 913 h 625"/>
                <a:gd name="T82" fmla="*/ 280 w 716"/>
                <a:gd name="T83" fmla="*/ 986 h 625"/>
                <a:gd name="T84" fmla="*/ 365 w 716"/>
                <a:gd name="T85" fmla="*/ 1020 h 625"/>
                <a:gd name="T86" fmla="*/ 452 w 716"/>
                <a:gd name="T87" fmla="*/ 1052 h 625"/>
                <a:gd name="T88" fmla="*/ 599 w 716"/>
                <a:gd name="T89" fmla="*/ 1085 h 625"/>
                <a:gd name="T90" fmla="*/ 696 w 716"/>
                <a:gd name="T91" fmla="*/ 1120 h 625"/>
                <a:gd name="T92" fmla="*/ 733 w 716"/>
                <a:gd name="T93" fmla="*/ 1095 h 625"/>
                <a:gd name="T94" fmla="*/ 724 w 716"/>
                <a:gd name="T95" fmla="*/ 1020 h 625"/>
                <a:gd name="T96" fmla="*/ 779 w 716"/>
                <a:gd name="T97" fmla="*/ 972 h 625"/>
                <a:gd name="T98" fmla="*/ 857 w 716"/>
                <a:gd name="T99" fmla="*/ 954 h 625"/>
                <a:gd name="T100" fmla="*/ 1001 w 716"/>
                <a:gd name="T101" fmla="*/ 995 h 625"/>
                <a:gd name="T102" fmla="*/ 1078 w 716"/>
                <a:gd name="T103" fmla="*/ 1009 h 625"/>
                <a:gd name="T104" fmla="*/ 1107 w 716"/>
                <a:gd name="T105" fmla="*/ 995 h 625"/>
                <a:gd name="T106" fmla="*/ 1164 w 716"/>
                <a:gd name="T107" fmla="*/ 954 h 625"/>
                <a:gd name="T108" fmla="*/ 1243 w 716"/>
                <a:gd name="T109" fmla="*/ 889 h 625"/>
                <a:gd name="T110" fmla="*/ 1164 w 716"/>
                <a:gd name="T111" fmla="*/ 805 h 625"/>
                <a:gd name="T112" fmla="*/ 1184 w 716"/>
                <a:gd name="T113" fmla="*/ 742 h 625"/>
                <a:gd name="T114" fmla="*/ 1184 w 716"/>
                <a:gd name="T115" fmla="*/ 676 h 625"/>
                <a:gd name="T116" fmla="*/ 1156 w 716"/>
                <a:gd name="T117" fmla="*/ 631 h 625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16"/>
                <a:gd name="T178" fmla="*/ 0 h 625"/>
                <a:gd name="T179" fmla="*/ 716 w 716"/>
                <a:gd name="T180" fmla="*/ 625 h 625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16" h="625">
                  <a:moveTo>
                    <a:pt x="632" y="354"/>
                  </a:moveTo>
                  <a:lnTo>
                    <a:pt x="606" y="345"/>
                  </a:lnTo>
                  <a:lnTo>
                    <a:pt x="584" y="354"/>
                  </a:lnTo>
                  <a:lnTo>
                    <a:pt x="590" y="336"/>
                  </a:lnTo>
                  <a:lnTo>
                    <a:pt x="611" y="313"/>
                  </a:lnTo>
                  <a:lnTo>
                    <a:pt x="616" y="299"/>
                  </a:lnTo>
                  <a:lnTo>
                    <a:pt x="632" y="290"/>
                  </a:lnTo>
                  <a:lnTo>
                    <a:pt x="637" y="271"/>
                  </a:lnTo>
                  <a:lnTo>
                    <a:pt x="658" y="267"/>
                  </a:lnTo>
                  <a:lnTo>
                    <a:pt x="679" y="258"/>
                  </a:lnTo>
                  <a:lnTo>
                    <a:pt x="690" y="207"/>
                  </a:lnTo>
                  <a:lnTo>
                    <a:pt x="695" y="184"/>
                  </a:lnTo>
                  <a:lnTo>
                    <a:pt x="716" y="166"/>
                  </a:lnTo>
                  <a:lnTo>
                    <a:pt x="684" y="156"/>
                  </a:lnTo>
                  <a:lnTo>
                    <a:pt x="647" y="147"/>
                  </a:lnTo>
                  <a:lnTo>
                    <a:pt x="632" y="143"/>
                  </a:lnTo>
                  <a:lnTo>
                    <a:pt x="616" y="124"/>
                  </a:lnTo>
                  <a:lnTo>
                    <a:pt x="579" y="120"/>
                  </a:lnTo>
                  <a:lnTo>
                    <a:pt x="543" y="97"/>
                  </a:lnTo>
                  <a:lnTo>
                    <a:pt x="532" y="78"/>
                  </a:lnTo>
                  <a:lnTo>
                    <a:pt x="506" y="83"/>
                  </a:lnTo>
                  <a:lnTo>
                    <a:pt x="506" y="65"/>
                  </a:lnTo>
                  <a:lnTo>
                    <a:pt x="479" y="55"/>
                  </a:lnTo>
                  <a:lnTo>
                    <a:pt x="479" y="51"/>
                  </a:lnTo>
                  <a:lnTo>
                    <a:pt x="458" y="42"/>
                  </a:lnTo>
                  <a:lnTo>
                    <a:pt x="443" y="28"/>
                  </a:lnTo>
                  <a:lnTo>
                    <a:pt x="426" y="9"/>
                  </a:lnTo>
                  <a:lnTo>
                    <a:pt x="416" y="0"/>
                  </a:lnTo>
                  <a:lnTo>
                    <a:pt x="389" y="5"/>
                  </a:lnTo>
                  <a:lnTo>
                    <a:pt x="374" y="14"/>
                  </a:lnTo>
                  <a:lnTo>
                    <a:pt x="363" y="51"/>
                  </a:lnTo>
                  <a:lnTo>
                    <a:pt x="353" y="60"/>
                  </a:lnTo>
                  <a:lnTo>
                    <a:pt x="337" y="69"/>
                  </a:lnTo>
                  <a:lnTo>
                    <a:pt x="306" y="78"/>
                  </a:lnTo>
                  <a:lnTo>
                    <a:pt x="290" y="83"/>
                  </a:lnTo>
                  <a:lnTo>
                    <a:pt x="285" y="97"/>
                  </a:lnTo>
                  <a:lnTo>
                    <a:pt x="279" y="106"/>
                  </a:lnTo>
                  <a:lnTo>
                    <a:pt x="258" y="106"/>
                  </a:lnTo>
                  <a:lnTo>
                    <a:pt x="226" y="97"/>
                  </a:lnTo>
                  <a:lnTo>
                    <a:pt x="216" y="92"/>
                  </a:lnTo>
                  <a:lnTo>
                    <a:pt x="205" y="83"/>
                  </a:lnTo>
                  <a:lnTo>
                    <a:pt x="168" y="83"/>
                  </a:lnTo>
                  <a:lnTo>
                    <a:pt x="185" y="115"/>
                  </a:lnTo>
                  <a:lnTo>
                    <a:pt x="190" y="147"/>
                  </a:lnTo>
                  <a:lnTo>
                    <a:pt x="158" y="143"/>
                  </a:lnTo>
                  <a:lnTo>
                    <a:pt x="132" y="138"/>
                  </a:lnTo>
                  <a:lnTo>
                    <a:pt x="121" y="143"/>
                  </a:lnTo>
                  <a:lnTo>
                    <a:pt x="111" y="133"/>
                  </a:lnTo>
                  <a:lnTo>
                    <a:pt x="95" y="120"/>
                  </a:lnTo>
                  <a:lnTo>
                    <a:pt x="79" y="120"/>
                  </a:lnTo>
                  <a:lnTo>
                    <a:pt x="68" y="124"/>
                  </a:lnTo>
                  <a:lnTo>
                    <a:pt x="53" y="124"/>
                  </a:lnTo>
                  <a:lnTo>
                    <a:pt x="21" y="124"/>
                  </a:lnTo>
                  <a:lnTo>
                    <a:pt x="5" y="133"/>
                  </a:lnTo>
                  <a:lnTo>
                    <a:pt x="0" y="138"/>
                  </a:lnTo>
                  <a:lnTo>
                    <a:pt x="5" y="143"/>
                  </a:lnTo>
                  <a:lnTo>
                    <a:pt x="31" y="156"/>
                  </a:lnTo>
                  <a:lnTo>
                    <a:pt x="16" y="156"/>
                  </a:lnTo>
                  <a:lnTo>
                    <a:pt x="11" y="161"/>
                  </a:lnTo>
                  <a:lnTo>
                    <a:pt x="11" y="166"/>
                  </a:lnTo>
                  <a:lnTo>
                    <a:pt x="16" y="175"/>
                  </a:lnTo>
                  <a:lnTo>
                    <a:pt x="26" y="180"/>
                  </a:lnTo>
                  <a:lnTo>
                    <a:pt x="48" y="184"/>
                  </a:lnTo>
                  <a:lnTo>
                    <a:pt x="68" y="189"/>
                  </a:lnTo>
                  <a:lnTo>
                    <a:pt x="85" y="202"/>
                  </a:lnTo>
                  <a:lnTo>
                    <a:pt x="100" y="212"/>
                  </a:lnTo>
                  <a:lnTo>
                    <a:pt x="116" y="216"/>
                  </a:lnTo>
                  <a:lnTo>
                    <a:pt x="121" y="230"/>
                  </a:lnTo>
                  <a:lnTo>
                    <a:pt x="137" y="244"/>
                  </a:lnTo>
                  <a:lnTo>
                    <a:pt x="132" y="258"/>
                  </a:lnTo>
                  <a:lnTo>
                    <a:pt x="153" y="295"/>
                  </a:lnTo>
                  <a:lnTo>
                    <a:pt x="168" y="308"/>
                  </a:lnTo>
                  <a:lnTo>
                    <a:pt x="179" y="322"/>
                  </a:lnTo>
                  <a:lnTo>
                    <a:pt x="174" y="336"/>
                  </a:lnTo>
                  <a:lnTo>
                    <a:pt x="158" y="340"/>
                  </a:lnTo>
                  <a:lnTo>
                    <a:pt x="185" y="368"/>
                  </a:lnTo>
                  <a:lnTo>
                    <a:pt x="168" y="363"/>
                  </a:lnTo>
                  <a:lnTo>
                    <a:pt x="148" y="446"/>
                  </a:lnTo>
                  <a:lnTo>
                    <a:pt x="126" y="487"/>
                  </a:lnTo>
                  <a:lnTo>
                    <a:pt x="111" y="501"/>
                  </a:lnTo>
                  <a:lnTo>
                    <a:pt x="90" y="506"/>
                  </a:lnTo>
                  <a:lnTo>
                    <a:pt x="100" y="511"/>
                  </a:lnTo>
                  <a:lnTo>
                    <a:pt x="132" y="534"/>
                  </a:lnTo>
                  <a:lnTo>
                    <a:pt x="153" y="552"/>
                  </a:lnTo>
                  <a:lnTo>
                    <a:pt x="174" y="556"/>
                  </a:lnTo>
                  <a:lnTo>
                    <a:pt x="200" y="570"/>
                  </a:lnTo>
                  <a:lnTo>
                    <a:pt x="211" y="584"/>
                  </a:lnTo>
                  <a:lnTo>
                    <a:pt x="248" y="589"/>
                  </a:lnTo>
                  <a:lnTo>
                    <a:pt x="290" y="593"/>
                  </a:lnTo>
                  <a:lnTo>
                    <a:pt x="326" y="607"/>
                  </a:lnTo>
                  <a:lnTo>
                    <a:pt x="363" y="616"/>
                  </a:lnTo>
                  <a:lnTo>
                    <a:pt x="379" y="625"/>
                  </a:lnTo>
                  <a:lnTo>
                    <a:pt x="395" y="621"/>
                  </a:lnTo>
                  <a:lnTo>
                    <a:pt x="400" y="612"/>
                  </a:lnTo>
                  <a:lnTo>
                    <a:pt x="389" y="593"/>
                  </a:lnTo>
                  <a:lnTo>
                    <a:pt x="395" y="570"/>
                  </a:lnTo>
                  <a:lnTo>
                    <a:pt x="406" y="556"/>
                  </a:lnTo>
                  <a:lnTo>
                    <a:pt x="426" y="543"/>
                  </a:lnTo>
                  <a:lnTo>
                    <a:pt x="448" y="534"/>
                  </a:lnTo>
                  <a:lnTo>
                    <a:pt x="469" y="534"/>
                  </a:lnTo>
                  <a:lnTo>
                    <a:pt x="526" y="547"/>
                  </a:lnTo>
                  <a:lnTo>
                    <a:pt x="548" y="556"/>
                  </a:lnTo>
                  <a:lnTo>
                    <a:pt x="569" y="566"/>
                  </a:lnTo>
                  <a:lnTo>
                    <a:pt x="590" y="566"/>
                  </a:lnTo>
                  <a:lnTo>
                    <a:pt x="600" y="561"/>
                  </a:lnTo>
                  <a:lnTo>
                    <a:pt x="606" y="556"/>
                  </a:lnTo>
                  <a:lnTo>
                    <a:pt x="611" y="552"/>
                  </a:lnTo>
                  <a:lnTo>
                    <a:pt x="637" y="534"/>
                  </a:lnTo>
                  <a:lnTo>
                    <a:pt x="669" y="520"/>
                  </a:lnTo>
                  <a:lnTo>
                    <a:pt x="679" y="497"/>
                  </a:lnTo>
                  <a:lnTo>
                    <a:pt x="632" y="478"/>
                  </a:lnTo>
                  <a:lnTo>
                    <a:pt x="637" y="451"/>
                  </a:lnTo>
                  <a:lnTo>
                    <a:pt x="621" y="428"/>
                  </a:lnTo>
                  <a:lnTo>
                    <a:pt x="647" y="414"/>
                  </a:lnTo>
                  <a:lnTo>
                    <a:pt x="637" y="377"/>
                  </a:lnTo>
                  <a:lnTo>
                    <a:pt x="647" y="377"/>
                  </a:lnTo>
                  <a:lnTo>
                    <a:pt x="637" y="363"/>
                  </a:lnTo>
                  <a:lnTo>
                    <a:pt x="632" y="354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cs-CZ"/>
            </a:p>
          </p:txBody>
        </p:sp>
        <p:sp>
          <p:nvSpPr>
            <p:cNvPr id="7226" name="Freeform 193"/>
            <p:cNvSpPr>
              <a:spLocks noEditPoints="1"/>
            </p:cNvSpPr>
            <p:nvPr/>
          </p:nvSpPr>
          <p:spPr bwMode="auto">
            <a:xfrm>
              <a:off x="2766" y="2112"/>
              <a:ext cx="757" cy="661"/>
            </a:xfrm>
            <a:custGeom>
              <a:avLst/>
              <a:gdLst>
                <a:gd name="T0" fmla="*/ 0 w 3169"/>
                <a:gd name="T1" fmla="*/ 0 h 2769"/>
                <a:gd name="T2" fmla="*/ 0 w 3169"/>
                <a:gd name="T3" fmla="*/ 0 h 2769"/>
                <a:gd name="T4" fmla="*/ 0 w 3169"/>
                <a:gd name="T5" fmla="*/ 0 h 2769"/>
                <a:gd name="T6" fmla="*/ 0 w 3169"/>
                <a:gd name="T7" fmla="*/ 0 h 2769"/>
                <a:gd name="T8" fmla="*/ 0 w 3169"/>
                <a:gd name="T9" fmla="*/ 0 h 2769"/>
                <a:gd name="T10" fmla="*/ 0 w 3169"/>
                <a:gd name="T11" fmla="*/ 0 h 2769"/>
                <a:gd name="T12" fmla="*/ 0 w 3169"/>
                <a:gd name="T13" fmla="*/ 0 h 2769"/>
                <a:gd name="T14" fmla="*/ 0 w 3169"/>
                <a:gd name="T15" fmla="*/ 0 h 2769"/>
                <a:gd name="T16" fmla="*/ 0 w 3169"/>
                <a:gd name="T17" fmla="*/ 0 h 2769"/>
                <a:gd name="T18" fmla="*/ 0 w 3169"/>
                <a:gd name="T19" fmla="*/ 0 h 2769"/>
                <a:gd name="T20" fmla="*/ 0 w 3169"/>
                <a:gd name="T21" fmla="*/ 0 h 2769"/>
                <a:gd name="T22" fmla="*/ 0 w 3169"/>
                <a:gd name="T23" fmla="*/ 0 h 2769"/>
                <a:gd name="T24" fmla="*/ 0 w 3169"/>
                <a:gd name="T25" fmla="*/ 0 h 2769"/>
                <a:gd name="T26" fmla="*/ 0 w 3169"/>
                <a:gd name="T27" fmla="*/ 0 h 2769"/>
                <a:gd name="T28" fmla="*/ 0 w 3169"/>
                <a:gd name="T29" fmla="*/ 0 h 2769"/>
                <a:gd name="T30" fmla="*/ 0 w 3169"/>
                <a:gd name="T31" fmla="*/ 0 h 2769"/>
                <a:gd name="T32" fmla="*/ 0 w 3169"/>
                <a:gd name="T33" fmla="*/ 0 h 2769"/>
                <a:gd name="T34" fmla="*/ 0 w 3169"/>
                <a:gd name="T35" fmla="*/ 0 h 2769"/>
                <a:gd name="T36" fmla="*/ 0 w 3169"/>
                <a:gd name="T37" fmla="*/ 0 h 2769"/>
                <a:gd name="T38" fmla="*/ 0 w 3169"/>
                <a:gd name="T39" fmla="*/ 0 h 2769"/>
                <a:gd name="T40" fmla="*/ 0 w 3169"/>
                <a:gd name="T41" fmla="*/ 0 h 2769"/>
                <a:gd name="T42" fmla="*/ 0 w 3169"/>
                <a:gd name="T43" fmla="*/ 0 h 2769"/>
                <a:gd name="T44" fmla="*/ 0 w 3169"/>
                <a:gd name="T45" fmla="*/ 0 h 2769"/>
                <a:gd name="T46" fmla="*/ 0 w 3169"/>
                <a:gd name="T47" fmla="*/ 0 h 2769"/>
                <a:gd name="T48" fmla="*/ 0 w 3169"/>
                <a:gd name="T49" fmla="*/ 0 h 2769"/>
                <a:gd name="T50" fmla="*/ 0 w 3169"/>
                <a:gd name="T51" fmla="*/ 0 h 2769"/>
                <a:gd name="T52" fmla="*/ 0 w 3169"/>
                <a:gd name="T53" fmla="*/ 0 h 2769"/>
                <a:gd name="T54" fmla="*/ 0 w 3169"/>
                <a:gd name="T55" fmla="*/ 0 h 2769"/>
                <a:gd name="T56" fmla="*/ 0 w 3169"/>
                <a:gd name="T57" fmla="*/ 0 h 2769"/>
                <a:gd name="T58" fmla="*/ 0 w 3169"/>
                <a:gd name="T59" fmla="*/ 0 h 2769"/>
                <a:gd name="T60" fmla="*/ 0 w 3169"/>
                <a:gd name="T61" fmla="*/ 0 h 2769"/>
                <a:gd name="T62" fmla="*/ 0 w 3169"/>
                <a:gd name="T63" fmla="*/ 0 h 2769"/>
                <a:gd name="T64" fmla="*/ 0 w 3169"/>
                <a:gd name="T65" fmla="*/ 0 h 2769"/>
                <a:gd name="T66" fmla="*/ 0 w 3169"/>
                <a:gd name="T67" fmla="*/ 0 h 2769"/>
                <a:gd name="T68" fmla="*/ 0 w 3169"/>
                <a:gd name="T69" fmla="*/ 0 h 2769"/>
                <a:gd name="T70" fmla="*/ 0 w 3169"/>
                <a:gd name="T71" fmla="*/ 0 h 2769"/>
                <a:gd name="T72" fmla="*/ 0 w 3169"/>
                <a:gd name="T73" fmla="*/ 0 h 2769"/>
                <a:gd name="T74" fmla="*/ 0 w 3169"/>
                <a:gd name="T75" fmla="*/ 0 h 2769"/>
                <a:gd name="T76" fmla="*/ 0 w 3169"/>
                <a:gd name="T77" fmla="*/ 0 h 2769"/>
                <a:gd name="T78" fmla="*/ 0 w 3169"/>
                <a:gd name="T79" fmla="*/ 0 h 2769"/>
                <a:gd name="T80" fmla="*/ 0 w 3169"/>
                <a:gd name="T81" fmla="*/ 0 h 2769"/>
                <a:gd name="T82" fmla="*/ 0 w 3169"/>
                <a:gd name="T83" fmla="*/ 0 h 2769"/>
                <a:gd name="T84" fmla="*/ 0 w 3169"/>
                <a:gd name="T85" fmla="*/ 0 h 2769"/>
                <a:gd name="T86" fmla="*/ 0 w 3169"/>
                <a:gd name="T87" fmla="*/ 0 h 2769"/>
                <a:gd name="T88" fmla="*/ 0 w 3169"/>
                <a:gd name="T89" fmla="*/ 0 h 2769"/>
                <a:gd name="T90" fmla="*/ 0 w 3169"/>
                <a:gd name="T91" fmla="*/ 0 h 2769"/>
                <a:gd name="T92" fmla="*/ 0 w 3169"/>
                <a:gd name="T93" fmla="*/ 0 h 2769"/>
                <a:gd name="T94" fmla="*/ 0 w 3169"/>
                <a:gd name="T95" fmla="*/ 0 h 2769"/>
                <a:gd name="T96" fmla="*/ 0 w 3169"/>
                <a:gd name="T97" fmla="*/ 0 h 2769"/>
                <a:gd name="T98" fmla="*/ 0 w 3169"/>
                <a:gd name="T99" fmla="*/ 0 h 2769"/>
                <a:gd name="T100" fmla="*/ 0 w 3169"/>
                <a:gd name="T101" fmla="*/ 0 h 2769"/>
                <a:gd name="T102" fmla="*/ 0 w 3169"/>
                <a:gd name="T103" fmla="*/ 0 h 2769"/>
                <a:gd name="T104" fmla="*/ 0 w 3169"/>
                <a:gd name="T105" fmla="*/ 0 h 2769"/>
                <a:gd name="T106" fmla="*/ 0 w 3169"/>
                <a:gd name="T107" fmla="*/ 0 h 2769"/>
                <a:gd name="T108" fmla="*/ 0 w 3169"/>
                <a:gd name="T109" fmla="*/ 0 h 2769"/>
                <a:gd name="T110" fmla="*/ 0 w 3169"/>
                <a:gd name="T111" fmla="*/ 0 h 2769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3169"/>
                <a:gd name="T169" fmla="*/ 0 h 2769"/>
                <a:gd name="T170" fmla="*/ 3169 w 3169"/>
                <a:gd name="T171" fmla="*/ 2769 h 2769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3169" h="2769">
                  <a:moveTo>
                    <a:pt x="2782" y="1570"/>
                  </a:moveTo>
                  <a:lnTo>
                    <a:pt x="2787" y="1574"/>
                  </a:lnTo>
                  <a:lnTo>
                    <a:pt x="2671" y="1534"/>
                  </a:lnTo>
                  <a:lnTo>
                    <a:pt x="2677" y="1533"/>
                  </a:lnTo>
                  <a:lnTo>
                    <a:pt x="2583" y="1574"/>
                  </a:lnTo>
                  <a:cubicBezTo>
                    <a:pt x="2580" y="1575"/>
                    <a:pt x="2577" y="1575"/>
                    <a:pt x="2575" y="1573"/>
                  </a:cubicBezTo>
                  <a:cubicBezTo>
                    <a:pt x="2572" y="1570"/>
                    <a:pt x="2572" y="1567"/>
                    <a:pt x="2572" y="1564"/>
                  </a:cubicBezTo>
                  <a:lnTo>
                    <a:pt x="2597" y="1483"/>
                  </a:lnTo>
                  <a:cubicBezTo>
                    <a:pt x="2598" y="1482"/>
                    <a:pt x="2598" y="1481"/>
                    <a:pt x="2599" y="1480"/>
                  </a:cubicBezTo>
                  <a:lnTo>
                    <a:pt x="2690" y="1379"/>
                  </a:lnTo>
                  <a:lnTo>
                    <a:pt x="2688" y="1381"/>
                  </a:lnTo>
                  <a:lnTo>
                    <a:pt x="2713" y="1321"/>
                  </a:lnTo>
                  <a:cubicBezTo>
                    <a:pt x="2714" y="1319"/>
                    <a:pt x="2715" y="1318"/>
                    <a:pt x="2716" y="1317"/>
                  </a:cubicBezTo>
                  <a:lnTo>
                    <a:pt x="2785" y="1276"/>
                  </a:lnTo>
                  <a:lnTo>
                    <a:pt x="2781" y="1281"/>
                  </a:lnTo>
                  <a:lnTo>
                    <a:pt x="2803" y="1200"/>
                  </a:lnTo>
                  <a:cubicBezTo>
                    <a:pt x="2804" y="1197"/>
                    <a:pt x="2807" y="1195"/>
                    <a:pt x="2809" y="1195"/>
                  </a:cubicBezTo>
                  <a:lnTo>
                    <a:pt x="2903" y="1174"/>
                  </a:lnTo>
                  <a:lnTo>
                    <a:pt x="2901" y="1175"/>
                  </a:lnTo>
                  <a:lnTo>
                    <a:pt x="2995" y="1134"/>
                  </a:lnTo>
                  <a:lnTo>
                    <a:pt x="2990" y="1140"/>
                  </a:lnTo>
                  <a:lnTo>
                    <a:pt x="3037" y="917"/>
                  </a:lnTo>
                  <a:lnTo>
                    <a:pt x="3059" y="816"/>
                  </a:lnTo>
                  <a:cubicBezTo>
                    <a:pt x="3059" y="814"/>
                    <a:pt x="3060" y="813"/>
                    <a:pt x="3062" y="812"/>
                  </a:cubicBezTo>
                  <a:lnTo>
                    <a:pt x="3155" y="731"/>
                  </a:lnTo>
                  <a:lnTo>
                    <a:pt x="3158" y="745"/>
                  </a:lnTo>
                  <a:lnTo>
                    <a:pt x="3018" y="704"/>
                  </a:lnTo>
                  <a:lnTo>
                    <a:pt x="2856" y="664"/>
                  </a:lnTo>
                  <a:lnTo>
                    <a:pt x="2787" y="643"/>
                  </a:lnTo>
                  <a:cubicBezTo>
                    <a:pt x="2785" y="643"/>
                    <a:pt x="2784" y="642"/>
                    <a:pt x="2783" y="641"/>
                  </a:cubicBezTo>
                  <a:lnTo>
                    <a:pt x="2714" y="560"/>
                  </a:lnTo>
                  <a:lnTo>
                    <a:pt x="2719" y="563"/>
                  </a:lnTo>
                  <a:lnTo>
                    <a:pt x="2557" y="543"/>
                  </a:lnTo>
                  <a:cubicBezTo>
                    <a:pt x="2556" y="542"/>
                    <a:pt x="2555" y="542"/>
                    <a:pt x="2554" y="541"/>
                  </a:cubicBezTo>
                  <a:lnTo>
                    <a:pt x="2392" y="440"/>
                  </a:lnTo>
                  <a:cubicBezTo>
                    <a:pt x="2390" y="440"/>
                    <a:pt x="2390" y="439"/>
                    <a:pt x="2389" y="437"/>
                  </a:cubicBezTo>
                  <a:lnTo>
                    <a:pt x="2342" y="356"/>
                  </a:lnTo>
                  <a:lnTo>
                    <a:pt x="2350" y="360"/>
                  </a:lnTo>
                  <a:lnTo>
                    <a:pt x="2235" y="381"/>
                  </a:lnTo>
                  <a:cubicBezTo>
                    <a:pt x="2233" y="381"/>
                    <a:pt x="2230" y="380"/>
                    <a:pt x="2228" y="379"/>
                  </a:cubicBezTo>
                  <a:cubicBezTo>
                    <a:pt x="2227" y="377"/>
                    <a:pt x="2226" y="375"/>
                    <a:pt x="2226" y="373"/>
                  </a:cubicBezTo>
                  <a:lnTo>
                    <a:pt x="2226" y="292"/>
                  </a:lnTo>
                  <a:lnTo>
                    <a:pt x="2231" y="299"/>
                  </a:lnTo>
                  <a:lnTo>
                    <a:pt x="2115" y="259"/>
                  </a:lnTo>
                  <a:cubicBezTo>
                    <a:pt x="2112" y="258"/>
                    <a:pt x="2110" y="255"/>
                    <a:pt x="2110" y="251"/>
                  </a:cubicBezTo>
                  <a:lnTo>
                    <a:pt x="2110" y="231"/>
                  </a:lnTo>
                  <a:lnTo>
                    <a:pt x="2115" y="238"/>
                  </a:lnTo>
                  <a:lnTo>
                    <a:pt x="2021" y="198"/>
                  </a:lnTo>
                  <a:cubicBezTo>
                    <a:pt x="2021" y="198"/>
                    <a:pt x="2020" y="197"/>
                    <a:pt x="2019" y="197"/>
                  </a:cubicBezTo>
                  <a:lnTo>
                    <a:pt x="1950" y="136"/>
                  </a:lnTo>
                  <a:lnTo>
                    <a:pt x="1878" y="54"/>
                  </a:lnTo>
                  <a:lnTo>
                    <a:pt x="1835" y="14"/>
                  </a:lnTo>
                  <a:lnTo>
                    <a:pt x="1842" y="16"/>
                  </a:lnTo>
                  <a:lnTo>
                    <a:pt x="1723" y="37"/>
                  </a:lnTo>
                  <a:lnTo>
                    <a:pt x="1726" y="36"/>
                  </a:lnTo>
                  <a:lnTo>
                    <a:pt x="1657" y="76"/>
                  </a:lnTo>
                  <a:lnTo>
                    <a:pt x="1661" y="71"/>
                  </a:lnTo>
                  <a:lnTo>
                    <a:pt x="1614" y="233"/>
                  </a:lnTo>
                  <a:cubicBezTo>
                    <a:pt x="1614" y="235"/>
                    <a:pt x="1613" y="236"/>
                    <a:pt x="1612" y="237"/>
                  </a:cubicBezTo>
                  <a:lnTo>
                    <a:pt x="1565" y="278"/>
                  </a:lnTo>
                  <a:cubicBezTo>
                    <a:pt x="1565" y="278"/>
                    <a:pt x="1564" y="278"/>
                    <a:pt x="1564" y="278"/>
                  </a:cubicBezTo>
                  <a:lnTo>
                    <a:pt x="1495" y="319"/>
                  </a:lnTo>
                  <a:cubicBezTo>
                    <a:pt x="1494" y="319"/>
                    <a:pt x="1494" y="319"/>
                    <a:pt x="1493" y="320"/>
                  </a:cubicBezTo>
                  <a:lnTo>
                    <a:pt x="1356" y="360"/>
                  </a:lnTo>
                  <a:lnTo>
                    <a:pt x="1284" y="380"/>
                  </a:lnTo>
                  <a:lnTo>
                    <a:pt x="1289" y="375"/>
                  </a:lnTo>
                  <a:lnTo>
                    <a:pt x="1267" y="436"/>
                  </a:lnTo>
                  <a:cubicBezTo>
                    <a:pt x="1267" y="437"/>
                    <a:pt x="1267" y="437"/>
                    <a:pt x="1267" y="438"/>
                  </a:cubicBezTo>
                  <a:lnTo>
                    <a:pt x="1242" y="478"/>
                  </a:lnTo>
                  <a:cubicBezTo>
                    <a:pt x="1241" y="480"/>
                    <a:pt x="1238" y="482"/>
                    <a:pt x="1235" y="482"/>
                  </a:cubicBezTo>
                  <a:lnTo>
                    <a:pt x="1144" y="482"/>
                  </a:lnTo>
                  <a:cubicBezTo>
                    <a:pt x="1144" y="482"/>
                    <a:pt x="1143" y="482"/>
                    <a:pt x="1142" y="482"/>
                  </a:cubicBezTo>
                  <a:lnTo>
                    <a:pt x="1002" y="441"/>
                  </a:lnTo>
                  <a:lnTo>
                    <a:pt x="954" y="421"/>
                  </a:lnTo>
                  <a:cubicBezTo>
                    <a:pt x="953" y="420"/>
                    <a:pt x="953" y="420"/>
                    <a:pt x="952" y="419"/>
                  </a:cubicBezTo>
                  <a:lnTo>
                    <a:pt x="905" y="379"/>
                  </a:lnTo>
                  <a:lnTo>
                    <a:pt x="911" y="381"/>
                  </a:lnTo>
                  <a:lnTo>
                    <a:pt x="748" y="381"/>
                  </a:lnTo>
                  <a:lnTo>
                    <a:pt x="755" y="369"/>
                  </a:lnTo>
                  <a:lnTo>
                    <a:pt x="827" y="511"/>
                  </a:lnTo>
                  <a:cubicBezTo>
                    <a:pt x="827" y="511"/>
                    <a:pt x="828" y="512"/>
                    <a:pt x="828" y="513"/>
                  </a:cubicBezTo>
                  <a:lnTo>
                    <a:pt x="850" y="655"/>
                  </a:lnTo>
                  <a:cubicBezTo>
                    <a:pt x="850" y="657"/>
                    <a:pt x="849" y="660"/>
                    <a:pt x="848" y="662"/>
                  </a:cubicBezTo>
                  <a:cubicBezTo>
                    <a:pt x="846" y="663"/>
                    <a:pt x="843" y="664"/>
                    <a:pt x="841" y="664"/>
                  </a:cubicBezTo>
                  <a:lnTo>
                    <a:pt x="703" y="644"/>
                  </a:lnTo>
                  <a:lnTo>
                    <a:pt x="587" y="623"/>
                  </a:lnTo>
                  <a:lnTo>
                    <a:pt x="592" y="623"/>
                  </a:lnTo>
                  <a:lnTo>
                    <a:pt x="545" y="643"/>
                  </a:lnTo>
                  <a:cubicBezTo>
                    <a:pt x="542" y="644"/>
                    <a:pt x="539" y="644"/>
                    <a:pt x="537" y="642"/>
                  </a:cubicBezTo>
                  <a:lnTo>
                    <a:pt x="490" y="601"/>
                  </a:lnTo>
                  <a:lnTo>
                    <a:pt x="421" y="541"/>
                  </a:lnTo>
                  <a:lnTo>
                    <a:pt x="427" y="543"/>
                  </a:lnTo>
                  <a:lnTo>
                    <a:pt x="355" y="543"/>
                  </a:lnTo>
                  <a:lnTo>
                    <a:pt x="358" y="542"/>
                  </a:lnTo>
                  <a:lnTo>
                    <a:pt x="311" y="562"/>
                  </a:lnTo>
                  <a:cubicBezTo>
                    <a:pt x="310" y="563"/>
                    <a:pt x="309" y="563"/>
                    <a:pt x="308" y="563"/>
                  </a:cubicBezTo>
                  <a:lnTo>
                    <a:pt x="240" y="563"/>
                  </a:lnTo>
                  <a:lnTo>
                    <a:pt x="102" y="563"/>
                  </a:lnTo>
                  <a:lnTo>
                    <a:pt x="106" y="562"/>
                  </a:lnTo>
                  <a:lnTo>
                    <a:pt x="34" y="602"/>
                  </a:lnTo>
                  <a:lnTo>
                    <a:pt x="36" y="601"/>
                  </a:lnTo>
                  <a:lnTo>
                    <a:pt x="14" y="621"/>
                  </a:lnTo>
                  <a:lnTo>
                    <a:pt x="14" y="610"/>
                  </a:lnTo>
                  <a:lnTo>
                    <a:pt x="36" y="630"/>
                  </a:lnTo>
                  <a:lnTo>
                    <a:pt x="34" y="629"/>
                  </a:lnTo>
                  <a:lnTo>
                    <a:pt x="150" y="689"/>
                  </a:lnTo>
                  <a:cubicBezTo>
                    <a:pt x="153" y="691"/>
                    <a:pt x="155" y="695"/>
                    <a:pt x="154" y="698"/>
                  </a:cubicBezTo>
                  <a:cubicBezTo>
                    <a:pt x="153" y="702"/>
                    <a:pt x="150" y="704"/>
                    <a:pt x="146" y="704"/>
                  </a:cubicBezTo>
                  <a:lnTo>
                    <a:pt x="77" y="704"/>
                  </a:lnTo>
                  <a:lnTo>
                    <a:pt x="83" y="702"/>
                  </a:lnTo>
                  <a:lnTo>
                    <a:pt x="61" y="723"/>
                  </a:lnTo>
                  <a:lnTo>
                    <a:pt x="63" y="717"/>
                  </a:lnTo>
                  <a:lnTo>
                    <a:pt x="63" y="737"/>
                  </a:lnTo>
                  <a:lnTo>
                    <a:pt x="62" y="733"/>
                  </a:lnTo>
                  <a:lnTo>
                    <a:pt x="84" y="774"/>
                  </a:lnTo>
                  <a:lnTo>
                    <a:pt x="80" y="770"/>
                  </a:lnTo>
                  <a:lnTo>
                    <a:pt x="127" y="790"/>
                  </a:lnTo>
                  <a:lnTo>
                    <a:pt x="126" y="790"/>
                  </a:lnTo>
                  <a:lnTo>
                    <a:pt x="219" y="810"/>
                  </a:lnTo>
                  <a:lnTo>
                    <a:pt x="310" y="830"/>
                  </a:lnTo>
                  <a:cubicBezTo>
                    <a:pt x="311" y="831"/>
                    <a:pt x="312" y="831"/>
                    <a:pt x="313" y="832"/>
                  </a:cubicBezTo>
                  <a:lnTo>
                    <a:pt x="385" y="893"/>
                  </a:lnTo>
                  <a:lnTo>
                    <a:pt x="384" y="892"/>
                  </a:lnTo>
                  <a:lnTo>
                    <a:pt x="453" y="932"/>
                  </a:lnTo>
                  <a:lnTo>
                    <a:pt x="451" y="932"/>
                  </a:lnTo>
                  <a:lnTo>
                    <a:pt x="520" y="952"/>
                  </a:lnTo>
                  <a:cubicBezTo>
                    <a:pt x="522" y="953"/>
                    <a:pt x="524" y="954"/>
                    <a:pt x="525" y="957"/>
                  </a:cubicBezTo>
                  <a:lnTo>
                    <a:pt x="549" y="1017"/>
                  </a:lnTo>
                  <a:lnTo>
                    <a:pt x="547" y="1014"/>
                  </a:lnTo>
                  <a:lnTo>
                    <a:pt x="616" y="1075"/>
                  </a:lnTo>
                  <a:cubicBezTo>
                    <a:pt x="619" y="1077"/>
                    <a:pt x="619" y="1081"/>
                    <a:pt x="618" y="1084"/>
                  </a:cubicBezTo>
                  <a:lnTo>
                    <a:pt x="596" y="1144"/>
                  </a:lnTo>
                  <a:lnTo>
                    <a:pt x="596" y="1138"/>
                  </a:lnTo>
                  <a:lnTo>
                    <a:pt x="687" y="1300"/>
                  </a:lnTo>
                  <a:lnTo>
                    <a:pt x="685" y="1298"/>
                  </a:lnTo>
                  <a:lnTo>
                    <a:pt x="754" y="1358"/>
                  </a:lnTo>
                  <a:cubicBezTo>
                    <a:pt x="754" y="1359"/>
                    <a:pt x="754" y="1359"/>
                    <a:pt x="755" y="1359"/>
                  </a:cubicBezTo>
                  <a:lnTo>
                    <a:pt x="801" y="1420"/>
                  </a:lnTo>
                  <a:cubicBezTo>
                    <a:pt x="803" y="1422"/>
                    <a:pt x="804" y="1425"/>
                    <a:pt x="803" y="1428"/>
                  </a:cubicBezTo>
                  <a:lnTo>
                    <a:pt x="781" y="1488"/>
                  </a:lnTo>
                  <a:cubicBezTo>
                    <a:pt x="780" y="1491"/>
                    <a:pt x="778" y="1493"/>
                    <a:pt x="775" y="1493"/>
                  </a:cubicBezTo>
                  <a:lnTo>
                    <a:pt x="707" y="1514"/>
                  </a:lnTo>
                  <a:lnTo>
                    <a:pt x="710" y="1500"/>
                  </a:lnTo>
                  <a:lnTo>
                    <a:pt x="826" y="1622"/>
                  </a:lnTo>
                  <a:cubicBezTo>
                    <a:pt x="828" y="1624"/>
                    <a:pt x="829" y="1628"/>
                    <a:pt x="827" y="1631"/>
                  </a:cubicBezTo>
                  <a:cubicBezTo>
                    <a:pt x="825" y="1635"/>
                    <a:pt x="821" y="1636"/>
                    <a:pt x="818" y="1635"/>
                  </a:cubicBezTo>
                  <a:lnTo>
                    <a:pt x="746" y="1615"/>
                  </a:lnTo>
                  <a:lnTo>
                    <a:pt x="756" y="1609"/>
                  </a:lnTo>
                  <a:lnTo>
                    <a:pt x="665" y="1973"/>
                  </a:lnTo>
                  <a:cubicBezTo>
                    <a:pt x="665" y="1974"/>
                    <a:pt x="665" y="1974"/>
                    <a:pt x="665" y="1975"/>
                  </a:cubicBezTo>
                  <a:lnTo>
                    <a:pt x="571" y="2157"/>
                  </a:lnTo>
                  <a:cubicBezTo>
                    <a:pt x="571" y="2158"/>
                    <a:pt x="570" y="2159"/>
                    <a:pt x="569" y="2159"/>
                  </a:cubicBezTo>
                  <a:lnTo>
                    <a:pt x="501" y="2220"/>
                  </a:lnTo>
                  <a:cubicBezTo>
                    <a:pt x="500" y="2221"/>
                    <a:pt x="498" y="2222"/>
                    <a:pt x="497" y="2222"/>
                  </a:cubicBezTo>
                  <a:lnTo>
                    <a:pt x="403" y="2242"/>
                  </a:lnTo>
                  <a:lnTo>
                    <a:pt x="405" y="2227"/>
                  </a:lnTo>
                  <a:lnTo>
                    <a:pt x="452" y="2247"/>
                  </a:lnTo>
                  <a:cubicBezTo>
                    <a:pt x="452" y="2247"/>
                    <a:pt x="453" y="2248"/>
                    <a:pt x="453" y="2248"/>
                  </a:cubicBezTo>
                  <a:lnTo>
                    <a:pt x="593" y="2349"/>
                  </a:lnTo>
                  <a:lnTo>
                    <a:pt x="685" y="2431"/>
                  </a:lnTo>
                  <a:lnTo>
                    <a:pt x="681" y="2429"/>
                  </a:lnTo>
                  <a:lnTo>
                    <a:pt x="775" y="2449"/>
                  </a:lnTo>
                  <a:cubicBezTo>
                    <a:pt x="775" y="2449"/>
                    <a:pt x="776" y="2450"/>
                    <a:pt x="777" y="2450"/>
                  </a:cubicBezTo>
                  <a:lnTo>
                    <a:pt x="892" y="2511"/>
                  </a:lnTo>
                  <a:cubicBezTo>
                    <a:pt x="893" y="2511"/>
                    <a:pt x="894" y="2512"/>
                    <a:pt x="895" y="2513"/>
                  </a:cubicBezTo>
                  <a:lnTo>
                    <a:pt x="942" y="2573"/>
                  </a:lnTo>
                  <a:lnTo>
                    <a:pt x="936" y="2570"/>
                  </a:lnTo>
                  <a:lnTo>
                    <a:pt x="1099" y="2591"/>
                  </a:lnTo>
                  <a:lnTo>
                    <a:pt x="1283" y="2611"/>
                  </a:lnTo>
                  <a:cubicBezTo>
                    <a:pt x="1283" y="2611"/>
                    <a:pt x="1284" y="2611"/>
                    <a:pt x="1285" y="2611"/>
                  </a:cubicBezTo>
                  <a:lnTo>
                    <a:pt x="1447" y="2672"/>
                  </a:lnTo>
                  <a:lnTo>
                    <a:pt x="1608" y="2712"/>
                  </a:lnTo>
                  <a:cubicBezTo>
                    <a:pt x="1609" y="2712"/>
                    <a:pt x="1610" y="2713"/>
                    <a:pt x="1610" y="2713"/>
                  </a:cubicBezTo>
                  <a:lnTo>
                    <a:pt x="1682" y="2753"/>
                  </a:lnTo>
                  <a:lnTo>
                    <a:pt x="1676" y="2753"/>
                  </a:lnTo>
                  <a:lnTo>
                    <a:pt x="1744" y="2733"/>
                  </a:lnTo>
                  <a:lnTo>
                    <a:pt x="1740" y="2736"/>
                  </a:lnTo>
                  <a:lnTo>
                    <a:pt x="1762" y="2696"/>
                  </a:lnTo>
                  <a:lnTo>
                    <a:pt x="1762" y="2704"/>
                  </a:lnTo>
                  <a:lnTo>
                    <a:pt x="1715" y="2623"/>
                  </a:lnTo>
                  <a:cubicBezTo>
                    <a:pt x="1714" y="2621"/>
                    <a:pt x="1714" y="2619"/>
                    <a:pt x="1714" y="2617"/>
                  </a:cubicBezTo>
                  <a:lnTo>
                    <a:pt x="1739" y="2516"/>
                  </a:lnTo>
                  <a:cubicBezTo>
                    <a:pt x="1739" y="2515"/>
                    <a:pt x="1740" y="2514"/>
                    <a:pt x="1740" y="2513"/>
                  </a:cubicBezTo>
                  <a:lnTo>
                    <a:pt x="1787" y="2452"/>
                  </a:lnTo>
                  <a:cubicBezTo>
                    <a:pt x="1788" y="2451"/>
                    <a:pt x="1788" y="2451"/>
                    <a:pt x="1789" y="2450"/>
                  </a:cubicBezTo>
                  <a:lnTo>
                    <a:pt x="1880" y="2390"/>
                  </a:lnTo>
                  <a:cubicBezTo>
                    <a:pt x="1880" y="2389"/>
                    <a:pt x="1881" y="2389"/>
                    <a:pt x="1881" y="2389"/>
                  </a:cubicBezTo>
                  <a:lnTo>
                    <a:pt x="1975" y="2348"/>
                  </a:lnTo>
                  <a:cubicBezTo>
                    <a:pt x="1976" y="2348"/>
                    <a:pt x="1977" y="2348"/>
                    <a:pt x="1978" y="2348"/>
                  </a:cubicBezTo>
                  <a:lnTo>
                    <a:pt x="2071" y="2348"/>
                  </a:lnTo>
                  <a:cubicBezTo>
                    <a:pt x="2072" y="2348"/>
                    <a:pt x="2073" y="2348"/>
                    <a:pt x="2073" y="2348"/>
                  </a:cubicBezTo>
                  <a:lnTo>
                    <a:pt x="2326" y="2409"/>
                  </a:lnTo>
                  <a:cubicBezTo>
                    <a:pt x="2327" y="2409"/>
                    <a:pt x="2327" y="2409"/>
                    <a:pt x="2328" y="2409"/>
                  </a:cubicBezTo>
                  <a:lnTo>
                    <a:pt x="2421" y="2450"/>
                  </a:lnTo>
                  <a:lnTo>
                    <a:pt x="2515" y="2490"/>
                  </a:lnTo>
                  <a:lnTo>
                    <a:pt x="2511" y="2489"/>
                  </a:lnTo>
                  <a:lnTo>
                    <a:pt x="2605" y="2489"/>
                  </a:lnTo>
                  <a:lnTo>
                    <a:pt x="2602" y="2490"/>
                  </a:lnTo>
                  <a:lnTo>
                    <a:pt x="2646" y="2470"/>
                  </a:lnTo>
                  <a:lnTo>
                    <a:pt x="2644" y="2471"/>
                  </a:lnTo>
                  <a:lnTo>
                    <a:pt x="2669" y="2451"/>
                  </a:lnTo>
                  <a:lnTo>
                    <a:pt x="2690" y="2431"/>
                  </a:lnTo>
                  <a:lnTo>
                    <a:pt x="2807" y="2349"/>
                  </a:lnTo>
                  <a:cubicBezTo>
                    <a:pt x="2807" y="2349"/>
                    <a:pt x="2807" y="2349"/>
                    <a:pt x="2808" y="2348"/>
                  </a:cubicBezTo>
                  <a:lnTo>
                    <a:pt x="2948" y="2288"/>
                  </a:lnTo>
                  <a:lnTo>
                    <a:pt x="2944" y="2292"/>
                  </a:lnTo>
                  <a:lnTo>
                    <a:pt x="2991" y="2191"/>
                  </a:lnTo>
                  <a:lnTo>
                    <a:pt x="2995" y="2201"/>
                  </a:lnTo>
                  <a:lnTo>
                    <a:pt x="2786" y="2120"/>
                  </a:lnTo>
                  <a:cubicBezTo>
                    <a:pt x="2783" y="2119"/>
                    <a:pt x="2781" y="2115"/>
                    <a:pt x="2781" y="2112"/>
                  </a:cubicBezTo>
                  <a:lnTo>
                    <a:pt x="2803" y="1990"/>
                  </a:lnTo>
                  <a:lnTo>
                    <a:pt x="2805" y="1996"/>
                  </a:lnTo>
                  <a:lnTo>
                    <a:pt x="2736" y="1895"/>
                  </a:lnTo>
                  <a:cubicBezTo>
                    <a:pt x="2734" y="1893"/>
                    <a:pt x="2734" y="1891"/>
                    <a:pt x="2735" y="1888"/>
                  </a:cubicBezTo>
                  <a:cubicBezTo>
                    <a:pt x="2735" y="1886"/>
                    <a:pt x="2737" y="1884"/>
                    <a:pt x="2739" y="1883"/>
                  </a:cubicBezTo>
                  <a:lnTo>
                    <a:pt x="2854" y="1823"/>
                  </a:lnTo>
                  <a:lnTo>
                    <a:pt x="2850" y="1832"/>
                  </a:lnTo>
                  <a:lnTo>
                    <a:pt x="2803" y="1670"/>
                  </a:lnTo>
                  <a:cubicBezTo>
                    <a:pt x="2803" y="1668"/>
                    <a:pt x="2803" y="1665"/>
                    <a:pt x="2805" y="1663"/>
                  </a:cubicBezTo>
                  <a:cubicBezTo>
                    <a:pt x="2806" y="1661"/>
                    <a:pt x="2809" y="1660"/>
                    <a:pt x="2811" y="1660"/>
                  </a:cubicBezTo>
                  <a:lnTo>
                    <a:pt x="2858" y="1660"/>
                  </a:lnTo>
                  <a:lnTo>
                    <a:pt x="2852" y="1673"/>
                  </a:lnTo>
                  <a:lnTo>
                    <a:pt x="2805" y="1612"/>
                  </a:lnTo>
                  <a:cubicBezTo>
                    <a:pt x="2805" y="1612"/>
                    <a:pt x="2804" y="1611"/>
                    <a:pt x="2804" y="1611"/>
                  </a:cubicBezTo>
                  <a:lnTo>
                    <a:pt x="2782" y="1570"/>
                  </a:lnTo>
                  <a:close/>
                  <a:moveTo>
                    <a:pt x="2818" y="1603"/>
                  </a:moveTo>
                  <a:lnTo>
                    <a:pt x="2818" y="1602"/>
                  </a:lnTo>
                  <a:lnTo>
                    <a:pt x="2864" y="1663"/>
                  </a:lnTo>
                  <a:cubicBezTo>
                    <a:pt x="2866" y="1665"/>
                    <a:pt x="2866" y="1669"/>
                    <a:pt x="2865" y="1671"/>
                  </a:cubicBezTo>
                  <a:cubicBezTo>
                    <a:pt x="2864" y="1674"/>
                    <a:pt x="2861" y="1676"/>
                    <a:pt x="2858" y="1676"/>
                  </a:cubicBezTo>
                  <a:lnTo>
                    <a:pt x="2811" y="1676"/>
                  </a:lnTo>
                  <a:lnTo>
                    <a:pt x="2819" y="1666"/>
                  </a:lnTo>
                  <a:lnTo>
                    <a:pt x="2866" y="1827"/>
                  </a:lnTo>
                  <a:cubicBezTo>
                    <a:pt x="2867" y="1831"/>
                    <a:pt x="2865" y="1835"/>
                    <a:pt x="2862" y="1837"/>
                  </a:cubicBezTo>
                  <a:lnTo>
                    <a:pt x="2746" y="1897"/>
                  </a:lnTo>
                  <a:lnTo>
                    <a:pt x="2749" y="1886"/>
                  </a:lnTo>
                  <a:lnTo>
                    <a:pt x="2818" y="1987"/>
                  </a:lnTo>
                  <a:cubicBezTo>
                    <a:pt x="2819" y="1989"/>
                    <a:pt x="2819" y="1991"/>
                    <a:pt x="2819" y="1993"/>
                  </a:cubicBezTo>
                  <a:lnTo>
                    <a:pt x="2797" y="2114"/>
                  </a:lnTo>
                  <a:lnTo>
                    <a:pt x="2792" y="2105"/>
                  </a:lnTo>
                  <a:lnTo>
                    <a:pt x="3001" y="2186"/>
                  </a:lnTo>
                  <a:cubicBezTo>
                    <a:pt x="3003" y="2187"/>
                    <a:pt x="3005" y="2189"/>
                    <a:pt x="3006" y="2191"/>
                  </a:cubicBezTo>
                  <a:cubicBezTo>
                    <a:pt x="3006" y="2193"/>
                    <a:pt x="3006" y="2195"/>
                    <a:pt x="3005" y="2197"/>
                  </a:cubicBezTo>
                  <a:lnTo>
                    <a:pt x="2959" y="2298"/>
                  </a:lnTo>
                  <a:cubicBezTo>
                    <a:pt x="2958" y="2300"/>
                    <a:pt x="2956" y="2302"/>
                    <a:pt x="2955" y="2302"/>
                  </a:cubicBezTo>
                  <a:lnTo>
                    <a:pt x="2814" y="2363"/>
                  </a:lnTo>
                  <a:lnTo>
                    <a:pt x="2816" y="2362"/>
                  </a:lnTo>
                  <a:lnTo>
                    <a:pt x="2701" y="2443"/>
                  </a:lnTo>
                  <a:lnTo>
                    <a:pt x="2679" y="2463"/>
                  </a:lnTo>
                  <a:lnTo>
                    <a:pt x="2654" y="2483"/>
                  </a:lnTo>
                  <a:cubicBezTo>
                    <a:pt x="2653" y="2484"/>
                    <a:pt x="2653" y="2484"/>
                    <a:pt x="2652" y="2484"/>
                  </a:cubicBezTo>
                  <a:lnTo>
                    <a:pt x="2608" y="2505"/>
                  </a:lnTo>
                  <a:cubicBezTo>
                    <a:pt x="2607" y="2505"/>
                    <a:pt x="2606" y="2505"/>
                    <a:pt x="2605" y="2505"/>
                  </a:cubicBezTo>
                  <a:lnTo>
                    <a:pt x="2511" y="2505"/>
                  </a:lnTo>
                  <a:cubicBezTo>
                    <a:pt x="2510" y="2505"/>
                    <a:pt x="2509" y="2505"/>
                    <a:pt x="2508" y="2505"/>
                  </a:cubicBezTo>
                  <a:lnTo>
                    <a:pt x="2415" y="2464"/>
                  </a:lnTo>
                  <a:lnTo>
                    <a:pt x="2321" y="2424"/>
                  </a:lnTo>
                  <a:lnTo>
                    <a:pt x="2322" y="2424"/>
                  </a:lnTo>
                  <a:lnTo>
                    <a:pt x="2069" y="2364"/>
                  </a:lnTo>
                  <a:lnTo>
                    <a:pt x="2071" y="2364"/>
                  </a:lnTo>
                  <a:lnTo>
                    <a:pt x="1978" y="2364"/>
                  </a:lnTo>
                  <a:lnTo>
                    <a:pt x="1981" y="2363"/>
                  </a:lnTo>
                  <a:lnTo>
                    <a:pt x="1887" y="2404"/>
                  </a:lnTo>
                  <a:lnTo>
                    <a:pt x="1889" y="2403"/>
                  </a:lnTo>
                  <a:lnTo>
                    <a:pt x="1798" y="2464"/>
                  </a:lnTo>
                  <a:lnTo>
                    <a:pt x="1800" y="2462"/>
                  </a:lnTo>
                  <a:lnTo>
                    <a:pt x="1753" y="2523"/>
                  </a:lnTo>
                  <a:lnTo>
                    <a:pt x="1755" y="2520"/>
                  </a:lnTo>
                  <a:lnTo>
                    <a:pt x="1730" y="2621"/>
                  </a:lnTo>
                  <a:lnTo>
                    <a:pt x="1729" y="2615"/>
                  </a:lnTo>
                  <a:lnTo>
                    <a:pt x="1776" y="2696"/>
                  </a:lnTo>
                  <a:cubicBezTo>
                    <a:pt x="1777" y="2698"/>
                    <a:pt x="1777" y="2701"/>
                    <a:pt x="1776" y="2704"/>
                  </a:cubicBezTo>
                  <a:lnTo>
                    <a:pt x="1754" y="2744"/>
                  </a:lnTo>
                  <a:cubicBezTo>
                    <a:pt x="1753" y="2746"/>
                    <a:pt x="1751" y="2747"/>
                    <a:pt x="1749" y="2748"/>
                  </a:cubicBezTo>
                  <a:lnTo>
                    <a:pt x="1680" y="2768"/>
                  </a:lnTo>
                  <a:cubicBezTo>
                    <a:pt x="1678" y="2769"/>
                    <a:pt x="1676" y="2769"/>
                    <a:pt x="1674" y="2767"/>
                  </a:cubicBezTo>
                  <a:lnTo>
                    <a:pt x="1603" y="2727"/>
                  </a:lnTo>
                  <a:lnTo>
                    <a:pt x="1605" y="2728"/>
                  </a:lnTo>
                  <a:lnTo>
                    <a:pt x="1441" y="2687"/>
                  </a:lnTo>
                  <a:lnTo>
                    <a:pt x="1279" y="2626"/>
                  </a:lnTo>
                  <a:lnTo>
                    <a:pt x="1281" y="2627"/>
                  </a:lnTo>
                  <a:lnTo>
                    <a:pt x="1097" y="2607"/>
                  </a:lnTo>
                  <a:lnTo>
                    <a:pt x="934" y="2586"/>
                  </a:lnTo>
                  <a:cubicBezTo>
                    <a:pt x="932" y="2586"/>
                    <a:pt x="930" y="2585"/>
                    <a:pt x="929" y="2583"/>
                  </a:cubicBezTo>
                  <a:lnTo>
                    <a:pt x="882" y="2523"/>
                  </a:lnTo>
                  <a:lnTo>
                    <a:pt x="885" y="2525"/>
                  </a:lnTo>
                  <a:lnTo>
                    <a:pt x="769" y="2464"/>
                  </a:lnTo>
                  <a:lnTo>
                    <a:pt x="771" y="2465"/>
                  </a:lnTo>
                  <a:lnTo>
                    <a:pt x="678" y="2445"/>
                  </a:lnTo>
                  <a:cubicBezTo>
                    <a:pt x="677" y="2444"/>
                    <a:pt x="675" y="2444"/>
                    <a:pt x="674" y="2443"/>
                  </a:cubicBezTo>
                  <a:lnTo>
                    <a:pt x="584" y="2362"/>
                  </a:lnTo>
                  <a:lnTo>
                    <a:pt x="444" y="2261"/>
                  </a:lnTo>
                  <a:lnTo>
                    <a:pt x="445" y="2262"/>
                  </a:lnTo>
                  <a:lnTo>
                    <a:pt x="399" y="2242"/>
                  </a:lnTo>
                  <a:cubicBezTo>
                    <a:pt x="395" y="2240"/>
                    <a:pt x="393" y="2237"/>
                    <a:pt x="394" y="2234"/>
                  </a:cubicBezTo>
                  <a:cubicBezTo>
                    <a:pt x="394" y="2230"/>
                    <a:pt x="397" y="2227"/>
                    <a:pt x="400" y="2227"/>
                  </a:cubicBezTo>
                  <a:lnTo>
                    <a:pt x="494" y="2206"/>
                  </a:lnTo>
                  <a:lnTo>
                    <a:pt x="490" y="2208"/>
                  </a:lnTo>
                  <a:lnTo>
                    <a:pt x="559" y="2147"/>
                  </a:lnTo>
                  <a:lnTo>
                    <a:pt x="557" y="2150"/>
                  </a:lnTo>
                  <a:lnTo>
                    <a:pt x="650" y="1968"/>
                  </a:lnTo>
                  <a:lnTo>
                    <a:pt x="650" y="1969"/>
                  </a:lnTo>
                  <a:lnTo>
                    <a:pt x="741" y="1605"/>
                  </a:lnTo>
                  <a:cubicBezTo>
                    <a:pt x="741" y="1603"/>
                    <a:pt x="742" y="1601"/>
                    <a:pt x="744" y="1600"/>
                  </a:cubicBezTo>
                  <a:cubicBezTo>
                    <a:pt x="746" y="1599"/>
                    <a:pt x="748" y="1599"/>
                    <a:pt x="751" y="1599"/>
                  </a:cubicBezTo>
                  <a:lnTo>
                    <a:pt x="822" y="1620"/>
                  </a:lnTo>
                  <a:lnTo>
                    <a:pt x="814" y="1633"/>
                  </a:lnTo>
                  <a:lnTo>
                    <a:pt x="699" y="1511"/>
                  </a:lnTo>
                  <a:cubicBezTo>
                    <a:pt x="697" y="1509"/>
                    <a:pt x="696" y="1506"/>
                    <a:pt x="697" y="1504"/>
                  </a:cubicBezTo>
                  <a:cubicBezTo>
                    <a:pt x="697" y="1501"/>
                    <a:pt x="699" y="1499"/>
                    <a:pt x="702" y="1498"/>
                  </a:cubicBezTo>
                  <a:lnTo>
                    <a:pt x="771" y="1478"/>
                  </a:lnTo>
                  <a:lnTo>
                    <a:pt x="766" y="1483"/>
                  </a:lnTo>
                  <a:lnTo>
                    <a:pt x="788" y="1422"/>
                  </a:lnTo>
                  <a:lnTo>
                    <a:pt x="789" y="1430"/>
                  </a:lnTo>
                  <a:lnTo>
                    <a:pt x="742" y="1369"/>
                  </a:lnTo>
                  <a:lnTo>
                    <a:pt x="743" y="1370"/>
                  </a:lnTo>
                  <a:lnTo>
                    <a:pt x="674" y="1310"/>
                  </a:lnTo>
                  <a:cubicBezTo>
                    <a:pt x="674" y="1309"/>
                    <a:pt x="673" y="1308"/>
                    <a:pt x="673" y="1307"/>
                  </a:cubicBezTo>
                  <a:lnTo>
                    <a:pt x="582" y="1146"/>
                  </a:lnTo>
                  <a:cubicBezTo>
                    <a:pt x="581" y="1144"/>
                    <a:pt x="580" y="1141"/>
                    <a:pt x="581" y="1139"/>
                  </a:cubicBezTo>
                  <a:lnTo>
                    <a:pt x="603" y="1078"/>
                  </a:lnTo>
                  <a:lnTo>
                    <a:pt x="606" y="1087"/>
                  </a:lnTo>
                  <a:lnTo>
                    <a:pt x="537" y="1026"/>
                  </a:lnTo>
                  <a:cubicBezTo>
                    <a:pt x="536" y="1025"/>
                    <a:pt x="535" y="1024"/>
                    <a:pt x="535" y="1023"/>
                  </a:cubicBezTo>
                  <a:lnTo>
                    <a:pt x="510" y="963"/>
                  </a:lnTo>
                  <a:lnTo>
                    <a:pt x="515" y="967"/>
                  </a:lnTo>
                  <a:lnTo>
                    <a:pt x="446" y="947"/>
                  </a:lnTo>
                  <a:cubicBezTo>
                    <a:pt x="446" y="947"/>
                    <a:pt x="445" y="947"/>
                    <a:pt x="444" y="946"/>
                  </a:cubicBezTo>
                  <a:lnTo>
                    <a:pt x="376" y="906"/>
                  </a:lnTo>
                  <a:cubicBezTo>
                    <a:pt x="375" y="905"/>
                    <a:pt x="375" y="905"/>
                    <a:pt x="375" y="905"/>
                  </a:cubicBezTo>
                  <a:lnTo>
                    <a:pt x="303" y="844"/>
                  </a:lnTo>
                  <a:lnTo>
                    <a:pt x="307" y="846"/>
                  </a:lnTo>
                  <a:lnTo>
                    <a:pt x="216" y="826"/>
                  </a:lnTo>
                  <a:lnTo>
                    <a:pt x="122" y="805"/>
                  </a:lnTo>
                  <a:cubicBezTo>
                    <a:pt x="122" y="805"/>
                    <a:pt x="121" y="805"/>
                    <a:pt x="121" y="805"/>
                  </a:cubicBezTo>
                  <a:lnTo>
                    <a:pt x="74" y="785"/>
                  </a:lnTo>
                  <a:cubicBezTo>
                    <a:pt x="72" y="784"/>
                    <a:pt x="71" y="783"/>
                    <a:pt x="70" y="781"/>
                  </a:cubicBezTo>
                  <a:lnTo>
                    <a:pt x="48" y="741"/>
                  </a:lnTo>
                  <a:cubicBezTo>
                    <a:pt x="48" y="740"/>
                    <a:pt x="47" y="738"/>
                    <a:pt x="47" y="737"/>
                  </a:cubicBezTo>
                  <a:lnTo>
                    <a:pt x="47" y="717"/>
                  </a:lnTo>
                  <a:cubicBezTo>
                    <a:pt x="47" y="714"/>
                    <a:pt x="48" y="712"/>
                    <a:pt x="50" y="711"/>
                  </a:cubicBezTo>
                  <a:lnTo>
                    <a:pt x="72" y="691"/>
                  </a:lnTo>
                  <a:cubicBezTo>
                    <a:pt x="73" y="689"/>
                    <a:pt x="75" y="688"/>
                    <a:pt x="77" y="688"/>
                  </a:cubicBezTo>
                  <a:lnTo>
                    <a:pt x="146" y="688"/>
                  </a:lnTo>
                  <a:lnTo>
                    <a:pt x="142" y="704"/>
                  </a:lnTo>
                  <a:lnTo>
                    <a:pt x="27" y="643"/>
                  </a:lnTo>
                  <a:cubicBezTo>
                    <a:pt x="26" y="643"/>
                    <a:pt x="26" y="642"/>
                    <a:pt x="25" y="642"/>
                  </a:cubicBezTo>
                  <a:lnTo>
                    <a:pt x="3" y="621"/>
                  </a:lnTo>
                  <a:cubicBezTo>
                    <a:pt x="1" y="620"/>
                    <a:pt x="0" y="618"/>
                    <a:pt x="0" y="616"/>
                  </a:cubicBezTo>
                  <a:cubicBezTo>
                    <a:pt x="0" y="613"/>
                    <a:pt x="1" y="611"/>
                    <a:pt x="3" y="610"/>
                  </a:cubicBezTo>
                  <a:lnTo>
                    <a:pt x="25" y="589"/>
                  </a:lnTo>
                  <a:cubicBezTo>
                    <a:pt x="25" y="589"/>
                    <a:pt x="26" y="589"/>
                    <a:pt x="27" y="588"/>
                  </a:cubicBezTo>
                  <a:lnTo>
                    <a:pt x="98" y="548"/>
                  </a:lnTo>
                  <a:cubicBezTo>
                    <a:pt x="99" y="547"/>
                    <a:pt x="101" y="547"/>
                    <a:pt x="102" y="547"/>
                  </a:cubicBezTo>
                  <a:lnTo>
                    <a:pt x="240" y="547"/>
                  </a:lnTo>
                  <a:lnTo>
                    <a:pt x="308" y="547"/>
                  </a:lnTo>
                  <a:lnTo>
                    <a:pt x="305" y="547"/>
                  </a:lnTo>
                  <a:lnTo>
                    <a:pt x="352" y="527"/>
                  </a:lnTo>
                  <a:cubicBezTo>
                    <a:pt x="353" y="527"/>
                    <a:pt x="354" y="527"/>
                    <a:pt x="355" y="527"/>
                  </a:cubicBezTo>
                  <a:lnTo>
                    <a:pt x="427" y="527"/>
                  </a:lnTo>
                  <a:cubicBezTo>
                    <a:pt x="428" y="527"/>
                    <a:pt x="430" y="527"/>
                    <a:pt x="432" y="529"/>
                  </a:cubicBezTo>
                  <a:lnTo>
                    <a:pt x="501" y="589"/>
                  </a:lnTo>
                  <a:lnTo>
                    <a:pt x="547" y="630"/>
                  </a:lnTo>
                  <a:lnTo>
                    <a:pt x="539" y="628"/>
                  </a:lnTo>
                  <a:lnTo>
                    <a:pt x="586" y="608"/>
                  </a:lnTo>
                  <a:cubicBezTo>
                    <a:pt x="587" y="608"/>
                    <a:pt x="589" y="607"/>
                    <a:pt x="590" y="608"/>
                  </a:cubicBezTo>
                  <a:lnTo>
                    <a:pt x="705" y="628"/>
                  </a:lnTo>
                  <a:lnTo>
                    <a:pt x="843" y="648"/>
                  </a:lnTo>
                  <a:lnTo>
                    <a:pt x="834" y="657"/>
                  </a:lnTo>
                  <a:lnTo>
                    <a:pt x="812" y="516"/>
                  </a:lnTo>
                  <a:lnTo>
                    <a:pt x="813" y="518"/>
                  </a:lnTo>
                  <a:lnTo>
                    <a:pt x="741" y="376"/>
                  </a:lnTo>
                  <a:cubicBezTo>
                    <a:pt x="740" y="374"/>
                    <a:pt x="740" y="371"/>
                    <a:pt x="742" y="369"/>
                  </a:cubicBezTo>
                  <a:cubicBezTo>
                    <a:pt x="743" y="366"/>
                    <a:pt x="746" y="365"/>
                    <a:pt x="748" y="365"/>
                  </a:cubicBezTo>
                  <a:lnTo>
                    <a:pt x="911" y="365"/>
                  </a:lnTo>
                  <a:cubicBezTo>
                    <a:pt x="913" y="365"/>
                    <a:pt x="914" y="365"/>
                    <a:pt x="916" y="367"/>
                  </a:cubicBezTo>
                  <a:lnTo>
                    <a:pt x="963" y="407"/>
                  </a:lnTo>
                  <a:lnTo>
                    <a:pt x="961" y="406"/>
                  </a:lnTo>
                  <a:lnTo>
                    <a:pt x="1006" y="426"/>
                  </a:lnTo>
                  <a:lnTo>
                    <a:pt x="1147" y="466"/>
                  </a:lnTo>
                  <a:lnTo>
                    <a:pt x="1144" y="466"/>
                  </a:lnTo>
                  <a:lnTo>
                    <a:pt x="1235" y="466"/>
                  </a:lnTo>
                  <a:lnTo>
                    <a:pt x="1228" y="470"/>
                  </a:lnTo>
                  <a:lnTo>
                    <a:pt x="1253" y="429"/>
                  </a:lnTo>
                  <a:lnTo>
                    <a:pt x="1252" y="431"/>
                  </a:lnTo>
                  <a:lnTo>
                    <a:pt x="1274" y="370"/>
                  </a:lnTo>
                  <a:cubicBezTo>
                    <a:pt x="1275" y="368"/>
                    <a:pt x="1277" y="366"/>
                    <a:pt x="1280" y="365"/>
                  </a:cubicBezTo>
                  <a:lnTo>
                    <a:pt x="1351" y="345"/>
                  </a:lnTo>
                  <a:lnTo>
                    <a:pt x="1489" y="304"/>
                  </a:lnTo>
                  <a:lnTo>
                    <a:pt x="1487" y="305"/>
                  </a:lnTo>
                  <a:lnTo>
                    <a:pt x="1556" y="265"/>
                  </a:lnTo>
                  <a:lnTo>
                    <a:pt x="1554" y="265"/>
                  </a:lnTo>
                  <a:lnTo>
                    <a:pt x="1601" y="225"/>
                  </a:lnTo>
                  <a:lnTo>
                    <a:pt x="1599" y="229"/>
                  </a:lnTo>
                  <a:lnTo>
                    <a:pt x="1646" y="67"/>
                  </a:lnTo>
                  <a:cubicBezTo>
                    <a:pt x="1646" y="65"/>
                    <a:pt x="1647" y="63"/>
                    <a:pt x="1649" y="62"/>
                  </a:cubicBezTo>
                  <a:lnTo>
                    <a:pt x="1718" y="22"/>
                  </a:lnTo>
                  <a:cubicBezTo>
                    <a:pt x="1719" y="21"/>
                    <a:pt x="1720" y="21"/>
                    <a:pt x="1721" y="21"/>
                  </a:cubicBezTo>
                  <a:lnTo>
                    <a:pt x="1839" y="1"/>
                  </a:lnTo>
                  <a:cubicBezTo>
                    <a:pt x="1841" y="0"/>
                    <a:pt x="1844" y="1"/>
                    <a:pt x="1846" y="3"/>
                  </a:cubicBezTo>
                  <a:lnTo>
                    <a:pt x="1890" y="44"/>
                  </a:lnTo>
                  <a:lnTo>
                    <a:pt x="1961" y="124"/>
                  </a:lnTo>
                  <a:lnTo>
                    <a:pt x="2030" y="185"/>
                  </a:lnTo>
                  <a:lnTo>
                    <a:pt x="2028" y="183"/>
                  </a:lnTo>
                  <a:lnTo>
                    <a:pt x="2121" y="224"/>
                  </a:lnTo>
                  <a:cubicBezTo>
                    <a:pt x="2124" y="225"/>
                    <a:pt x="2126" y="228"/>
                    <a:pt x="2126" y="231"/>
                  </a:cubicBezTo>
                  <a:lnTo>
                    <a:pt x="2126" y="251"/>
                  </a:lnTo>
                  <a:lnTo>
                    <a:pt x="2121" y="244"/>
                  </a:lnTo>
                  <a:lnTo>
                    <a:pt x="2236" y="284"/>
                  </a:lnTo>
                  <a:cubicBezTo>
                    <a:pt x="2239" y="285"/>
                    <a:pt x="2242" y="288"/>
                    <a:pt x="2242" y="292"/>
                  </a:cubicBezTo>
                  <a:lnTo>
                    <a:pt x="2242" y="373"/>
                  </a:lnTo>
                  <a:lnTo>
                    <a:pt x="2232" y="365"/>
                  </a:lnTo>
                  <a:lnTo>
                    <a:pt x="2348" y="345"/>
                  </a:lnTo>
                  <a:cubicBezTo>
                    <a:pt x="2351" y="344"/>
                    <a:pt x="2354" y="346"/>
                    <a:pt x="2356" y="348"/>
                  </a:cubicBezTo>
                  <a:lnTo>
                    <a:pt x="2403" y="429"/>
                  </a:lnTo>
                  <a:lnTo>
                    <a:pt x="2400" y="427"/>
                  </a:lnTo>
                  <a:lnTo>
                    <a:pt x="2562" y="528"/>
                  </a:lnTo>
                  <a:lnTo>
                    <a:pt x="2559" y="527"/>
                  </a:lnTo>
                  <a:lnTo>
                    <a:pt x="2721" y="547"/>
                  </a:lnTo>
                  <a:cubicBezTo>
                    <a:pt x="2723" y="547"/>
                    <a:pt x="2725" y="548"/>
                    <a:pt x="2726" y="550"/>
                  </a:cubicBezTo>
                  <a:lnTo>
                    <a:pt x="2795" y="631"/>
                  </a:lnTo>
                  <a:lnTo>
                    <a:pt x="2791" y="628"/>
                  </a:lnTo>
                  <a:lnTo>
                    <a:pt x="2860" y="648"/>
                  </a:lnTo>
                  <a:lnTo>
                    <a:pt x="3022" y="689"/>
                  </a:lnTo>
                  <a:lnTo>
                    <a:pt x="3163" y="729"/>
                  </a:lnTo>
                  <a:cubicBezTo>
                    <a:pt x="3166" y="730"/>
                    <a:pt x="3168" y="732"/>
                    <a:pt x="3168" y="735"/>
                  </a:cubicBezTo>
                  <a:cubicBezTo>
                    <a:pt x="3169" y="738"/>
                    <a:pt x="3168" y="741"/>
                    <a:pt x="3166" y="743"/>
                  </a:cubicBezTo>
                  <a:lnTo>
                    <a:pt x="3072" y="824"/>
                  </a:lnTo>
                  <a:lnTo>
                    <a:pt x="3075" y="820"/>
                  </a:lnTo>
                  <a:lnTo>
                    <a:pt x="3053" y="921"/>
                  </a:lnTo>
                  <a:lnTo>
                    <a:pt x="3006" y="1143"/>
                  </a:lnTo>
                  <a:cubicBezTo>
                    <a:pt x="3005" y="1146"/>
                    <a:pt x="3004" y="1148"/>
                    <a:pt x="3001" y="1149"/>
                  </a:cubicBezTo>
                  <a:lnTo>
                    <a:pt x="2908" y="1189"/>
                  </a:lnTo>
                  <a:cubicBezTo>
                    <a:pt x="2907" y="1190"/>
                    <a:pt x="2907" y="1190"/>
                    <a:pt x="2906" y="1190"/>
                  </a:cubicBezTo>
                  <a:lnTo>
                    <a:pt x="2813" y="1210"/>
                  </a:lnTo>
                  <a:lnTo>
                    <a:pt x="2819" y="1204"/>
                  </a:lnTo>
                  <a:lnTo>
                    <a:pt x="2797" y="1285"/>
                  </a:lnTo>
                  <a:cubicBezTo>
                    <a:pt x="2796" y="1287"/>
                    <a:pt x="2795" y="1289"/>
                    <a:pt x="2793" y="1290"/>
                  </a:cubicBezTo>
                  <a:lnTo>
                    <a:pt x="2724" y="1331"/>
                  </a:lnTo>
                  <a:lnTo>
                    <a:pt x="2728" y="1327"/>
                  </a:lnTo>
                  <a:lnTo>
                    <a:pt x="2703" y="1387"/>
                  </a:lnTo>
                  <a:cubicBezTo>
                    <a:pt x="2703" y="1388"/>
                    <a:pt x="2702" y="1389"/>
                    <a:pt x="2702" y="1390"/>
                  </a:cubicBezTo>
                  <a:lnTo>
                    <a:pt x="2611" y="1491"/>
                  </a:lnTo>
                  <a:lnTo>
                    <a:pt x="2613" y="1488"/>
                  </a:lnTo>
                  <a:lnTo>
                    <a:pt x="2588" y="1569"/>
                  </a:lnTo>
                  <a:lnTo>
                    <a:pt x="2577" y="1559"/>
                  </a:lnTo>
                  <a:lnTo>
                    <a:pt x="2670" y="1519"/>
                  </a:lnTo>
                  <a:cubicBezTo>
                    <a:pt x="2672" y="1518"/>
                    <a:pt x="2674" y="1518"/>
                    <a:pt x="2676" y="1519"/>
                  </a:cubicBezTo>
                  <a:lnTo>
                    <a:pt x="2792" y="1559"/>
                  </a:lnTo>
                  <a:cubicBezTo>
                    <a:pt x="2794" y="1560"/>
                    <a:pt x="2795" y="1561"/>
                    <a:pt x="2796" y="1563"/>
                  </a:cubicBezTo>
                  <a:lnTo>
                    <a:pt x="2818" y="1603"/>
                  </a:lnTo>
                  <a:close/>
                </a:path>
              </a:pathLst>
            </a:custGeom>
            <a:solidFill>
              <a:srgbClr val="000000"/>
            </a:solidFill>
            <a:ln w="0" cap="flat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227" name="Rectangle 194"/>
            <p:cNvSpPr>
              <a:spLocks noChangeArrowheads="1"/>
            </p:cNvSpPr>
            <p:nvPr/>
          </p:nvSpPr>
          <p:spPr bwMode="auto">
            <a:xfrm>
              <a:off x="3110" y="2403"/>
              <a:ext cx="157" cy="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7228" name="Rectangle 195"/>
            <p:cNvSpPr>
              <a:spLocks noChangeArrowheads="1"/>
            </p:cNvSpPr>
            <p:nvPr/>
          </p:nvSpPr>
          <p:spPr bwMode="auto">
            <a:xfrm>
              <a:off x="3150" y="2424"/>
              <a:ext cx="53" cy="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sz="500" b="1">
                  <a:solidFill>
                    <a:srgbClr val="000000"/>
                  </a:solidFill>
                </a:rPr>
                <a:t>FR</a:t>
              </a:r>
              <a:endParaRPr lang="de-DE"/>
            </a:p>
          </p:txBody>
        </p:sp>
        <p:sp>
          <p:nvSpPr>
            <p:cNvPr id="7229" name="Freeform 196"/>
            <p:cNvSpPr>
              <a:spLocks/>
            </p:cNvSpPr>
            <p:nvPr/>
          </p:nvSpPr>
          <p:spPr bwMode="auto">
            <a:xfrm>
              <a:off x="2394" y="2561"/>
              <a:ext cx="791" cy="573"/>
            </a:xfrm>
            <a:custGeom>
              <a:avLst/>
              <a:gdLst>
                <a:gd name="T0" fmla="*/ 1320 w 752"/>
                <a:gd name="T1" fmla="*/ 346 h 546"/>
                <a:gd name="T2" fmla="*/ 1187 w 752"/>
                <a:gd name="T3" fmla="*/ 303 h 546"/>
                <a:gd name="T4" fmla="*/ 1041 w 752"/>
                <a:gd name="T5" fmla="*/ 288 h 546"/>
                <a:gd name="T6" fmla="*/ 985 w 752"/>
                <a:gd name="T7" fmla="*/ 238 h 546"/>
                <a:gd name="T8" fmla="*/ 897 w 752"/>
                <a:gd name="T9" fmla="*/ 197 h 546"/>
                <a:gd name="T10" fmla="*/ 819 w 752"/>
                <a:gd name="T11" fmla="*/ 148 h 546"/>
                <a:gd name="T12" fmla="*/ 764 w 752"/>
                <a:gd name="T13" fmla="*/ 139 h 546"/>
                <a:gd name="T14" fmla="*/ 682 w 752"/>
                <a:gd name="T15" fmla="*/ 132 h 546"/>
                <a:gd name="T16" fmla="*/ 600 w 752"/>
                <a:gd name="T17" fmla="*/ 107 h 546"/>
                <a:gd name="T18" fmla="*/ 445 w 752"/>
                <a:gd name="T19" fmla="*/ 66 h 546"/>
                <a:gd name="T20" fmla="*/ 366 w 752"/>
                <a:gd name="T21" fmla="*/ 49 h 546"/>
                <a:gd name="T22" fmla="*/ 231 w 752"/>
                <a:gd name="T23" fmla="*/ 10 h 546"/>
                <a:gd name="T24" fmla="*/ 192 w 752"/>
                <a:gd name="T25" fmla="*/ 0 h 546"/>
                <a:gd name="T26" fmla="*/ 155 w 752"/>
                <a:gd name="T27" fmla="*/ 5 h 546"/>
                <a:gd name="T28" fmla="*/ 126 w 752"/>
                <a:gd name="T29" fmla="*/ 26 h 546"/>
                <a:gd name="T30" fmla="*/ 23 w 752"/>
                <a:gd name="T31" fmla="*/ 49 h 546"/>
                <a:gd name="T32" fmla="*/ 28 w 752"/>
                <a:gd name="T33" fmla="*/ 92 h 546"/>
                <a:gd name="T34" fmla="*/ 37 w 752"/>
                <a:gd name="T35" fmla="*/ 132 h 546"/>
                <a:gd name="T36" fmla="*/ 76 w 752"/>
                <a:gd name="T37" fmla="*/ 179 h 546"/>
                <a:gd name="T38" fmla="*/ 95 w 752"/>
                <a:gd name="T39" fmla="*/ 206 h 546"/>
                <a:gd name="T40" fmla="*/ 105 w 752"/>
                <a:gd name="T41" fmla="*/ 220 h 546"/>
                <a:gd name="T42" fmla="*/ 164 w 752"/>
                <a:gd name="T43" fmla="*/ 238 h 546"/>
                <a:gd name="T44" fmla="*/ 222 w 752"/>
                <a:gd name="T45" fmla="*/ 230 h 546"/>
                <a:gd name="T46" fmla="*/ 269 w 752"/>
                <a:gd name="T47" fmla="*/ 262 h 546"/>
                <a:gd name="T48" fmla="*/ 291 w 752"/>
                <a:gd name="T49" fmla="*/ 279 h 546"/>
                <a:gd name="T50" fmla="*/ 298 w 752"/>
                <a:gd name="T51" fmla="*/ 303 h 546"/>
                <a:gd name="T52" fmla="*/ 231 w 752"/>
                <a:gd name="T53" fmla="*/ 335 h 546"/>
                <a:gd name="T54" fmla="*/ 204 w 752"/>
                <a:gd name="T55" fmla="*/ 376 h 546"/>
                <a:gd name="T56" fmla="*/ 183 w 752"/>
                <a:gd name="T57" fmla="*/ 436 h 546"/>
                <a:gd name="T58" fmla="*/ 164 w 752"/>
                <a:gd name="T59" fmla="*/ 443 h 546"/>
                <a:gd name="T60" fmla="*/ 145 w 752"/>
                <a:gd name="T61" fmla="*/ 491 h 546"/>
                <a:gd name="T62" fmla="*/ 86 w 752"/>
                <a:gd name="T63" fmla="*/ 500 h 546"/>
                <a:gd name="T64" fmla="*/ 126 w 752"/>
                <a:gd name="T65" fmla="*/ 585 h 546"/>
                <a:gd name="T66" fmla="*/ 115 w 752"/>
                <a:gd name="T67" fmla="*/ 597 h 546"/>
                <a:gd name="T68" fmla="*/ 76 w 752"/>
                <a:gd name="T69" fmla="*/ 622 h 546"/>
                <a:gd name="T70" fmla="*/ 76 w 752"/>
                <a:gd name="T71" fmla="*/ 674 h 546"/>
                <a:gd name="T72" fmla="*/ 95 w 752"/>
                <a:gd name="T73" fmla="*/ 686 h 546"/>
                <a:gd name="T74" fmla="*/ 23 w 752"/>
                <a:gd name="T75" fmla="*/ 737 h 546"/>
                <a:gd name="T76" fmla="*/ 0 w 752"/>
                <a:gd name="T77" fmla="*/ 802 h 546"/>
                <a:gd name="T78" fmla="*/ 67 w 752"/>
                <a:gd name="T79" fmla="*/ 811 h 546"/>
                <a:gd name="T80" fmla="*/ 126 w 752"/>
                <a:gd name="T81" fmla="*/ 861 h 546"/>
                <a:gd name="T82" fmla="*/ 135 w 752"/>
                <a:gd name="T83" fmla="*/ 940 h 546"/>
                <a:gd name="T84" fmla="*/ 251 w 752"/>
                <a:gd name="T85" fmla="*/ 950 h 546"/>
                <a:gd name="T86" fmla="*/ 339 w 752"/>
                <a:gd name="T87" fmla="*/ 933 h 546"/>
                <a:gd name="T88" fmla="*/ 434 w 752"/>
                <a:gd name="T89" fmla="*/ 927 h 546"/>
                <a:gd name="T90" fmla="*/ 615 w 752"/>
                <a:gd name="T91" fmla="*/ 950 h 546"/>
                <a:gd name="T92" fmla="*/ 682 w 752"/>
                <a:gd name="T93" fmla="*/ 927 h 546"/>
                <a:gd name="T94" fmla="*/ 742 w 752"/>
                <a:gd name="T95" fmla="*/ 874 h 546"/>
                <a:gd name="T96" fmla="*/ 830 w 752"/>
                <a:gd name="T97" fmla="*/ 842 h 546"/>
                <a:gd name="T98" fmla="*/ 897 w 752"/>
                <a:gd name="T99" fmla="*/ 767 h 546"/>
                <a:gd name="T100" fmla="*/ 925 w 752"/>
                <a:gd name="T101" fmla="*/ 681 h 546"/>
                <a:gd name="T102" fmla="*/ 965 w 752"/>
                <a:gd name="T103" fmla="*/ 607 h 546"/>
                <a:gd name="T104" fmla="*/ 1063 w 752"/>
                <a:gd name="T105" fmla="*/ 515 h 546"/>
                <a:gd name="T106" fmla="*/ 1081 w 752"/>
                <a:gd name="T107" fmla="*/ 484 h 546"/>
                <a:gd name="T108" fmla="*/ 1167 w 752"/>
                <a:gd name="T109" fmla="*/ 451 h 546"/>
                <a:gd name="T110" fmla="*/ 1370 w 752"/>
                <a:gd name="T111" fmla="*/ 386 h 546"/>
                <a:gd name="T112" fmla="*/ 1379 w 752"/>
                <a:gd name="T113" fmla="*/ 376 h 546"/>
                <a:gd name="T114" fmla="*/ 1350 w 752"/>
                <a:gd name="T115" fmla="*/ 360 h 54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752"/>
                <a:gd name="T175" fmla="*/ 0 h 546"/>
                <a:gd name="T176" fmla="*/ 752 w 752"/>
                <a:gd name="T177" fmla="*/ 546 h 54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752" h="546">
                  <a:moveTo>
                    <a:pt x="737" y="202"/>
                  </a:moveTo>
                  <a:lnTo>
                    <a:pt x="720" y="193"/>
                  </a:lnTo>
                  <a:lnTo>
                    <a:pt x="684" y="184"/>
                  </a:lnTo>
                  <a:lnTo>
                    <a:pt x="647" y="170"/>
                  </a:lnTo>
                  <a:lnTo>
                    <a:pt x="605" y="166"/>
                  </a:lnTo>
                  <a:lnTo>
                    <a:pt x="568" y="161"/>
                  </a:lnTo>
                  <a:lnTo>
                    <a:pt x="558" y="147"/>
                  </a:lnTo>
                  <a:lnTo>
                    <a:pt x="536" y="133"/>
                  </a:lnTo>
                  <a:lnTo>
                    <a:pt x="510" y="129"/>
                  </a:lnTo>
                  <a:lnTo>
                    <a:pt x="489" y="111"/>
                  </a:lnTo>
                  <a:lnTo>
                    <a:pt x="458" y="88"/>
                  </a:lnTo>
                  <a:lnTo>
                    <a:pt x="447" y="83"/>
                  </a:lnTo>
                  <a:lnTo>
                    <a:pt x="437" y="83"/>
                  </a:lnTo>
                  <a:lnTo>
                    <a:pt x="416" y="78"/>
                  </a:lnTo>
                  <a:lnTo>
                    <a:pt x="395" y="69"/>
                  </a:lnTo>
                  <a:lnTo>
                    <a:pt x="373" y="74"/>
                  </a:lnTo>
                  <a:lnTo>
                    <a:pt x="347" y="60"/>
                  </a:lnTo>
                  <a:lnTo>
                    <a:pt x="326" y="60"/>
                  </a:lnTo>
                  <a:lnTo>
                    <a:pt x="300" y="55"/>
                  </a:lnTo>
                  <a:lnTo>
                    <a:pt x="242" y="37"/>
                  </a:lnTo>
                  <a:lnTo>
                    <a:pt x="226" y="28"/>
                  </a:lnTo>
                  <a:lnTo>
                    <a:pt x="200" y="28"/>
                  </a:lnTo>
                  <a:lnTo>
                    <a:pt x="142" y="19"/>
                  </a:lnTo>
                  <a:lnTo>
                    <a:pt x="126" y="10"/>
                  </a:lnTo>
                  <a:lnTo>
                    <a:pt x="116" y="0"/>
                  </a:lnTo>
                  <a:lnTo>
                    <a:pt x="105" y="0"/>
                  </a:lnTo>
                  <a:lnTo>
                    <a:pt x="89" y="0"/>
                  </a:lnTo>
                  <a:lnTo>
                    <a:pt x="84" y="5"/>
                  </a:lnTo>
                  <a:lnTo>
                    <a:pt x="79" y="14"/>
                  </a:lnTo>
                  <a:lnTo>
                    <a:pt x="68" y="14"/>
                  </a:lnTo>
                  <a:lnTo>
                    <a:pt x="37" y="19"/>
                  </a:lnTo>
                  <a:lnTo>
                    <a:pt x="11" y="28"/>
                  </a:lnTo>
                  <a:lnTo>
                    <a:pt x="16" y="46"/>
                  </a:lnTo>
                  <a:lnTo>
                    <a:pt x="16" y="51"/>
                  </a:lnTo>
                  <a:lnTo>
                    <a:pt x="16" y="60"/>
                  </a:lnTo>
                  <a:lnTo>
                    <a:pt x="21" y="74"/>
                  </a:lnTo>
                  <a:lnTo>
                    <a:pt x="11" y="106"/>
                  </a:lnTo>
                  <a:lnTo>
                    <a:pt x="42" y="101"/>
                  </a:lnTo>
                  <a:lnTo>
                    <a:pt x="52" y="106"/>
                  </a:lnTo>
                  <a:lnTo>
                    <a:pt x="52" y="115"/>
                  </a:lnTo>
                  <a:lnTo>
                    <a:pt x="47" y="120"/>
                  </a:lnTo>
                  <a:lnTo>
                    <a:pt x="58" y="124"/>
                  </a:lnTo>
                  <a:lnTo>
                    <a:pt x="79" y="124"/>
                  </a:lnTo>
                  <a:lnTo>
                    <a:pt x="89" y="133"/>
                  </a:lnTo>
                  <a:lnTo>
                    <a:pt x="105" y="133"/>
                  </a:lnTo>
                  <a:lnTo>
                    <a:pt x="121" y="129"/>
                  </a:lnTo>
                  <a:lnTo>
                    <a:pt x="142" y="138"/>
                  </a:lnTo>
                  <a:lnTo>
                    <a:pt x="147" y="147"/>
                  </a:lnTo>
                  <a:lnTo>
                    <a:pt x="147" y="152"/>
                  </a:lnTo>
                  <a:lnTo>
                    <a:pt x="158" y="156"/>
                  </a:lnTo>
                  <a:lnTo>
                    <a:pt x="163" y="166"/>
                  </a:lnTo>
                  <a:lnTo>
                    <a:pt x="163" y="170"/>
                  </a:lnTo>
                  <a:lnTo>
                    <a:pt x="142" y="179"/>
                  </a:lnTo>
                  <a:lnTo>
                    <a:pt x="126" y="188"/>
                  </a:lnTo>
                  <a:lnTo>
                    <a:pt x="105" y="198"/>
                  </a:lnTo>
                  <a:lnTo>
                    <a:pt x="111" y="211"/>
                  </a:lnTo>
                  <a:lnTo>
                    <a:pt x="100" y="230"/>
                  </a:lnTo>
                  <a:lnTo>
                    <a:pt x="100" y="243"/>
                  </a:lnTo>
                  <a:lnTo>
                    <a:pt x="95" y="248"/>
                  </a:lnTo>
                  <a:lnTo>
                    <a:pt x="89" y="248"/>
                  </a:lnTo>
                  <a:lnTo>
                    <a:pt x="89" y="266"/>
                  </a:lnTo>
                  <a:lnTo>
                    <a:pt x="79" y="275"/>
                  </a:lnTo>
                  <a:lnTo>
                    <a:pt x="63" y="280"/>
                  </a:lnTo>
                  <a:lnTo>
                    <a:pt x="47" y="280"/>
                  </a:lnTo>
                  <a:lnTo>
                    <a:pt x="58" y="317"/>
                  </a:lnTo>
                  <a:lnTo>
                    <a:pt x="68" y="326"/>
                  </a:lnTo>
                  <a:lnTo>
                    <a:pt x="68" y="330"/>
                  </a:lnTo>
                  <a:lnTo>
                    <a:pt x="63" y="335"/>
                  </a:lnTo>
                  <a:lnTo>
                    <a:pt x="47" y="340"/>
                  </a:lnTo>
                  <a:lnTo>
                    <a:pt x="42" y="349"/>
                  </a:lnTo>
                  <a:lnTo>
                    <a:pt x="37" y="362"/>
                  </a:lnTo>
                  <a:lnTo>
                    <a:pt x="42" y="376"/>
                  </a:lnTo>
                  <a:lnTo>
                    <a:pt x="47" y="385"/>
                  </a:lnTo>
                  <a:lnTo>
                    <a:pt x="52" y="385"/>
                  </a:lnTo>
                  <a:lnTo>
                    <a:pt x="37" y="399"/>
                  </a:lnTo>
                  <a:lnTo>
                    <a:pt x="11" y="413"/>
                  </a:lnTo>
                  <a:lnTo>
                    <a:pt x="5" y="431"/>
                  </a:lnTo>
                  <a:lnTo>
                    <a:pt x="0" y="450"/>
                  </a:lnTo>
                  <a:lnTo>
                    <a:pt x="11" y="450"/>
                  </a:lnTo>
                  <a:lnTo>
                    <a:pt x="37" y="454"/>
                  </a:lnTo>
                  <a:lnTo>
                    <a:pt x="58" y="468"/>
                  </a:lnTo>
                  <a:lnTo>
                    <a:pt x="68" y="482"/>
                  </a:lnTo>
                  <a:lnTo>
                    <a:pt x="68" y="504"/>
                  </a:lnTo>
                  <a:lnTo>
                    <a:pt x="74" y="527"/>
                  </a:lnTo>
                  <a:lnTo>
                    <a:pt x="95" y="546"/>
                  </a:lnTo>
                  <a:lnTo>
                    <a:pt x="137" y="532"/>
                  </a:lnTo>
                  <a:lnTo>
                    <a:pt x="158" y="527"/>
                  </a:lnTo>
                  <a:lnTo>
                    <a:pt x="184" y="523"/>
                  </a:lnTo>
                  <a:lnTo>
                    <a:pt x="211" y="514"/>
                  </a:lnTo>
                  <a:lnTo>
                    <a:pt x="237" y="518"/>
                  </a:lnTo>
                  <a:lnTo>
                    <a:pt x="289" y="527"/>
                  </a:lnTo>
                  <a:lnTo>
                    <a:pt x="337" y="532"/>
                  </a:lnTo>
                  <a:lnTo>
                    <a:pt x="358" y="532"/>
                  </a:lnTo>
                  <a:lnTo>
                    <a:pt x="373" y="518"/>
                  </a:lnTo>
                  <a:lnTo>
                    <a:pt x="384" y="500"/>
                  </a:lnTo>
                  <a:lnTo>
                    <a:pt x="405" y="491"/>
                  </a:lnTo>
                  <a:lnTo>
                    <a:pt x="458" y="486"/>
                  </a:lnTo>
                  <a:lnTo>
                    <a:pt x="453" y="472"/>
                  </a:lnTo>
                  <a:lnTo>
                    <a:pt x="458" y="459"/>
                  </a:lnTo>
                  <a:lnTo>
                    <a:pt x="489" y="431"/>
                  </a:lnTo>
                  <a:lnTo>
                    <a:pt x="526" y="413"/>
                  </a:lnTo>
                  <a:lnTo>
                    <a:pt x="505" y="381"/>
                  </a:lnTo>
                  <a:lnTo>
                    <a:pt x="505" y="358"/>
                  </a:lnTo>
                  <a:lnTo>
                    <a:pt x="526" y="340"/>
                  </a:lnTo>
                  <a:lnTo>
                    <a:pt x="553" y="308"/>
                  </a:lnTo>
                  <a:lnTo>
                    <a:pt x="579" y="289"/>
                  </a:lnTo>
                  <a:lnTo>
                    <a:pt x="584" y="289"/>
                  </a:lnTo>
                  <a:lnTo>
                    <a:pt x="589" y="271"/>
                  </a:lnTo>
                  <a:lnTo>
                    <a:pt x="610" y="257"/>
                  </a:lnTo>
                  <a:lnTo>
                    <a:pt x="636" y="253"/>
                  </a:lnTo>
                  <a:lnTo>
                    <a:pt x="684" y="248"/>
                  </a:lnTo>
                  <a:lnTo>
                    <a:pt x="747" y="216"/>
                  </a:lnTo>
                  <a:lnTo>
                    <a:pt x="752" y="216"/>
                  </a:lnTo>
                  <a:lnTo>
                    <a:pt x="752" y="211"/>
                  </a:lnTo>
                  <a:lnTo>
                    <a:pt x="752" y="198"/>
                  </a:lnTo>
                  <a:lnTo>
                    <a:pt x="737" y="202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cs-CZ"/>
            </a:p>
          </p:txBody>
        </p:sp>
        <p:sp>
          <p:nvSpPr>
            <p:cNvPr id="7230" name="Freeform 197"/>
            <p:cNvSpPr>
              <a:spLocks noEditPoints="1"/>
            </p:cNvSpPr>
            <p:nvPr/>
          </p:nvSpPr>
          <p:spPr bwMode="auto">
            <a:xfrm>
              <a:off x="2392" y="2560"/>
              <a:ext cx="795" cy="576"/>
            </a:xfrm>
            <a:custGeom>
              <a:avLst/>
              <a:gdLst>
                <a:gd name="T0" fmla="*/ 0 w 3328"/>
                <a:gd name="T1" fmla="*/ 0 h 2417"/>
                <a:gd name="T2" fmla="*/ 0 w 3328"/>
                <a:gd name="T3" fmla="*/ 0 h 2417"/>
                <a:gd name="T4" fmla="*/ 0 w 3328"/>
                <a:gd name="T5" fmla="*/ 0 h 2417"/>
                <a:gd name="T6" fmla="*/ 0 w 3328"/>
                <a:gd name="T7" fmla="*/ 0 h 2417"/>
                <a:gd name="T8" fmla="*/ 0 w 3328"/>
                <a:gd name="T9" fmla="*/ 0 h 2417"/>
                <a:gd name="T10" fmla="*/ 0 w 3328"/>
                <a:gd name="T11" fmla="*/ 0 h 2417"/>
                <a:gd name="T12" fmla="*/ 0 w 3328"/>
                <a:gd name="T13" fmla="*/ 0 h 2417"/>
                <a:gd name="T14" fmla="*/ 0 w 3328"/>
                <a:gd name="T15" fmla="*/ 0 h 2417"/>
                <a:gd name="T16" fmla="*/ 0 w 3328"/>
                <a:gd name="T17" fmla="*/ 0 h 2417"/>
                <a:gd name="T18" fmla="*/ 0 w 3328"/>
                <a:gd name="T19" fmla="*/ 0 h 2417"/>
                <a:gd name="T20" fmla="*/ 0 w 3328"/>
                <a:gd name="T21" fmla="*/ 0 h 2417"/>
                <a:gd name="T22" fmla="*/ 0 w 3328"/>
                <a:gd name="T23" fmla="*/ 0 h 2417"/>
                <a:gd name="T24" fmla="*/ 0 w 3328"/>
                <a:gd name="T25" fmla="*/ 0 h 2417"/>
                <a:gd name="T26" fmla="*/ 0 w 3328"/>
                <a:gd name="T27" fmla="*/ 0 h 2417"/>
                <a:gd name="T28" fmla="*/ 0 w 3328"/>
                <a:gd name="T29" fmla="*/ 0 h 2417"/>
                <a:gd name="T30" fmla="*/ 0 w 3328"/>
                <a:gd name="T31" fmla="*/ 0 h 2417"/>
                <a:gd name="T32" fmla="*/ 0 w 3328"/>
                <a:gd name="T33" fmla="*/ 0 h 2417"/>
                <a:gd name="T34" fmla="*/ 0 w 3328"/>
                <a:gd name="T35" fmla="*/ 0 h 2417"/>
                <a:gd name="T36" fmla="*/ 0 w 3328"/>
                <a:gd name="T37" fmla="*/ 0 h 2417"/>
                <a:gd name="T38" fmla="*/ 0 w 3328"/>
                <a:gd name="T39" fmla="*/ 0 h 2417"/>
                <a:gd name="T40" fmla="*/ 0 w 3328"/>
                <a:gd name="T41" fmla="*/ 0 h 2417"/>
                <a:gd name="T42" fmla="*/ 0 w 3328"/>
                <a:gd name="T43" fmla="*/ 0 h 2417"/>
                <a:gd name="T44" fmla="*/ 0 w 3328"/>
                <a:gd name="T45" fmla="*/ 0 h 2417"/>
                <a:gd name="T46" fmla="*/ 0 w 3328"/>
                <a:gd name="T47" fmla="*/ 0 h 2417"/>
                <a:gd name="T48" fmla="*/ 0 w 3328"/>
                <a:gd name="T49" fmla="*/ 0 h 2417"/>
                <a:gd name="T50" fmla="*/ 0 w 3328"/>
                <a:gd name="T51" fmla="*/ 0 h 2417"/>
                <a:gd name="T52" fmla="*/ 0 w 3328"/>
                <a:gd name="T53" fmla="*/ 0 h 2417"/>
                <a:gd name="T54" fmla="*/ 0 w 3328"/>
                <a:gd name="T55" fmla="*/ 0 h 2417"/>
                <a:gd name="T56" fmla="*/ 0 w 3328"/>
                <a:gd name="T57" fmla="*/ 0 h 2417"/>
                <a:gd name="T58" fmla="*/ 0 w 3328"/>
                <a:gd name="T59" fmla="*/ 0 h 2417"/>
                <a:gd name="T60" fmla="*/ 0 w 3328"/>
                <a:gd name="T61" fmla="*/ 0 h 2417"/>
                <a:gd name="T62" fmla="*/ 0 w 3328"/>
                <a:gd name="T63" fmla="*/ 0 h 2417"/>
                <a:gd name="T64" fmla="*/ 0 w 3328"/>
                <a:gd name="T65" fmla="*/ 0 h 2417"/>
                <a:gd name="T66" fmla="*/ 0 w 3328"/>
                <a:gd name="T67" fmla="*/ 0 h 2417"/>
                <a:gd name="T68" fmla="*/ 0 w 3328"/>
                <a:gd name="T69" fmla="*/ 0 h 2417"/>
                <a:gd name="T70" fmla="*/ 0 w 3328"/>
                <a:gd name="T71" fmla="*/ 0 h 2417"/>
                <a:gd name="T72" fmla="*/ 0 w 3328"/>
                <a:gd name="T73" fmla="*/ 0 h 2417"/>
                <a:gd name="T74" fmla="*/ 0 w 3328"/>
                <a:gd name="T75" fmla="*/ 0 h 2417"/>
                <a:gd name="T76" fmla="*/ 0 w 3328"/>
                <a:gd name="T77" fmla="*/ 0 h 2417"/>
                <a:gd name="T78" fmla="*/ 0 w 3328"/>
                <a:gd name="T79" fmla="*/ 0 h 2417"/>
                <a:gd name="T80" fmla="*/ 0 w 3328"/>
                <a:gd name="T81" fmla="*/ 0 h 2417"/>
                <a:gd name="T82" fmla="*/ 0 w 3328"/>
                <a:gd name="T83" fmla="*/ 0 h 2417"/>
                <a:gd name="T84" fmla="*/ 0 w 3328"/>
                <a:gd name="T85" fmla="*/ 0 h 2417"/>
                <a:gd name="T86" fmla="*/ 0 w 3328"/>
                <a:gd name="T87" fmla="*/ 0 h 2417"/>
                <a:gd name="T88" fmla="*/ 0 w 3328"/>
                <a:gd name="T89" fmla="*/ 0 h 2417"/>
                <a:gd name="T90" fmla="*/ 0 w 3328"/>
                <a:gd name="T91" fmla="*/ 0 h 2417"/>
                <a:gd name="T92" fmla="*/ 0 w 3328"/>
                <a:gd name="T93" fmla="*/ 0 h 2417"/>
                <a:gd name="T94" fmla="*/ 0 w 3328"/>
                <a:gd name="T95" fmla="*/ 0 h 2417"/>
                <a:gd name="T96" fmla="*/ 0 w 3328"/>
                <a:gd name="T97" fmla="*/ 0 h 2417"/>
                <a:gd name="T98" fmla="*/ 0 w 3328"/>
                <a:gd name="T99" fmla="*/ 0 h 2417"/>
                <a:gd name="T100" fmla="*/ 0 w 3328"/>
                <a:gd name="T101" fmla="*/ 0 h 2417"/>
                <a:gd name="T102" fmla="*/ 0 w 3328"/>
                <a:gd name="T103" fmla="*/ 0 h 2417"/>
                <a:gd name="T104" fmla="*/ 0 w 3328"/>
                <a:gd name="T105" fmla="*/ 0 h 2417"/>
                <a:gd name="T106" fmla="*/ 0 w 3328"/>
                <a:gd name="T107" fmla="*/ 0 h 2417"/>
                <a:gd name="T108" fmla="*/ 0 w 3328"/>
                <a:gd name="T109" fmla="*/ 0 h 2417"/>
                <a:gd name="T110" fmla="*/ 0 w 3328"/>
                <a:gd name="T111" fmla="*/ 0 h 2417"/>
                <a:gd name="T112" fmla="*/ 0 w 3328"/>
                <a:gd name="T113" fmla="*/ 0 h 2417"/>
                <a:gd name="T114" fmla="*/ 0 w 3328"/>
                <a:gd name="T115" fmla="*/ 0 h 2417"/>
                <a:gd name="T116" fmla="*/ 0 w 3328"/>
                <a:gd name="T117" fmla="*/ 0 h 2417"/>
                <a:gd name="T118" fmla="*/ 0 w 3328"/>
                <a:gd name="T119" fmla="*/ 0 h 2417"/>
                <a:gd name="T120" fmla="*/ 0 w 3328"/>
                <a:gd name="T121" fmla="*/ 0 h 2417"/>
                <a:gd name="T122" fmla="*/ 0 w 3328"/>
                <a:gd name="T123" fmla="*/ 0 h 2417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328"/>
                <a:gd name="T187" fmla="*/ 0 h 2417"/>
                <a:gd name="T188" fmla="*/ 3328 w 3328"/>
                <a:gd name="T189" fmla="*/ 2417 h 2417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328" h="2417">
                  <a:moveTo>
                    <a:pt x="3254" y="904"/>
                  </a:moveTo>
                  <a:cubicBezTo>
                    <a:pt x="3252" y="904"/>
                    <a:pt x="3250" y="904"/>
                    <a:pt x="3248" y="903"/>
                  </a:cubicBezTo>
                  <a:lnTo>
                    <a:pt x="3176" y="862"/>
                  </a:lnTo>
                  <a:lnTo>
                    <a:pt x="3178" y="863"/>
                  </a:lnTo>
                  <a:lnTo>
                    <a:pt x="3016" y="823"/>
                  </a:lnTo>
                  <a:lnTo>
                    <a:pt x="2853" y="762"/>
                  </a:lnTo>
                  <a:lnTo>
                    <a:pt x="2855" y="763"/>
                  </a:lnTo>
                  <a:lnTo>
                    <a:pt x="2671" y="742"/>
                  </a:lnTo>
                  <a:lnTo>
                    <a:pt x="2509" y="722"/>
                  </a:lnTo>
                  <a:cubicBezTo>
                    <a:pt x="2507" y="722"/>
                    <a:pt x="2505" y="721"/>
                    <a:pt x="2503" y="719"/>
                  </a:cubicBezTo>
                  <a:lnTo>
                    <a:pt x="2457" y="659"/>
                  </a:lnTo>
                  <a:lnTo>
                    <a:pt x="2459" y="661"/>
                  </a:lnTo>
                  <a:lnTo>
                    <a:pt x="2365" y="600"/>
                  </a:lnTo>
                  <a:lnTo>
                    <a:pt x="2368" y="601"/>
                  </a:lnTo>
                  <a:lnTo>
                    <a:pt x="2253" y="581"/>
                  </a:lnTo>
                  <a:cubicBezTo>
                    <a:pt x="2251" y="581"/>
                    <a:pt x="2250" y="580"/>
                    <a:pt x="2249" y="579"/>
                  </a:cubicBezTo>
                  <a:lnTo>
                    <a:pt x="2158" y="498"/>
                  </a:lnTo>
                  <a:lnTo>
                    <a:pt x="2018" y="398"/>
                  </a:lnTo>
                  <a:lnTo>
                    <a:pt x="2020" y="399"/>
                  </a:lnTo>
                  <a:lnTo>
                    <a:pt x="1973" y="379"/>
                  </a:lnTo>
                  <a:lnTo>
                    <a:pt x="1976" y="379"/>
                  </a:lnTo>
                  <a:lnTo>
                    <a:pt x="1930" y="379"/>
                  </a:lnTo>
                  <a:cubicBezTo>
                    <a:pt x="1929" y="379"/>
                    <a:pt x="1929" y="379"/>
                    <a:pt x="1928" y="379"/>
                  </a:cubicBezTo>
                  <a:lnTo>
                    <a:pt x="1837" y="359"/>
                  </a:lnTo>
                  <a:cubicBezTo>
                    <a:pt x="1837" y="359"/>
                    <a:pt x="1836" y="359"/>
                    <a:pt x="1836" y="359"/>
                  </a:cubicBezTo>
                  <a:lnTo>
                    <a:pt x="1742" y="318"/>
                  </a:lnTo>
                  <a:lnTo>
                    <a:pt x="1747" y="319"/>
                  </a:lnTo>
                  <a:lnTo>
                    <a:pt x="1654" y="339"/>
                  </a:lnTo>
                  <a:cubicBezTo>
                    <a:pt x="1652" y="339"/>
                    <a:pt x="1650" y="339"/>
                    <a:pt x="1648" y="338"/>
                  </a:cubicBezTo>
                  <a:lnTo>
                    <a:pt x="1533" y="278"/>
                  </a:lnTo>
                  <a:lnTo>
                    <a:pt x="1537" y="279"/>
                  </a:lnTo>
                  <a:lnTo>
                    <a:pt x="1443" y="279"/>
                  </a:lnTo>
                  <a:cubicBezTo>
                    <a:pt x="1443" y="279"/>
                    <a:pt x="1442" y="279"/>
                    <a:pt x="1442" y="279"/>
                  </a:cubicBezTo>
                  <a:lnTo>
                    <a:pt x="1326" y="258"/>
                  </a:lnTo>
                  <a:lnTo>
                    <a:pt x="1070" y="177"/>
                  </a:lnTo>
                  <a:cubicBezTo>
                    <a:pt x="1069" y="177"/>
                    <a:pt x="1069" y="177"/>
                    <a:pt x="1068" y="177"/>
                  </a:cubicBezTo>
                  <a:lnTo>
                    <a:pt x="999" y="136"/>
                  </a:lnTo>
                  <a:lnTo>
                    <a:pt x="1003" y="137"/>
                  </a:lnTo>
                  <a:lnTo>
                    <a:pt x="888" y="137"/>
                  </a:lnTo>
                  <a:cubicBezTo>
                    <a:pt x="888" y="137"/>
                    <a:pt x="887" y="137"/>
                    <a:pt x="887" y="137"/>
                  </a:cubicBezTo>
                  <a:lnTo>
                    <a:pt x="631" y="97"/>
                  </a:lnTo>
                  <a:cubicBezTo>
                    <a:pt x="630" y="97"/>
                    <a:pt x="629" y="97"/>
                    <a:pt x="628" y="96"/>
                  </a:cubicBezTo>
                  <a:lnTo>
                    <a:pt x="560" y="56"/>
                  </a:lnTo>
                  <a:cubicBezTo>
                    <a:pt x="559" y="55"/>
                    <a:pt x="559" y="55"/>
                    <a:pt x="558" y="55"/>
                  </a:cubicBezTo>
                  <a:lnTo>
                    <a:pt x="512" y="15"/>
                  </a:lnTo>
                  <a:lnTo>
                    <a:pt x="517" y="16"/>
                  </a:lnTo>
                  <a:lnTo>
                    <a:pt x="470" y="16"/>
                  </a:lnTo>
                  <a:lnTo>
                    <a:pt x="402" y="16"/>
                  </a:lnTo>
                  <a:lnTo>
                    <a:pt x="407" y="14"/>
                  </a:lnTo>
                  <a:lnTo>
                    <a:pt x="385" y="35"/>
                  </a:lnTo>
                  <a:lnTo>
                    <a:pt x="386" y="33"/>
                  </a:lnTo>
                  <a:lnTo>
                    <a:pt x="362" y="73"/>
                  </a:lnTo>
                  <a:cubicBezTo>
                    <a:pt x="360" y="76"/>
                    <a:pt x="358" y="77"/>
                    <a:pt x="355" y="77"/>
                  </a:cubicBezTo>
                  <a:lnTo>
                    <a:pt x="308" y="77"/>
                  </a:lnTo>
                  <a:lnTo>
                    <a:pt x="309" y="77"/>
                  </a:lnTo>
                  <a:lnTo>
                    <a:pt x="172" y="97"/>
                  </a:lnTo>
                  <a:lnTo>
                    <a:pt x="173" y="97"/>
                  </a:lnTo>
                  <a:lnTo>
                    <a:pt x="58" y="137"/>
                  </a:lnTo>
                  <a:lnTo>
                    <a:pt x="63" y="127"/>
                  </a:lnTo>
                  <a:lnTo>
                    <a:pt x="85" y="208"/>
                  </a:lnTo>
                  <a:cubicBezTo>
                    <a:pt x="85" y="209"/>
                    <a:pt x="85" y="209"/>
                    <a:pt x="85" y="210"/>
                  </a:cubicBezTo>
                  <a:lnTo>
                    <a:pt x="85" y="230"/>
                  </a:lnTo>
                  <a:lnTo>
                    <a:pt x="85" y="271"/>
                  </a:lnTo>
                  <a:lnTo>
                    <a:pt x="85" y="268"/>
                  </a:lnTo>
                  <a:lnTo>
                    <a:pt x="109" y="328"/>
                  </a:lnTo>
                  <a:cubicBezTo>
                    <a:pt x="110" y="330"/>
                    <a:pt x="110" y="332"/>
                    <a:pt x="110" y="334"/>
                  </a:cubicBezTo>
                  <a:lnTo>
                    <a:pt x="63" y="475"/>
                  </a:lnTo>
                  <a:lnTo>
                    <a:pt x="54" y="464"/>
                  </a:lnTo>
                  <a:lnTo>
                    <a:pt x="191" y="444"/>
                  </a:lnTo>
                  <a:cubicBezTo>
                    <a:pt x="193" y="444"/>
                    <a:pt x="194" y="444"/>
                    <a:pt x="196" y="445"/>
                  </a:cubicBezTo>
                  <a:lnTo>
                    <a:pt x="243" y="465"/>
                  </a:lnTo>
                  <a:cubicBezTo>
                    <a:pt x="245" y="466"/>
                    <a:pt x="247" y="469"/>
                    <a:pt x="247" y="472"/>
                  </a:cubicBezTo>
                  <a:lnTo>
                    <a:pt x="247" y="513"/>
                  </a:lnTo>
                  <a:cubicBezTo>
                    <a:pt x="247" y="515"/>
                    <a:pt x="246" y="517"/>
                    <a:pt x="245" y="519"/>
                  </a:cubicBezTo>
                  <a:lnTo>
                    <a:pt x="223" y="539"/>
                  </a:lnTo>
                  <a:lnTo>
                    <a:pt x="221" y="525"/>
                  </a:lnTo>
                  <a:lnTo>
                    <a:pt x="267" y="546"/>
                  </a:lnTo>
                  <a:lnTo>
                    <a:pt x="264" y="545"/>
                  </a:lnTo>
                  <a:lnTo>
                    <a:pt x="355" y="545"/>
                  </a:lnTo>
                  <a:cubicBezTo>
                    <a:pt x="357" y="545"/>
                    <a:pt x="359" y="546"/>
                    <a:pt x="360" y="547"/>
                  </a:cubicBezTo>
                  <a:lnTo>
                    <a:pt x="407" y="587"/>
                  </a:lnTo>
                  <a:lnTo>
                    <a:pt x="402" y="585"/>
                  </a:lnTo>
                  <a:lnTo>
                    <a:pt x="470" y="585"/>
                  </a:lnTo>
                  <a:lnTo>
                    <a:pt x="468" y="586"/>
                  </a:lnTo>
                  <a:lnTo>
                    <a:pt x="540" y="565"/>
                  </a:lnTo>
                  <a:cubicBezTo>
                    <a:pt x="541" y="565"/>
                    <a:pt x="543" y="565"/>
                    <a:pt x="545" y="566"/>
                  </a:cubicBezTo>
                  <a:lnTo>
                    <a:pt x="636" y="606"/>
                  </a:lnTo>
                  <a:cubicBezTo>
                    <a:pt x="637" y="607"/>
                    <a:pt x="638" y="608"/>
                    <a:pt x="639" y="609"/>
                  </a:cubicBezTo>
                  <a:lnTo>
                    <a:pt x="664" y="650"/>
                  </a:lnTo>
                  <a:cubicBezTo>
                    <a:pt x="665" y="651"/>
                    <a:pt x="665" y="652"/>
                    <a:pt x="665" y="654"/>
                  </a:cubicBezTo>
                  <a:lnTo>
                    <a:pt x="665" y="674"/>
                  </a:lnTo>
                  <a:lnTo>
                    <a:pt x="660" y="667"/>
                  </a:lnTo>
                  <a:lnTo>
                    <a:pt x="707" y="687"/>
                  </a:lnTo>
                  <a:cubicBezTo>
                    <a:pt x="709" y="688"/>
                    <a:pt x="710" y="689"/>
                    <a:pt x="711" y="690"/>
                  </a:cubicBezTo>
                  <a:lnTo>
                    <a:pt x="733" y="731"/>
                  </a:lnTo>
                  <a:cubicBezTo>
                    <a:pt x="734" y="732"/>
                    <a:pt x="734" y="733"/>
                    <a:pt x="734" y="735"/>
                  </a:cubicBezTo>
                  <a:lnTo>
                    <a:pt x="734" y="755"/>
                  </a:lnTo>
                  <a:cubicBezTo>
                    <a:pt x="734" y="758"/>
                    <a:pt x="732" y="761"/>
                    <a:pt x="729" y="762"/>
                  </a:cubicBezTo>
                  <a:lnTo>
                    <a:pt x="636" y="802"/>
                  </a:lnTo>
                  <a:lnTo>
                    <a:pt x="568" y="842"/>
                  </a:lnTo>
                  <a:lnTo>
                    <a:pt x="473" y="883"/>
                  </a:lnTo>
                  <a:lnTo>
                    <a:pt x="478" y="873"/>
                  </a:lnTo>
                  <a:lnTo>
                    <a:pt x="502" y="933"/>
                  </a:lnTo>
                  <a:cubicBezTo>
                    <a:pt x="503" y="935"/>
                    <a:pt x="503" y="938"/>
                    <a:pt x="502" y="940"/>
                  </a:cubicBezTo>
                  <a:lnTo>
                    <a:pt x="455" y="1021"/>
                  </a:lnTo>
                  <a:lnTo>
                    <a:pt x="456" y="1017"/>
                  </a:lnTo>
                  <a:lnTo>
                    <a:pt x="456" y="1077"/>
                  </a:lnTo>
                  <a:cubicBezTo>
                    <a:pt x="456" y="1080"/>
                    <a:pt x="455" y="1082"/>
                    <a:pt x="454" y="1083"/>
                  </a:cubicBezTo>
                  <a:lnTo>
                    <a:pt x="432" y="1103"/>
                  </a:lnTo>
                  <a:cubicBezTo>
                    <a:pt x="430" y="1105"/>
                    <a:pt x="428" y="1106"/>
                    <a:pt x="426" y="1106"/>
                  </a:cubicBezTo>
                  <a:lnTo>
                    <a:pt x="402" y="1106"/>
                  </a:lnTo>
                  <a:lnTo>
                    <a:pt x="410" y="1098"/>
                  </a:lnTo>
                  <a:lnTo>
                    <a:pt x="410" y="1178"/>
                  </a:lnTo>
                  <a:cubicBezTo>
                    <a:pt x="410" y="1181"/>
                    <a:pt x="409" y="1183"/>
                    <a:pt x="407" y="1184"/>
                  </a:cubicBezTo>
                  <a:lnTo>
                    <a:pt x="360" y="1225"/>
                  </a:lnTo>
                  <a:cubicBezTo>
                    <a:pt x="359" y="1225"/>
                    <a:pt x="358" y="1226"/>
                    <a:pt x="357" y="1226"/>
                  </a:cubicBezTo>
                  <a:lnTo>
                    <a:pt x="288" y="1246"/>
                  </a:lnTo>
                  <a:cubicBezTo>
                    <a:pt x="288" y="1247"/>
                    <a:pt x="287" y="1247"/>
                    <a:pt x="286" y="1247"/>
                  </a:cubicBezTo>
                  <a:lnTo>
                    <a:pt x="217" y="1247"/>
                  </a:lnTo>
                  <a:lnTo>
                    <a:pt x="225" y="1236"/>
                  </a:lnTo>
                  <a:lnTo>
                    <a:pt x="272" y="1398"/>
                  </a:lnTo>
                  <a:lnTo>
                    <a:pt x="269" y="1394"/>
                  </a:lnTo>
                  <a:lnTo>
                    <a:pt x="313" y="1434"/>
                  </a:lnTo>
                  <a:cubicBezTo>
                    <a:pt x="315" y="1436"/>
                    <a:pt x="316" y="1438"/>
                    <a:pt x="316" y="1440"/>
                  </a:cubicBezTo>
                  <a:lnTo>
                    <a:pt x="316" y="1461"/>
                  </a:lnTo>
                  <a:cubicBezTo>
                    <a:pt x="316" y="1463"/>
                    <a:pt x="315" y="1465"/>
                    <a:pt x="313" y="1466"/>
                  </a:cubicBezTo>
                  <a:lnTo>
                    <a:pt x="291" y="1487"/>
                  </a:lnTo>
                  <a:cubicBezTo>
                    <a:pt x="291" y="1487"/>
                    <a:pt x="290" y="1488"/>
                    <a:pt x="288" y="1488"/>
                  </a:cubicBezTo>
                  <a:lnTo>
                    <a:pt x="220" y="1509"/>
                  </a:lnTo>
                  <a:lnTo>
                    <a:pt x="224" y="1505"/>
                  </a:lnTo>
                  <a:lnTo>
                    <a:pt x="199" y="1545"/>
                  </a:lnTo>
                  <a:lnTo>
                    <a:pt x="200" y="1544"/>
                  </a:lnTo>
                  <a:lnTo>
                    <a:pt x="178" y="1604"/>
                  </a:lnTo>
                  <a:lnTo>
                    <a:pt x="178" y="1599"/>
                  </a:lnTo>
                  <a:lnTo>
                    <a:pt x="200" y="1660"/>
                  </a:lnTo>
                  <a:lnTo>
                    <a:pt x="199" y="1658"/>
                  </a:lnTo>
                  <a:lnTo>
                    <a:pt x="224" y="1698"/>
                  </a:lnTo>
                  <a:lnTo>
                    <a:pt x="217" y="1695"/>
                  </a:lnTo>
                  <a:lnTo>
                    <a:pt x="239" y="1695"/>
                  </a:lnTo>
                  <a:cubicBezTo>
                    <a:pt x="243" y="1695"/>
                    <a:pt x="246" y="1697"/>
                    <a:pt x="247" y="1700"/>
                  </a:cubicBezTo>
                  <a:cubicBezTo>
                    <a:pt x="248" y="1703"/>
                    <a:pt x="247" y="1706"/>
                    <a:pt x="245" y="1709"/>
                  </a:cubicBezTo>
                  <a:lnTo>
                    <a:pt x="176" y="1769"/>
                  </a:lnTo>
                  <a:cubicBezTo>
                    <a:pt x="175" y="1770"/>
                    <a:pt x="175" y="1770"/>
                    <a:pt x="174" y="1770"/>
                  </a:cubicBezTo>
                  <a:lnTo>
                    <a:pt x="59" y="1831"/>
                  </a:lnTo>
                  <a:lnTo>
                    <a:pt x="63" y="1826"/>
                  </a:lnTo>
                  <a:lnTo>
                    <a:pt x="38" y="1907"/>
                  </a:lnTo>
                  <a:lnTo>
                    <a:pt x="16" y="1987"/>
                  </a:lnTo>
                  <a:lnTo>
                    <a:pt x="8" y="1977"/>
                  </a:lnTo>
                  <a:lnTo>
                    <a:pt x="55" y="1977"/>
                  </a:lnTo>
                  <a:cubicBezTo>
                    <a:pt x="56" y="1977"/>
                    <a:pt x="56" y="1977"/>
                    <a:pt x="57" y="1977"/>
                  </a:cubicBezTo>
                  <a:lnTo>
                    <a:pt x="172" y="1997"/>
                  </a:lnTo>
                  <a:cubicBezTo>
                    <a:pt x="173" y="1997"/>
                    <a:pt x="174" y="1998"/>
                    <a:pt x="175" y="1998"/>
                  </a:cubicBezTo>
                  <a:lnTo>
                    <a:pt x="268" y="2059"/>
                  </a:lnTo>
                  <a:cubicBezTo>
                    <a:pt x="269" y="2059"/>
                    <a:pt x="270" y="2060"/>
                    <a:pt x="271" y="2061"/>
                  </a:cubicBezTo>
                  <a:lnTo>
                    <a:pt x="315" y="2121"/>
                  </a:lnTo>
                  <a:cubicBezTo>
                    <a:pt x="316" y="2123"/>
                    <a:pt x="316" y="2124"/>
                    <a:pt x="316" y="2126"/>
                  </a:cubicBezTo>
                  <a:lnTo>
                    <a:pt x="316" y="2227"/>
                  </a:lnTo>
                  <a:lnTo>
                    <a:pt x="316" y="2225"/>
                  </a:lnTo>
                  <a:lnTo>
                    <a:pt x="341" y="2326"/>
                  </a:lnTo>
                  <a:lnTo>
                    <a:pt x="338" y="2322"/>
                  </a:lnTo>
                  <a:lnTo>
                    <a:pt x="431" y="2402"/>
                  </a:lnTo>
                  <a:lnTo>
                    <a:pt x="424" y="2401"/>
                  </a:lnTo>
                  <a:lnTo>
                    <a:pt x="608" y="2340"/>
                  </a:lnTo>
                  <a:lnTo>
                    <a:pt x="702" y="2320"/>
                  </a:lnTo>
                  <a:lnTo>
                    <a:pt x="818" y="2300"/>
                  </a:lnTo>
                  <a:lnTo>
                    <a:pt x="817" y="2300"/>
                  </a:lnTo>
                  <a:lnTo>
                    <a:pt x="932" y="2260"/>
                  </a:lnTo>
                  <a:cubicBezTo>
                    <a:pt x="933" y="2259"/>
                    <a:pt x="935" y="2259"/>
                    <a:pt x="936" y="2259"/>
                  </a:cubicBezTo>
                  <a:lnTo>
                    <a:pt x="1052" y="2280"/>
                  </a:lnTo>
                  <a:lnTo>
                    <a:pt x="1282" y="2320"/>
                  </a:lnTo>
                  <a:lnTo>
                    <a:pt x="1491" y="2340"/>
                  </a:lnTo>
                  <a:lnTo>
                    <a:pt x="1583" y="2340"/>
                  </a:lnTo>
                  <a:lnTo>
                    <a:pt x="1578" y="2342"/>
                  </a:lnTo>
                  <a:lnTo>
                    <a:pt x="1647" y="2281"/>
                  </a:lnTo>
                  <a:lnTo>
                    <a:pt x="1645" y="2283"/>
                  </a:lnTo>
                  <a:lnTo>
                    <a:pt x="1692" y="2203"/>
                  </a:lnTo>
                  <a:cubicBezTo>
                    <a:pt x="1693" y="2201"/>
                    <a:pt x="1694" y="2200"/>
                    <a:pt x="1696" y="2199"/>
                  </a:cubicBezTo>
                  <a:lnTo>
                    <a:pt x="1789" y="2159"/>
                  </a:lnTo>
                  <a:cubicBezTo>
                    <a:pt x="1790" y="2159"/>
                    <a:pt x="1791" y="2159"/>
                    <a:pt x="1792" y="2158"/>
                  </a:cubicBezTo>
                  <a:lnTo>
                    <a:pt x="2022" y="2138"/>
                  </a:lnTo>
                  <a:lnTo>
                    <a:pt x="2016" y="2149"/>
                  </a:lnTo>
                  <a:lnTo>
                    <a:pt x="1994" y="2089"/>
                  </a:lnTo>
                  <a:cubicBezTo>
                    <a:pt x="1993" y="2087"/>
                    <a:pt x="1993" y="2085"/>
                    <a:pt x="1994" y="2083"/>
                  </a:cubicBezTo>
                  <a:lnTo>
                    <a:pt x="2016" y="2023"/>
                  </a:lnTo>
                  <a:cubicBezTo>
                    <a:pt x="2016" y="2021"/>
                    <a:pt x="2017" y="2020"/>
                    <a:pt x="2018" y="2019"/>
                  </a:cubicBezTo>
                  <a:lnTo>
                    <a:pt x="2158" y="1898"/>
                  </a:lnTo>
                  <a:cubicBezTo>
                    <a:pt x="2159" y="1898"/>
                    <a:pt x="2159" y="1897"/>
                    <a:pt x="2160" y="1897"/>
                  </a:cubicBezTo>
                  <a:lnTo>
                    <a:pt x="2319" y="1816"/>
                  </a:lnTo>
                  <a:lnTo>
                    <a:pt x="2316" y="1828"/>
                  </a:lnTo>
                  <a:lnTo>
                    <a:pt x="2225" y="1687"/>
                  </a:lnTo>
                  <a:cubicBezTo>
                    <a:pt x="2224" y="1685"/>
                    <a:pt x="2224" y="1684"/>
                    <a:pt x="2224" y="1682"/>
                  </a:cubicBezTo>
                  <a:lnTo>
                    <a:pt x="2224" y="1582"/>
                  </a:lnTo>
                  <a:cubicBezTo>
                    <a:pt x="2224" y="1579"/>
                    <a:pt x="2225" y="1577"/>
                    <a:pt x="2227" y="1576"/>
                  </a:cubicBezTo>
                  <a:lnTo>
                    <a:pt x="2317" y="1495"/>
                  </a:lnTo>
                  <a:lnTo>
                    <a:pt x="2317" y="1496"/>
                  </a:lnTo>
                  <a:lnTo>
                    <a:pt x="2435" y="1355"/>
                  </a:lnTo>
                  <a:cubicBezTo>
                    <a:pt x="2435" y="1354"/>
                    <a:pt x="2436" y="1354"/>
                    <a:pt x="2436" y="1353"/>
                  </a:cubicBezTo>
                  <a:lnTo>
                    <a:pt x="2552" y="1272"/>
                  </a:lnTo>
                  <a:cubicBezTo>
                    <a:pt x="2553" y="1272"/>
                    <a:pt x="2555" y="1271"/>
                    <a:pt x="2556" y="1271"/>
                  </a:cubicBezTo>
                  <a:lnTo>
                    <a:pt x="2578" y="1271"/>
                  </a:lnTo>
                  <a:lnTo>
                    <a:pt x="2571" y="1277"/>
                  </a:lnTo>
                  <a:lnTo>
                    <a:pt x="2595" y="1196"/>
                  </a:lnTo>
                  <a:cubicBezTo>
                    <a:pt x="2596" y="1194"/>
                    <a:pt x="2597" y="1193"/>
                    <a:pt x="2599" y="1192"/>
                  </a:cubicBezTo>
                  <a:lnTo>
                    <a:pt x="2689" y="1131"/>
                  </a:lnTo>
                  <a:cubicBezTo>
                    <a:pt x="2690" y="1131"/>
                    <a:pt x="2691" y="1130"/>
                    <a:pt x="2692" y="1130"/>
                  </a:cubicBezTo>
                  <a:lnTo>
                    <a:pt x="2808" y="1110"/>
                  </a:lnTo>
                  <a:lnTo>
                    <a:pt x="3017" y="1090"/>
                  </a:lnTo>
                  <a:lnTo>
                    <a:pt x="3014" y="1090"/>
                  </a:lnTo>
                  <a:lnTo>
                    <a:pt x="3292" y="949"/>
                  </a:lnTo>
                  <a:cubicBezTo>
                    <a:pt x="3293" y="949"/>
                    <a:pt x="3294" y="948"/>
                    <a:pt x="3296" y="948"/>
                  </a:cubicBezTo>
                  <a:lnTo>
                    <a:pt x="3320" y="948"/>
                  </a:lnTo>
                  <a:lnTo>
                    <a:pt x="3312" y="956"/>
                  </a:lnTo>
                  <a:lnTo>
                    <a:pt x="3312" y="936"/>
                  </a:lnTo>
                  <a:lnTo>
                    <a:pt x="3312" y="876"/>
                  </a:lnTo>
                  <a:lnTo>
                    <a:pt x="3323" y="883"/>
                  </a:lnTo>
                  <a:lnTo>
                    <a:pt x="3254" y="904"/>
                  </a:lnTo>
                  <a:close/>
                  <a:moveTo>
                    <a:pt x="3318" y="868"/>
                  </a:moveTo>
                  <a:cubicBezTo>
                    <a:pt x="3321" y="867"/>
                    <a:pt x="3323" y="868"/>
                    <a:pt x="3325" y="869"/>
                  </a:cubicBezTo>
                  <a:cubicBezTo>
                    <a:pt x="3327" y="871"/>
                    <a:pt x="3328" y="873"/>
                    <a:pt x="3328" y="876"/>
                  </a:cubicBezTo>
                  <a:lnTo>
                    <a:pt x="3328" y="936"/>
                  </a:lnTo>
                  <a:lnTo>
                    <a:pt x="3328" y="956"/>
                  </a:lnTo>
                  <a:cubicBezTo>
                    <a:pt x="3328" y="961"/>
                    <a:pt x="3325" y="964"/>
                    <a:pt x="3320" y="964"/>
                  </a:cubicBezTo>
                  <a:lnTo>
                    <a:pt x="3296" y="964"/>
                  </a:lnTo>
                  <a:lnTo>
                    <a:pt x="3299" y="964"/>
                  </a:lnTo>
                  <a:lnTo>
                    <a:pt x="3022" y="1105"/>
                  </a:lnTo>
                  <a:cubicBezTo>
                    <a:pt x="3021" y="1105"/>
                    <a:pt x="3020" y="1105"/>
                    <a:pt x="3019" y="1106"/>
                  </a:cubicBezTo>
                  <a:lnTo>
                    <a:pt x="2811" y="1126"/>
                  </a:lnTo>
                  <a:lnTo>
                    <a:pt x="2695" y="1146"/>
                  </a:lnTo>
                  <a:lnTo>
                    <a:pt x="2698" y="1145"/>
                  </a:lnTo>
                  <a:lnTo>
                    <a:pt x="2608" y="1205"/>
                  </a:lnTo>
                  <a:lnTo>
                    <a:pt x="2611" y="1201"/>
                  </a:lnTo>
                  <a:lnTo>
                    <a:pt x="2586" y="1281"/>
                  </a:lnTo>
                  <a:cubicBezTo>
                    <a:pt x="2585" y="1285"/>
                    <a:pt x="2582" y="1287"/>
                    <a:pt x="2578" y="1287"/>
                  </a:cubicBezTo>
                  <a:lnTo>
                    <a:pt x="2556" y="1287"/>
                  </a:lnTo>
                  <a:lnTo>
                    <a:pt x="2561" y="1286"/>
                  </a:lnTo>
                  <a:lnTo>
                    <a:pt x="2446" y="1366"/>
                  </a:lnTo>
                  <a:lnTo>
                    <a:pt x="2447" y="1365"/>
                  </a:lnTo>
                  <a:lnTo>
                    <a:pt x="2329" y="1506"/>
                  </a:lnTo>
                  <a:cubicBezTo>
                    <a:pt x="2329" y="1506"/>
                    <a:pt x="2328" y="1507"/>
                    <a:pt x="2328" y="1507"/>
                  </a:cubicBezTo>
                  <a:lnTo>
                    <a:pt x="2237" y="1588"/>
                  </a:lnTo>
                  <a:lnTo>
                    <a:pt x="2240" y="1582"/>
                  </a:lnTo>
                  <a:lnTo>
                    <a:pt x="2240" y="1682"/>
                  </a:lnTo>
                  <a:lnTo>
                    <a:pt x="2239" y="1678"/>
                  </a:lnTo>
                  <a:lnTo>
                    <a:pt x="2329" y="1819"/>
                  </a:lnTo>
                  <a:cubicBezTo>
                    <a:pt x="2331" y="1821"/>
                    <a:pt x="2331" y="1824"/>
                    <a:pt x="2330" y="1826"/>
                  </a:cubicBezTo>
                  <a:cubicBezTo>
                    <a:pt x="2330" y="1828"/>
                    <a:pt x="2328" y="1830"/>
                    <a:pt x="2326" y="1831"/>
                  </a:cubicBezTo>
                  <a:lnTo>
                    <a:pt x="2167" y="1911"/>
                  </a:lnTo>
                  <a:lnTo>
                    <a:pt x="2169" y="1910"/>
                  </a:lnTo>
                  <a:lnTo>
                    <a:pt x="2028" y="2031"/>
                  </a:lnTo>
                  <a:lnTo>
                    <a:pt x="2031" y="2028"/>
                  </a:lnTo>
                  <a:lnTo>
                    <a:pt x="2009" y="2089"/>
                  </a:lnTo>
                  <a:lnTo>
                    <a:pt x="2009" y="2083"/>
                  </a:lnTo>
                  <a:lnTo>
                    <a:pt x="2031" y="2144"/>
                  </a:lnTo>
                  <a:cubicBezTo>
                    <a:pt x="2032" y="2146"/>
                    <a:pt x="2031" y="2148"/>
                    <a:pt x="2030" y="2151"/>
                  </a:cubicBezTo>
                  <a:cubicBezTo>
                    <a:pt x="2029" y="2153"/>
                    <a:pt x="2026" y="2154"/>
                    <a:pt x="2024" y="2154"/>
                  </a:cubicBezTo>
                  <a:lnTo>
                    <a:pt x="1793" y="2174"/>
                  </a:lnTo>
                  <a:lnTo>
                    <a:pt x="1795" y="2174"/>
                  </a:lnTo>
                  <a:lnTo>
                    <a:pt x="1702" y="2214"/>
                  </a:lnTo>
                  <a:lnTo>
                    <a:pt x="1706" y="2211"/>
                  </a:lnTo>
                  <a:lnTo>
                    <a:pt x="1659" y="2291"/>
                  </a:lnTo>
                  <a:cubicBezTo>
                    <a:pt x="1659" y="2292"/>
                    <a:pt x="1658" y="2293"/>
                    <a:pt x="1657" y="2293"/>
                  </a:cubicBezTo>
                  <a:lnTo>
                    <a:pt x="1589" y="2354"/>
                  </a:lnTo>
                  <a:cubicBezTo>
                    <a:pt x="1587" y="2355"/>
                    <a:pt x="1585" y="2356"/>
                    <a:pt x="1583" y="2356"/>
                  </a:cubicBezTo>
                  <a:lnTo>
                    <a:pt x="1489" y="2356"/>
                  </a:lnTo>
                  <a:lnTo>
                    <a:pt x="1280" y="2336"/>
                  </a:lnTo>
                  <a:lnTo>
                    <a:pt x="1049" y="2295"/>
                  </a:lnTo>
                  <a:lnTo>
                    <a:pt x="933" y="2275"/>
                  </a:lnTo>
                  <a:lnTo>
                    <a:pt x="937" y="2275"/>
                  </a:lnTo>
                  <a:lnTo>
                    <a:pt x="822" y="2315"/>
                  </a:lnTo>
                  <a:cubicBezTo>
                    <a:pt x="822" y="2315"/>
                    <a:pt x="821" y="2315"/>
                    <a:pt x="821" y="2316"/>
                  </a:cubicBezTo>
                  <a:lnTo>
                    <a:pt x="706" y="2336"/>
                  </a:lnTo>
                  <a:lnTo>
                    <a:pt x="613" y="2356"/>
                  </a:lnTo>
                  <a:lnTo>
                    <a:pt x="429" y="2416"/>
                  </a:lnTo>
                  <a:cubicBezTo>
                    <a:pt x="426" y="2417"/>
                    <a:pt x="423" y="2416"/>
                    <a:pt x="421" y="2415"/>
                  </a:cubicBezTo>
                  <a:lnTo>
                    <a:pt x="328" y="2334"/>
                  </a:lnTo>
                  <a:cubicBezTo>
                    <a:pt x="326" y="2333"/>
                    <a:pt x="325" y="2331"/>
                    <a:pt x="325" y="2330"/>
                  </a:cubicBezTo>
                  <a:lnTo>
                    <a:pt x="300" y="2229"/>
                  </a:lnTo>
                  <a:cubicBezTo>
                    <a:pt x="300" y="2228"/>
                    <a:pt x="300" y="2228"/>
                    <a:pt x="300" y="2227"/>
                  </a:cubicBezTo>
                  <a:lnTo>
                    <a:pt x="300" y="2126"/>
                  </a:lnTo>
                  <a:lnTo>
                    <a:pt x="302" y="2131"/>
                  </a:lnTo>
                  <a:lnTo>
                    <a:pt x="258" y="2070"/>
                  </a:lnTo>
                  <a:lnTo>
                    <a:pt x="260" y="2072"/>
                  </a:lnTo>
                  <a:lnTo>
                    <a:pt x="166" y="2012"/>
                  </a:lnTo>
                  <a:lnTo>
                    <a:pt x="169" y="2013"/>
                  </a:lnTo>
                  <a:lnTo>
                    <a:pt x="54" y="1993"/>
                  </a:lnTo>
                  <a:lnTo>
                    <a:pt x="55" y="1993"/>
                  </a:lnTo>
                  <a:lnTo>
                    <a:pt x="8" y="1993"/>
                  </a:lnTo>
                  <a:cubicBezTo>
                    <a:pt x="6" y="1993"/>
                    <a:pt x="4" y="1992"/>
                    <a:pt x="2" y="1990"/>
                  </a:cubicBezTo>
                  <a:cubicBezTo>
                    <a:pt x="1" y="1988"/>
                    <a:pt x="0" y="1985"/>
                    <a:pt x="1" y="1983"/>
                  </a:cubicBezTo>
                  <a:lnTo>
                    <a:pt x="23" y="1902"/>
                  </a:lnTo>
                  <a:lnTo>
                    <a:pt x="48" y="1821"/>
                  </a:lnTo>
                  <a:cubicBezTo>
                    <a:pt x="48" y="1819"/>
                    <a:pt x="50" y="1817"/>
                    <a:pt x="51" y="1816"/>
                  </a:cubicBezTo>
                  <a:lnTo>
                    <a:pt x="167" y="1756"/>
                  </a:lnTo>
                  <a:lnTo>
                    <a:pt x="165" y="1757"/>
                  </a:lnTo>
                  <a:lnTo>
                    <a:pt x="234" y="1697"/>
                  </a:lnTo>
                  <a:lnTo>
                    <a:pt x="239" y="1711"/>
                  </a:lnTo>
                  <a:lnTo>
                    <a:pt x="217" y="1711"/>
                  </a:lnTo>
                  <a:cubicBezTo>
                    <a:pt x="215" y="1711"/>
                    <a:pt x="212" y="1709"/>
                    <a:pt x="211" y="1707"/>
                  </a:cubicBezTo>
                  <a:lnTo>
                    <a:pt x="186" y="1666"/>
                  </a:lnTo>
                  <a:cubicBezTo>
                    <a:pt x="186" y="1666"/>
                    <a:pt x="185" y="1665"/>
                    <a:pt x="185" y="1665"/>
                  </a:cubicBezTo>
                  <a:lnTo>
                    <a:pt x="163" y="1604"/>
                  </a:lnTo>
                  <a:cubicBezTo>
                    <a:pt x="162" y="1603"/>
                    <a:pt x="162" y="1601"/>
                    <a:pt x="163" y="1599"/>
                  </a:cubicBezTo>
                  <a:lnTo>
                    <a:pt x="185" y="1539"/>
                  </a:lnTo>
                  <a:cubicBezTo>
                    <a:pt x="185" y="1538"/>
                    <a:pt x="186" y="1538"/>
                    <a:pt x="186" y="1537"/>
                  </a:cubicBezTo>
                  <a:lnTo>
                    <a:pt x="211" y="1497"/>
                  </a:lnTo>
                  <a:cubicBezTo>
                    <a:pt x="212" y="1495"/>
                    <a:pt x="213" y="1494"/>
                    <a:pt x="215" y="1493"/>
                  </a:cubicBezTo>
                  <a:lnTo>
                    <a:pt x="284" y="1473"/>
                  </a:lnTo>
                  <a:lnTo>
                    <a:pt x="281" y="1475"/>
                  </a:lnTo>
                  <a:lnTo>
                    <a:pt x="303" y="1455"/>
                  </a:lnTo>
                  <a:lnTo>
                    <a:pt x="300" y="1461"/>
                  </a:lnTo>
                  <a:lnTo>
                    <a:pt x="300" y="1440"/>
                  </a:lnTo>
                  <a:lnTo>
                    <a:pt x="303" y="1446"/>
                  </a:lnTo>
                  <a:lnTo>
                    <a:pt x="259" y="1406"/>
                  </a:lnTo>
                  <a:cubicBezTo>
                    <a:pt x="258" y="1405"/>
                    <a:pt x="257" y="1404"/>
                    <a:pt x="256" y="1402"/>
                  </a:cubicBezTo>
                  <a:lnTo>
                    <a:pt x="210" y="1241"/>
                  </a:lnTo>
                  <a:cubicBezTo>
                    <a:pt x="209" y="1239"/>
                    <a:pt x="209" y="1236"/>
                    <a:pt x="211" y="1234"/>
                  </a:cubicBezTo>
                  <a:cubicBezTo>
                    <a:pt x="212" y="1232"/>
                    <a:pt x="215" y="1231"/>
                    <a:pt x="217" y="1231"/>
                  </a:cubicBezTo>
                  <a:lnTo>
                    <a:pt x="286" y="1231"/>
                  </a:lnTo>
                  <a:lnTo>
                    <a:pt x="284" y="1231"/>
                  </a:lnTo>
                  <a:lnTo>
                    <a:pt x="353" y="1211"/>
                  </a:lnTo>
                  <a:lnTo>
                    <a:pt x="350" y="1212"/>
                  </a:lnTo>
                  <a:lnTo>
                    <a:pt x="396" y="1172"/>
                  </a:lnTo>
                  <a:lnTo>
                    <a:pt x="394" y="1178"/>
                  </a:lnTo>
                  <a:lnTo>
                    <a:pt x="394" y="1098"/>
                  </a:lnTo>
                  <a:cubicBezTo>
                    <a:pt x="394" y="1093"/>
                    <a:pt x="397" y="1090"/>
                    <a:pt x="402" y="1090"/>
                  </a:cubicBezTo>
                  <a:lnTo>
                    <a:pt x="426" y="1090"/>
                  </a:lnTo>
                  <a:lnTo>
                    <a:pt x="421" y="1092"/>
                  </a:lnTo>
                  <a:lnTo>
                    <a:pt x="443" y="1071"/>
                  </a:lnTo>
                  <a:lnTo>
                    <a:pt x="440" y="1077"/>
                  </a:lnTo>
                  <a:lnTo>
                    <a:pt x="440" y="1017"/>
                  </a:lnTo>
                  <a:cubicBezTo>
                    <a:pt x="440" y="1015"/>
                    <a:pt x="441" y="1014"/>
                    <a:pt x="441" y="1013"/>
                  </a:cubicBezTo>
                  <a:lnTo>
                    <a:pt x="488" y="932"/>
                  </a:lnTo>
                  <a:lnTo>
                    <a:pt x="488" y="939"/>
                  </a:lnTo>
                  <a:lnTo>
                    <a:pt x="463" y="879"/>
                  </a:lnTo>
                  <a:cubicBezTo>
                    <a:pt x="461" y="875"/>
                    <a:pt x="463" y="870"/>
                    <a:pt x="467" y="868"/>
                  </a:cubicBezTo>
                  <a:lnTo>
                    <a:pt x="560" y="828"/>
                  </a:lnTo>
                  <a:lnTo>
                    <a:pt x="629" y="788"/>
                  </a:lnTo>
                  <a:lnTo>
                    <a:pt x="723" y="747"/>
                  </a:lnTo>
                  <a:lnTo>
                    <a:pt x="718" y="755"/>
                  </a:lnTo>
                  <a:lnTo>
                    <a:pt x="718" y="735"/>
                  </a:lnTo>
                  <a:lnTo>
                    <a:pt x="719" y="738"/>
                  </a:lnTo>
                  <a:lnTo>
                    <a:pt x="697" y="698"/>
                  </a:lnTo>
                  <a:lnTo>
                    <a:pt x="701" y="702"/>
                  </a:lnTo>
                  <a:lnTo>
                    <a:pt x="654" y="681"/>
                  </a:lnTo>
                  <a:cubicBezTo>
                    <a:pt x="651" y="680"/>
                    <a:pt x="649" y="677"/>
                    <a:pt x="649" y="674"/>
                  </a:cubicBezTo>
                  <a:lnTo>
                    <a:pt x="649" y="654"/>
                  </a:lnTo>
                  <a:lnTo>
                    <a:pt x="650" y="658"/>
                  </a:lnTo>
                  <a:lnTo>
                    <a:pt x="626" y="618"/>
                  </a:lnTo>
                  <a:lnTo>
                    <a:pt x="629" y="621"/>
                  </a:lnTo>
                  <a:lnTo>
                    <a:pt x="538" y="580"/>
                  </a:lnTo>
                  <a:lnTo>
                    <a:pt x="544" y="581"/>
                  </a:lnTo>
                  <a:lnTo>
                    <a:pt x="472" y="601"/>
                  </a:lnTo>
                  <a:cubicBezTo>
                    <a:pt x="472" y="601"/>
                    <a:pt x="471" y="601"/>
                    <a:pt x="470" y="601"/>
                  </a:cubicBezTo>
                  <a:lnTo>
                    <a:pt x="402" y="601"/>
                  </a:lnTo>
                  <a:cubicBezTo>
                    <a:pt x="400" y="601"/>
                    <a:pt x="398" y="601"/>
                    <a:pt x="396" y="599"/>
                  </a:cubicBezTo>
                  <a:lnTo>
                    <a:pt x="350" y="559"/>
                  </a:lnTo>
                  <a:lnTo>
                    <a:pt x="355" y="561"/>
                  </a:lnTo>
                  <a:lnTo>
                    <a:pt x="264" y="561"/>
                  </a:lnTo>
                  <a:cubicBezTo>
                    <a:pt x="263" y="561"/>
                    <a:pt x="262" y="561"/>
                    <a:pt x="261" y="560"/>
                  </a:cubicBezTo>
                  <a:lnTo>
                    <a:pt x="214" y="540"/>
                  </a:lnTo>
                  <a:cubicBezTo>
                    <a:pt x="212" y="539"/>
                    <a:pt x="210" y="537"/>
                    <a:pt x="209" y="534"/>
                  </a:cubicBezTo>
                  <a:cubicBezTo>
                    <a:pt x="209" y="531"/>
                    <a:pt x="210" y="529"/>
                    <a:pt x="212" y="527"/>
                  </a:cubicBezTo>
                  <a:lnTo>
                    <a:pt x="234" y="507"/>
                  </a:lnTo>
                  <a:lnTo>
                    <a:pt x="231" y="513"/>
                  </a:lnTo>
                  <a:lnTo>
                    <a:pt x="231" y="472"/>
                  </a:lnTo>
                  <a:lnTo>
                    <a:pt x="236" y="480"/>
                  </a:lnTo>
                  <a:lnTo>
                    <a:pt x="189" y="460"/>
                  </a:lnTo>
                  <a:lnTo>
                    <a:pt x="194" y="460"/>
                  </a:lnTo>
                  <a:lnTo>
                    <a:pt x="56" y="480"/>
                  </a:lnTo>
                  <a:cubicBezTo>
                    <a:pt x="54" y="481"/>
                    <a:pt x="51" y="480"/>
                    <a:pt x="49" y="477"/>
                  </a:cubicBezTo>
                  <a:cubicBezTo>
                    <a:pt x="47" y="475"/>
                    <a:pt x="47" y="472"/>
                    <a:pt x="48" y="470"/>
                  </a:cubicBezTo>
                  <a:lnTo>
                    <a:pt x="94" y="329"/>
                  </a:lnTo>
                  <a:lnTo>
                    <a:pt x="95" y="334"/>
                  </a:lnTo>
                  <a:lnTo>
                    <a:pt x="70" y="274"/>
                  </a:lnTo>
                  <a:cubicBezTo>
                    <a:pt x="69" y="273"/>
                    <a:pt x="69" y="272"/>
                    <a:pt x="69" y="271"/>
                  </a:cubicBezTo>
                  <a:lnTo>
                    <a:pt x="69" y="230"/>
                  </a:lnTo>
                  <a:lnTo>
                    <a:pt x="69" y="210"/>
                  </a:lnTo>
                  <a:lnTo>
                    <a:pt x="69" y="212"/>
                  </a:lnTo>
                  <a:lnTo>
                    <a:pt x="47" y="132"/>
                  </a:lnTo>
                  <a:cubicBezTo>
                    <a:pt x="46" y="128"/>
                    <a:pt x="49" y="123"/>
                    <a:pt x="53" y="122"/>
                  </a:cubicBezTo>
                  <a:lnTo>
                    <a:pt x="168" y="82"/>
                  </a:lnTo>
                  <a:cubicBezTo>
                    <a:pt x="168" y="81"/>
                    <a:pt x="169" y="81"/>
                    <a:pt x="169" y="81"/>
                  </a:cubicBezTo>
                  <a:lnTo>
                    <a:pt x="307" y="61"/>
                  </a:lnTo>
                  <a:cubicBezTo>
                    <a:pt x="307" y="61"/>
                    <a:pt x="308" y="61"/>
                    <a:pt x="308" y="61"/>
                  </a:cubicBezTo>
                  <a:lnTo>
                    <a:pt x="355" y="61"/>
                  </a:lnTo>
                  <a:lnTo>
                    <a:pt x="348" y="65"/>
                  </a:lnTo>
                  <a:lnTo>
                    <a:pt x="373" y="24"/>
                  </a:lnTo>
                  <a:cubicBezTo>
                    <a:pt x="373" y="24"/>
                    <a:pt x="374" y="23"/>
                    <a:pt x="374" y="23"/>
                  </a:cubicBezTo>
                  <a:lnTo>
                    <a:pt x="396" y="3"/>
                  </a:lnTo>
                  <a:cubicBezTo>
                    <a:pt x="398" y="1"/>
                    <a:pt x="400" y="0"/>
                    <a:pt x="402" y="0"/>
                  </a:cubicBezTo>
                  <a:lnTo>
                    <a:pt x="470" y="0"/>
                  </a:lnTo>
                  <a:lnTo>
                    <a:pt x="517" y="0"/>
                  </a:lnTo>
                  <a:cubicBezTo>
                    <a:pt x="519" y="0"/>
                    <a:pt x="521" y="1"/>
                    <a:pt x="522" y="2"/>
                  </a:cubicBezTo>
                  <a:lnTo>
                    <a:pt x="569" y="43"/>
                  </a:lnTo>
                  <a:lnTo>
                    <a:pt x="568" y="42"/>
                  </a:lnTo>
                  <a:lnTo>
                    <a:pt x="636" y="82"/>
                  </a:lnTo>
                  <a:lnTo>
                    <a:pt x="634" y="81"/>
                  </a:lnTo>
                  <a:lnTo>
                    <a:pt x="889" y="122"/>
                  </a:lnTo>
                  <a:lnTo>
                    <a:pt x="888" y="121"/>
                  </a:lnTo>
                  <a:lnTo>
                    <a:pt x="1003" y="121"/>
                  </a:lnTo>
                  <a:cubicBezTo>
                    <a:pt x="1005" y="121"/>
                    <a:pt x="1006" y="122"/>
                    <a:pt x="1007" y="123"/>
                  </a:cubicBezTo>
                  <a:lnTo>
                    <a:pt x="1076" y="163"/>
                  </a:lnTo>
                  <a:lnTo>
                    <a:pt x="1075" y="162"/>
                  </a:lnTo>
                  <a:lnTo>
                    <a:pt x="1329" y="243"/>
                  </a:lnTo>
                  <a:lnTo>
                    <a:pt x="1445" y="263"/>
                  </a:lnTo>
                  <a:lnTo>
                    <a:pt x="1443" y="263"/>
                  </a:lnTo>
                  <a:lnTo>
                    <a:pt x="1537" y="263"/>
                  </a:lnTo>
                  <a:cubicBezTo>
                    <a:pt x="1538" y="263"/>
                    <a:pt x="1539" y="263"/>
                    <a:pt x="1540" y="264"/>
                  </a:cubicBezTo>
                  <a:lnTo>
                    <a:pt x="1656" y="324"/>
                  </a:lnTo>
                  <a:lnTo>
                    <a:pt x="1650" y="323"/>
                  </a:lnTo>
                  <a:lnTo>
                    <a:pt x="1744" y="303"/>
                  </a:lnTo>
                  <a:cubicBezTo>
                    <a:pt x="1745" y="303"/>
                    <a:pt x="1747" y="303"/>
                    <a:pt x="1749" y="304"/>
                  </a:cubicBezTo>
                  <a:lnTo>
                    <a:pt x="1842" y="344"/>
                  </a:lnTo>
                  <a:lnTo>
                    <a:pt x="1841" y="344"/>
                  </a:lnTo>
                  <a:lnTo>
                    <a:pt x="1931" y="364"/>
                  </a:lnTo>
                  <a:lnTo>
                    <a:pt x="1930" y="363"/>
                  </a:lnTo>
                  <a:lnTo>
                    <a:pt x="1976" y="363"/>
                  </a:lnTo>
                  <a:cubicBezTo>
                    <a:pt x="1978" y="363"/>
                    <a:pt x="1979" y="364"/>
                    <a:pt x="1980" y="364"/>
                  </a:cubicBezTo>
                  <a:lnTo>
                    <a:pt x="2026" y="384"/>
                  </a:lnTo>
                  <a:cubicBezTo>
                    <a:pt x="2027" y="385"/>
                    <a:pt x="2027" y="385"/>
                    <a:pt x="2028" y="385"/>
                  </a:cubicBezTo>
                  <a:lnTo>
                    <a:pt x="2169" y="487"/>
                  </a:lnTo>
                  <a:lnTo>
                    <a:pt x="2259" y="567"/>
                  </a:lnTo>
                  <a:lnTo>
                    <a:pt x="2255" y="565"/>
                  </a:lnTo>
                  <a:lnTo>
                    <a:pt x="2371" y="585"/>
                  </a:lnTo>
                  <a:cubicBezTo>
                    <a:pt x="2372" y="586"/>
                    <a:pt x="2373" y="586"/>
                    <a:pt x="2374" y="587"/>
                  </a:cubicBezTo>
                  <a:lnTo>
                    <a:pt x="2467" y="647"/>
                  </a:lnTo>
                  <a:cubicBezTo>
                    <a:pt x="2468" y="648"/>
                    <a:pt x="2469" y="648"/>
                    <a:pt x="2469" y="649"/>
                  </a:cubicBezTo>
                  <a:lnTo>
                    <a:pt x="2516" y="709"/>
                  </a:lnTo>
                  <a:lnTo>
                    <a:pt x="2511" y="706"/>
                  </a:lnTo>
                  <a:lnTo>
                    <a:pt x="2673" y="727"/>
                  </a:lnTo>
                  <a:lnTo>
                    <a:pt x="2857" y="747"/>
                  </a:lnTo>
                  <a:cubicBezTo>
                    <a:pt x="2857" y="747"/>
                    <a:pt x="2858" y="747"/>
                    <a:pt x="2859" y="747"/>
                  </a:cubicBezTo>
                  <a:lnTo>
                    <a:pt x="3020" y="807"/>
                  </a:lnTo>
                  <a:lnTo>
                    <a:pt x="3182" y="848"/>
                  </a:lnTo>
                  <a:cubicBezTo>
                    <a:pt x="3183" y="848"/>
                    <a:pt x="3184" y="848"/>
                    <a:pt x="3184" y="849"/>
                  </a:cubicBezTo>
                  <a:lnTo>
                    <a:pt x="3256" y="889"/>
                  </a:lnTo>
                  <a:lnTo>
                    <a:pt x="3249" y="888"/>
                  </a:lnTo>
                  <a:lnTo>
                    <a:pt x="3318" y="868"/>
                  </a:lnTo>
                  <a:close/>
                </a:path>
              </a:pathLst>
            </a:custGeom>
            <a:solidFill>
              <a:srgbClr val="000000"/>
            </a:solidFill>
            <a:ln w="0" cap="flat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231" name="Rectangle 198"/>
            <p:cNvSpPr>
              <a:spLocks noChangeArrowheads="1"/>
            </p:cNvSpPr>
            <p:nvPr/>
          </p:nvSpPr>
          <p:spPr bwMode="auto">
            <a:xfrm>
              <a:off x="2675" y="2835"/>
              <a:ext cx="54" cy="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sz="500" b="1">
                  <a:solidFill>
                    <a:srgbClr val="000000"/>
                  </a:solidFill>
                </a:rPr>
                <a:t>ES</a:t>
              </a:r>
              <a:endParaRPr lang="de-DE"/>
            </a:p>
          </p:txBody>
        </p:sp>
        <p:sp>
          <p:nvSpPr>
            <p:cNvPr id="7232" name="Freeform 199"/>
            <p:cNvSpPr>
              <a:spLocks/>
            </p:cNvSpPr>
            <p:nvPr/>
          </p:nvSpPr>
          <p:spPr bwMode="auto">
            <a:xfrm>
              <a:off x="2291" y="2665"/>
              <a:ext cx="274" cy="373"/>
            </a:xfrm>
            <a:custGeom>
              <a:avLst/>
              <a:gdLst>
                <a:gd name="T0" fmla="*/ 440 w 261"/>
                <a:gd name="T1" fmla="*/ 87 h 356"/>
                <a:gd name="T2" fmla="*/ 433 w 261"/>
                <a:gd name="T3" fmla="*/ 65 h 356"/>
                <a:gd name="T4" fmla="*/ 366 w 261"/>
                <a:gd name="T5" fmla="*/ 57 h 356"/>
                <a:gd name="T6" fmla="*/ 318 w 261"/>
                <a:gd name="T7" fmla="*/ 38 h 356"/>
                <a:gd name="T8" fmla="*/ 262 w 261"/>
                <a:gd name="T9" fmla="*/ 30 h 356"/>
                <a:gd name="T10" fmla="*/ 273 w 261"/>
                <a:gd name="T11" fmla="*/ 4 h 356"/>
                <a:gd name="T12" fmla="*/ 196 w 261"/>
                <a:gd name="T13" fmla="*/ 4 h 356"/>
                <a:gd name="T14" fmla="*/ 177 w 261"/>
                <a:gd name="T15" fmla="*/ 111 h 356"/>
                <a:gd name="T16" fmla="*/ 139 w 261"/>
                <a:gd name="T17" fmla="*/ 211 h 356"/>
                <a:gd name="T18" fmla="*/ 45 w 261"/>
                <a:gd name="T19" fmla="*/ 307 h 356"/>
                <a:gd name="T20" fmla="*/ 5 w 261"/>
                <a:gd name="T21" fmla="*/ 371 h 356"/>
                <a:gd name="T22" fmla="*/ 35 w 261"/>
                <a:gd name="T23" fmla="*/ 389 h 356"/>
                <a:gd name="T24" fmla="*/ 27 w 261"/>
                <a:gd name="T25" fmla="*/ 413 h 356"/>
                <a:gd name="T26" fmla="*/ 73 w 261"/>
                <a:gd name="T27" fmla="*/ 419 h 356"/>
                <a:gd name="T28" fmla="*/ 45 w 261"/>
                <a:gd name="T29" fmla="*/ 521 h 356"/>
                <a:gd name="T30" fmla="*/ 5 w 261"/>
                <a:gd name="T31" fmla="*/ 582 h 356"/>
                <a:gd name="T32" fmla="*/ 5 w 261"/>
                <a:gd name="T33" fmla="*/ 600 h 356"/>
                <a:gd name="T34" fmla="*/ 93 w 261"/>
                <a:gd name="T35" fmla="*/ 607 h 356"/>
                <a:gd name="T36" fmla="*/ 177 w 261"/>
                <a:gd name="T37" fmla="*/ 613 h 356"/>
                <a:gd name="T38" fmla="*/ 196 w 261"/>
                <a:gd name="T39" fmla="*/ 550 h 356"/>
                <a:gd name="T40" fmla="*/ 273 w 261"/>
                <a:gd name="T41" fmla="*/ 501 h 356"/>
                <a:gd name="T42" fmla="*/ 252 w 261"/>
                <a:gd name="T43" fmla="*/ 485 h 356"/>
                <a:gd name="T44" fmla="*/ 252 w 261"/>
                <a:gd name="T45" fmla="*/ 435 h 356"/>
                <a:gd name="T46" fmla="*/ 289 w 261"/>
                <a:gd name="T47" fmla="*/ 413 h 356"/>
                <a:gd name="T48" fmla="*/ 300 w 261"/>
                <a:gd name="T49" fmla="*/ 395 h 356"/>
                <a:gd name="T50" fmla="*/ 262 w 261"/>
                <a:gd name="T51" fmla="*/ 314 h 356"/>
                <a:gd name="T52" fmla="*/ 318 w 261"/>
                <a:gd name="T53" fmla="*/ 307 h 356"/>
                <a:gd name="T54" fmla="*/ 336 w 261"/>
                <a:gd name="T55" fmla="*/ 259 h 356"/>
                <a:gd name="T56" fmla="*/ 356 w 261"/>
                <a:gd name="T57" fmla="*/ 249 h 356"/>
                <a:gd name="T58" fmla="*/ 374 w 261"/>
                <a:gd name="T59" fmla="*/ 194 h 356"/>
                <a:gd name="T60" fmla="*/ 403 w 261"/>
                <a:gd name="T61" fmla="*/ 152 h 356"/>
                <a:gd name="T62" fmla="*/ 467 w 261"/>
                <a:gd name="T63" fmla="*/ 120 h 356"/>
                <a:gd name="T64" fmla="*/ 461 w 261"/>
                <a:gd name="T65" fmla="*/ 96 h 35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61"/>
                <a:gd name="T100" fmla="*/ 0 h 356"/>
                <a:gd name="T101" fmla="*/ 261 w 261"/>
                <a:gd name="T102" fmla="*/ 356 h 35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61" h="356">
                  <a:moveTo>
                    <a:pt x="257" y="55"/>
                  </a:moveTo>
                  <a:lnTo>
                    <a:pt x="246" y="50"/>
                  </a:lnTo>
                  <a:lnTo>
                    <a:pt x="246" y="46"/>
                  </a:lnTo>
                  <a:lnTo>
                    <a:pt x="240" y="37"/>
                  </a:lnTo>
                  <a:lnTo>
                    <a:pt x="220" y="27"/>
                  </a:lnTo>
                  <a:lnTo>
                    <a:pt x="204" y="32"/>
                  </a:lnTo>
                  <a:lnTo>
                    <a:pt x="188" y="32"/>
                  </a:lnTo>
                  <a:lnTo>
                    <a:pt x="178" y="23"/>
                  </a:lnTo>
                  <a:lnTo>
                    <a:pt x="157" y="23"/>
                  </a:lnTo>
                  <a:lnTo>
                    <a:pt x="147" y="18"/>
                  </a:lnTo>
                  <a:lnTo>
                    <a:pt x="152" y="14"/>
                  </a:lnTo>
                  <a:lnTo>
                    <a:pt x="152" y="4"/>
                  </a:lnTo>
                  <a:lnTo>
                    <a:pt x="141" y="0"/>
                  </a:lnTo>
                  <a:lnTo>
                    <a:pt x="110" y="4"/>
                  </a:lnTo>
                  <a:lnTo>
                    <a:pt x="110" y="23"/>
                  </a:lnTo>
                  <a:lnTo>
                    <a:pt x="99" y="64"/>
                  </a:lnTo>
                  <a:lnTo>
                    <a:pt x="89" y="83"/>
                  </a:lnTo>
                  <a:lnTo>
                    <a:pt x="78" y="120"/>
                  </a:lnTo>
                  <a:lnTo>
                    <a:pt x="57" y="148"/>
                  </a:lnTo>
                  <a:lnTo>
                    <a:pt x="26" y="175"/>
                  </a:lnTo>
                  <a:lnTo>
                    <a:pt x="10" y="203"/>
                  </a:lnTo>
                  <a:lnTo>
                    <a:pt x="5" y="212"/>
                  </a:lnTo>
                  <a:lnTo>
                    <a:pt x="10" y="217"/>
                  </a:lnTo>
                  <a:lnTo>
                    <a:pt x="21" y="222"/>
                  </a:lnTo>
                  <a:lnTo>
                    <a:pt x="15" y="231"/>
                  </a:lnTo>
                  <a:lnTo>
                    <a:pt x="15" y="236"/>
                  </a:lnTo>
                  <a:lnTo>
                    <a:pt x="21" y="240"/>
                  </a:lnTo>
                  <a:lnTo>
                    <a:pt x="42" y="240"/>
                  </a:lnTo>
                  <a:lnTo>
                    <a:pt x="26" y="277"/>
                  </a:lnTo>
                  <a:lnTo>
                    <a:pt x="26" y="296"/>
                  </a:lnTo>
                  <a:lnTo>
                    <a:pt x="15" y="314"/>
                  </a:lnTo>
                  <a:lnTo>
                    <a:pt x="5" y="333"/>
                  </a:lnTo>
                  <a:lnTo>
                    <a:pt x="0" y="342"/>
                  </a:lnTo>
                  <a:lnTo>
                    <a:pt x="5" y="342"/>
                  </a:lnTo>
                  <a:lnTo>
                    <a:pt x="31" y="342"/>
                  </a:lnTo>
                  <a:lnTo>
                    <a:pt x="52" y="347"/>
                  </a:lnTo>
                  <a:lnTo>
                    <a:pt x="78" y="356"/>
                  </a:lnTo>
                  <a:lnTo>
                    <a:pt x="99" y="351"/>
                  </a:lnTo>
                  <a:lnTo>
                    <a:pt x="104" y="333"/>
                  </a:lnTo>
                  <a:lnTo>
                    <a:pt x="110" y="314"/>
                  </a:lnTo>
                  <a:lnTo>
                    <a:pt x="136" y="300"/>
                  </a:lnTo>
                  <a:lnTo>
                    <a:pt x="152" y="286"/>
                  </a:lnTo>
                  <a:lnTo>
                    <a:pt x="147" y="286"/>
                  </a:lnTo>
                  <a:lnTo>
                    <a:pt x="141" y="277"/>
                  </a:lnTo>
                  <a:lnTo>
                    <a:pt x="136" y="263"/>
                  </a:lnTo>
                  <a:lnTo>
                    <a:pt x="141" y="249"/>
                  </a:lnTo>
                  <a:lnTo>
                    <a:pt x="147" y="240"/>
                  </a:lnTo>
                  <a:lnTo>
                    <a:pt x="162" y="236"/>
                  </a:lnTo>
                  <a:lnTo>
                    <a:pt x="167" y="231"/>
                  </a:lnTo>
                  <a:lnTo>
                    <a:pt x="167" y="226"/>
                  </a:lnTo>
                  <a:lnTo>
                    <a:pt x="157" y="217"/>
                  </a:lnTo>
                  <a:lnTo>
                    <a:pt x="147" y="180"/>
                  </a:lnTo>
                  <a:lnTo>
                    <a:pt x="162" y="180"/>
                  </a:lnTo>
                  <a:lnTo>
                    <a:pt x="178" y="175"/>
                  </a:lnTo>
                  <a:lnTo>
                    <a:pt x="188" y="166"/>
                  </a:lnTo>
                  <a:lnTo>
                    <a:pt x="188" y="148"/>
                  </a:lnTo>
                  <a:lnTo>
                    <a:pt x="194" y="148"/>
                  </a:lnTo>
                  <a:lnTo>
                    <a:pt x="199" y="143"/>
                  </a:lnTo>
                  <a:lnTo>
                    <a:pt x="199" y="129"/>
                  </a:lnTo>
                  <a:lnTo>
                    <a:pt x="209" y="111"/>
                  </a:lnTo>
                  <a:lnTo>
                    <a:pt x="204" y="97"/>
                  </a:lnTo>
                  <a:lnTo>
                    <a:pt x="225" y="87"/>
                  </a:lnTo>
                  <a:lnTo>
                    <a:pt x="240" y="78"/>
                  </a:lnTo>
                  <a:lnTo>
                    <a:pt x="261" y="69"/>
                  </a:lnTo>
                  <a:lnTo>
                    <a:pt x="261" y="64"/>
                  </a:lnTo>
                  <a:lnTo>
                    <a:pt x="257" y="55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cs-CZ"/>
            </a:p>
          </p:txBody>
        </p:sp>
        <p:sp>
          <p:nvSpPr>
            <p:cNvPr id="7233" name="Freeform 200"/>
            <p:cNvSpPr>
              <a:spLocks noEditPoints="1"/>
            </p:cNvSpPr>
            <p:nvPr/>
          </p:nvSpPr>
          <p:spPr bwMode="auto">
            <a:xfrm>
              <a:off x="2289" y="2662"/>
              <a:ext cx="278" cy="378"/>
            </a:xfrm>
            <a:custGeom>
              <a:avLst/>
              <a:gdLst>
                <a:gd name="T0" fmla="*/ 0 w 1168"/>
                <a:gd name="T1" fmla="*/ 0 h 1585"/>
                <a:gd name="T2" fmla="*/ 0 w 1168"/>
                <a:gd name="T3" fmla="*/ 0 h 1585"/>
                <a:gd name="T4" fmla="*/ 0 w 1168"/>
                <a:gd name="T5" fmla="*/ 0 h 1585"/>
                <a:gd name="T6" fmla="*/ 0 w 1168"/>
                <a:gd name="T7" fmla="*/ 0 h 1585"/>
                <a:gd name="T8" fmla="*/ 0 w 1168"/>
                <a:gd name="T9" fmla="*/ 0 h 1585"/>
                <a:gd name="T10" fmla="*/ 0 w 1168"/>
                <a:gd name="T11" fmla="*/ 0 h 1585"/>
                <a:gd name="T12" fmla="*/ 0 w 1168"/>
                <a:gd name="T13" fmla="*/ 0 h 1585"/>
                <a:gd name="T14" fmla="*/ 0 w 1168"/>
                <a:gd name="T15" fmla="*/ 0 h 1585"/>
                <a:gd name="T16" fmla="*/ 0 w 1168"/>
                <a:gd name="T17" fmla="*/ 0 h 1585"/>
                <a:gd name="T18" fmla="*/ 0 w 1168"/>
                <a:gd name="T19" fmla="*/ 0 h 1585"/>
                <a:gd name="T20" fmla="*/ 0 w 1168"/>
                <a:gd name="T21" fmla="*/ 0 h 1585"/>
                <a:gd name="T22" fmla="*/ 0 w 1168"/>
                <a:gd name="T23" fmla="*/ 0 h 1585"/>
                <a:gd name="T24" fmla="*/ 0 w 1168"/>
                <a:gd name="T25" fmla="*/ 0 h 1585"/>
                <a:gd name="T26" fmla="*/ 0 w 1168"/>
                <a:gd name="T27" fmla="*/ 0 h 1585"/>
                <a:gd name="T28" fmla="*/ 0 w 1168"/>
                <a:gd name="T29" fmla="*/ 0 h 1585"/>
                <a:gd name="T30" fmla="*/ 0 w 1168"/>
                <a:gd name="T31" fmla="*/ 0 h 1585"/>
                <a:gd name="T32" fmla="*/ 0 w 1168"/>
                <a:gd name="T33" fmla="*/ 0 h 1585"/>
                <a:gd name="T34" fmla="*/ 0 w 1168"/>
                <a:gd name="T35" fmla="*/ 0 h 1585"/>
                <a:gd name="T36" fmla="*/ 0 w 1168"/>
                <a:gd name="T37" fmla="*/ 0 h 1585"/>
                <a:gd name="T38" fmla="*/ 0 w 1168"/>
                <a:gd name="T39" fmla="*/ 0 h 1585"/>
                <a:gd name="T40" fmla="*/ 0 w 1168"/>
                <a:gd name="T41" fmla="*/ 0 h 1585"/>
                <a:gd name="T42" fmla="*/ 0 w 1168"/>
                <a:gd name="T43" fmla="*/ 0 h 1585"/>
                <a:gd name="T44" fmla="*/ 0 w 1168"/>
                <a:gd name="T45" fmla="*/ 0 h 1585"/>
                <a:gd name="T46" fmla="*/ 0 w 1168"/>
                <a:gd name="T47" fmla="*/ 0 h 1585"/>
                <a:gd name="T48" fmla="*/ 0 w 1168"/>
                <a:gd name="T49" fmla="*/ 0 h 1585"/>
                <a:gd name="T50" fmla="*/ 0 w 1168"/>
                <a:gd name="T51" fmla="*/ 0 h 1585"/>
                <a:gd name="T52" fmla="*/ 0 w 1168"/>
                <a:gd name="T53" fmla="*/ 0 h 1585"/>
                <a:gd name="T54" fmla="*/ 0 w 1168"/>
                <a:gd name="T55" fmla="*/ 0 h 1585"/>
                <a:gd name="T56" fmla="*/ 0 w 1168"/>
                <a:gd name="T57" fmla="*/ 0 h 1585"/>
                <a:gd name="T58" fmla="*/ 0 w 1168"/>
                <a:gd name="T59" fmla="*/ 0 h 1585"/>
                <a:gd name="T60" fmla="*/ 0 w 1168"/>
                <a:gd name="T61" fmla="*/ 0 h 1585"/>
                <a:gd name="T62" fmla="*/ 0 w 1168"/>
                <a:gd name="T63" fmla="*/ 0 h 1585"/>
                <a:gd name="T64" fmla="*/ 0 w 1168"/>
                <a:gd name="T65" fmla="*/ 0 h 1585"/>
                <a:gd name="T66" fmla="*/ 0 w 1168"/>
                <a:gd name="T67" fmla="*/ 0 h 1585"/>
                <a:gd name="T68" fmla="*/ 0 w 1168"/>
                <a:gd name="T69" fmla="*/ 0 h 1585"/>
                <a:gd name="T70" fmla="*/ 0 w 1168"/>
                <a:gd name="T71" fmla="*/ 0 h 1585"/>
                <a:gd name="T72" fmla="*/ 0 w 1168"/>
                <a:gd name="T73" fmla="*/ 0 h 1585"/>
                <a:gd name="T74" fmla="*/ 0 w 1168"/>
                <a:gd name="T75" fmla="*/ 0 h 1585"/>
                <a:gd name="T76" fmla="*/ 0 w 1168"/>
                <a:gd name="T77" fmla="*/ 0 h 1585"/>
                <a:gd name="T78" fmla="*/ 0 w 1168"/>
                <a:gd name="T79" fmla="*/ 0 h 1585"/>
                <a:gd name="T80" fmla="*/ 0 w 1168"/>
                <a:gd name="T81" fmla="*/ 0 h 1585"/>
                <a:gd name="T82" fmla="*/ 0 w 1168"/>
                <a:gd name="T83" fmla="*/ 0 h 1585"/>
                <a:gd name="T84" fmla="*/ 0 w 1168"/>
                <a:gd name="T85" fmla="*/ 0 h 1585"/>
                <a:gd name="T86" fmla="*/ 0 w 1168"/>
                <a:gd name="T87" fmla="*/ 0 h 1585"/>
                <a:gd name="T88" fmla="*/ 0 w 1168"/>
                <a:gd name="T89" fmla="*/ 0 h 1585"/>
                <a:gd name="T90" fmla="*/ 0 w 1168"/>
                <a:gd name="T91" fmla="*/ 0 h 1585"/>
                <a:gd name="T92" fmla="*/ 0 w 1168"/>
                <a:gd name="T93" fmla="*/ 0 h 1585"/>
                <a:gd name="T94" fmla="*/ 0 w 1168"/>
                <a:gd name="T95" fmla="*/ 0 h 1585"/>
                <a:gd name="T96" fmla="*/ 0 w 1168"/>
                <a:gd name="T97" fmla="*/ 0 h 1585"/>
                <a:gd name="T98" fmla="*/ 0 w 1168"/>
                <a:gd name="T99" fmla="*/ 0 h 1585"/>
                <a:gd name="T100" fmla="*/ 0 w 1168"/>
                <a:gd name="T101" fmla="*/ 0 h 1585"/>
                <a:gd name="T102" fmla="*/ 0 w 1168"/>
                <a:gd name="T103" fmla="*/ 0 h 1585"/>
                <a:gd name="T104" fmla="*/ 0 w 1168"/>
                <a:gd name="T105" fmla="*/ 0 h 1585"/>
                <a:gd name="T106" fmla="*/ 0 w 1168"/>
                <a:gd name="T107" fmla="*/ 0 h 1585"/>
                <a:gd name="T108" fmla="*/ 0 w 1168"/>
                <a:gd name="T109" fmla="*/ 0 h 1585"/>
                <a:gd name="T110" fmla="*/ 0 w 1168"/>
                <a:gd name="T111" fmla="*/ 0 h 1585"/>
                <a:gd name="T112" fmla="*/ 0 w 1168"/>
                <a:gd name="T113" fmla="*/ 0 h 1585"/>
                <a:gd name="T114" fmla="*/ 0 w 1168"/>
                <a:gd name="T115" fmla="*/ 0 h 1585"/>
                <a:gd name="T116" fmla="*/ 0 w 1168"/>
                <a:gd name="T117" fmla="*/ 0 h 1585"/>
                <a:gd name="T118" fmla="*/ 0 w 1168"/>
                <a:gd name="T119" fmla="*/ 0 h 1585"/>
                <a:gd name="T120" fmla="*/ 0 w 1168"/>
                <a:gd name="T121" fmla="*/ 0 h 1585"/>
                <a:gd name="T122" fmla="*/ 0 w 1168"/>
                <a:gd name="T123" fmla="*/ 0 h 1585"/>
                <a:gd name="T124" fmla="*/ 0 w 1168"/>
                <a:gd name="T125" fmla="*/ 0 h 158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168"/>
                <a:gd name="T190" fmla="*/ 0 h 1585"/>
                <a:gd name="T191" fmla="*/ 1168 w 1168"/>
                <a:gd name="T192" fmla="*/ 1585 h 1585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168" h="1585">
                  <a:moveTo>
                    <a:pt x="1132" y="257"/>
                  </a:moveTo>
                  <a:lnTo>
                    <a:pt x="1135" y="260"/>
                  </a:lnTo>
                  <a:lnTo>
                    <a:pt x="1089" y="240"/>
                  </a:lnTo>
                  <a:cubicBezTo>
                    <a:pt x="1086" y="239"/>
                    <a:pt x="1084" y="236"/>
                    <a:pt x="1084" y="232"/>
                  </a:cubicBezTo>
                  <a:lnTo>
                    <a:pt x="1084" y="212"/>
                  </a:lnTo>
                  <a:lnTo>
                    <a:pt x="1085" y="216"/>
                  </a:lnTo>
                  <a:lnTo>
                    <a:pt x="1061" y="176"/>
                  </a:lnTo>
                  <a:lnTo>
                    <a:pt x="1064" y="179"/>
                  </a:lnTo>
                  <a:lnTo>
                    <a:pt x="974" y="138"/>
                  </a:lnTo>
                  <a:lnTo>
                    <a:pt x="979" y="138"/>
                  </a:lnTo>
                  <a:lnTo>
                    <a:pt x="908" y="159"/>
                  </a:lnTo>
                  <a:cubicBezTo>
                    <a:pt x="907" y="159"/>
                    <a:pt x="907" y="159"/>
                    <a:pt x="906" y="159"/>
                  </a:cubicBezTo>
                  <a:lnTo>
                    <a:pt x="838" y="159"/>
                  </a:lnTo>
                  <a:cubicBezTo>
                    <a:pt x="836" y="159"/>
                    <a:pt x="834" y="158"/>
                    <a:pt x="832" y="157"/>
                  </a:cubicBezTo>
                  <a:lnTo>
                    <a:pt x="786" y="116"/>
                  </a:lnTo>
                  <a:lnTo>
                    <a:pt x="791" y="118"/>
                  </a:lnTo>
                  <a:lnTo>
                    <a:pt x="701" y="118"/>
                  </a:lnTo>
                  <a:cubicBezTo>
                    <a:pt x="700" y="118"/>
                    <a:pt x="699" y="118"/>
                    <a:pt x="698" y="118"/>
                  </a:cubicBezTo>
                  <a:lnTo>
                    <a:pt x="651" y="97"/>
                  </a:lnTo>
                  <a:cubicBezTo>
                    <a:pt x="649" y="96"/>
                    <a:pt x="647" y="94"/>
                    <a:pt x="646" y="91"/>
                  </a:cubicBezTo>
                  <a:cubicBezTo>
                    <a:pt x="646" y="89"/>
                    <a:pt x="647" y="86"/>
                    <a:pt x="649" y="84"/>
                  </a:cubicBezTo>
                  <a:lnTo>
                    <a:pt x="671" y="64"/>
                  </a:lnTo>
                  <a:lnTo>
                    <a:pt x="668" y="70"/>
                  </a:lnTo>
                  <a:lnTo>
                    <a:pt x="668" y="29"/>
                  </a:lnTo>
                  <a:lnTo>
                    <a:pt x="673" y="36"/>
                  </a:lnTo>
                  <a:lnTo>
                    <a:pt x="626" y="16"/>
                  </a:lnTo>
                  <a:lnTo>
                    <a:pt x="631" y="16"/>
                  </a:lnTo>
                  <a:lnTo>
                    <a:pt x="494" y="37"/>
                  </a:lnTo>
                  <a:lnTo>
                    <a:pt x="501" y="29"/>
                  </a:lnTo>
                  <a:lnTo>
                    <a:pt x="501" y="110"/>
                  </a:lnTo>
                  <a:cubicBezTo>
                    <a:pt x="501" y="111"/>
                    <a:pt x="501" y="112"/>
                    <a:pt x="501" y="112"/>
                  </a:cubicBezTo>
                  <a:lnTo>
                    <a:pt x="454" y="296"/>
                  </a:lnTo>
                  <a:cubicBezTo>
                    <a:pt x="454" y="296"/>
                    <a:pt x="454" y="297"/>
                    <a:pt x="453" y="298"/>
                  </a:cubicBezTo>
                  <a:lnTo>
                    <a:pt x="407" y="379"/>
                  </a:lnTo>
                  <a:lnTo>
                    <a:pt x="407" y="377"/>
                  </a:lnTo>
                  <a:lnTo>
                    <a:pt x="361" y="540"/>
                  </a:lnTo>
                  <a:cubicBezTo>
                    <a:pt x="361" y="541"/>
                    <a:pt x="360" y="542"/>
                    <a:pt x="360" y="543"/>
                  </a:cubicBezTo>
                  <a:lnTo>
                    <a:pt x="267" y="665"/>
                  </a:lnTo>
                  <a:cubicBezTo>
                    <a:pt x="266" y="665"/>
                    <a:pt x="266" y="666"/>
                    <a:pt x="266" y="666"/>
                  </a:cubicBezTo>
                  <a:lnTo>
                    <a:pt x="129" y="788"/>
                  </a:lnTo>
                  <a:lnTo>
                    <a:pt x="130" y="786"/>
                  </a:lnTo>
                  <a:lnTo>
                    <a:pt x="62" y="908"/>
                  </a:lnTo>
                  <a:lnTo>
                    <a:pt x="37" y="949"/>
                  </a:lnTo>
                  <a:lnTo>
                    <a:pt x="35" y="939"/>
                  </a:lnTo>
                  <a:lnTo>
                    <a:pt x="60" y="959"/>
                  </a:lnTo>
                  <a:lnTo>
                    <a:pt x="58" y="958"/>
                  </a:lnTo>
                  <a:lnTo>
                    <a:pt x="105" y="979"/>
                  </a:lnTo>
                  <a:cubicBezTo>
                    <a:pt x="107" y="980"/>
                    <a:pt x="108" y="981"/>
                    <a:pt x="109" y="983"/>
                  </a:cubicBezTo>
                  <a:cubicBezTo>
                    <a:pt x="110" y="986"/>
                    <a:pt x="110" y="988"/>
                    <a:pt x="108" y="990"/>
                  </a:cubicBezTo>
                  <a:lnTo>
                    <a:pt x="84" y="1031"/>
                  </a:lnTo>
                  <a:lnTo>
                    <a:pt x="85" y="1027"/>
                  </a:lnTo>
                  <a:lnTo>
                    <a:pt x="85" y="1047"/>
                  </a:lnTo>
                  <a:lnTo>
                    <a:pt x="82" y="1041"/>
                  </a:lnTo>
                  <a:lnTo>
                    <a:pt x="107" y="1061"/>
                  </a:lnTo>
                  <a:lnTo>
                    <a:pt x="102" y="1059"/>
                  </a:lnTo>
                  <a:lnTo>
                    <a:pt x="192" y="1059"/>
                  </a:lnTo>
                  <a:cubicBezTo>
                    <a:pt x="194" y="1059"/>
                    <a:pt x="197" y="1061"/>
                    <a:pt x="198" y="1063"/>
                  </a:cubicBezTo>
                  <a:cubicBezTo>
                    <a:pt x="200" y="1065"/>
                    <a:pt x="200" y="1068"/>
                    <a:pt x="199" y="1070"/>
                  </a:cubicBezTo>
                  <a:lnTo>
                    <a:pt x="131" y="1233"/>
                  </a:lnTo>
                  <a:lnTo>
                    <a:pt x="131" y="1230"/>
                  </a:lnTo>
                  <a:lnTo>
                    <a:pt x="131" y="1312"/>
                  </a:lnTo>
                  <a:cubicBezTo>
                    <a:pt x="131" y="1313"/>
                    <a:pt x="131" y="1314"/>
                    <a:pt x="130" y="1316"/>
                  </a:cubicBezTo>
                  <a:lnTo>
                    <a:pt x="84" y="1397"/>
                  </a:lnTo>
                  <a:lnTo>
                    <a:pt x="37" y="1479"/>
                  </a:lnTo>
                  <a:lnTo>
                    <a:pt x="16" y="1519"/>
                  </a:lnTo>
                  <a:lnTo>
                    <a:pt x="8" y="1507"/>
                  </a:lnTo>
                  <a:lnTo>
                    <a:pt x="30" y="1507"/>
                  </a:lnTo>
                  <a:lnTo>
                    <a:pt x="145" y="1507"/>
                  </a:lnTo>
                  <a:cubicBezTo>
                    <a:pt x="146" y="1507"/>
                    <a:pt x="146" y="1507"/>
                    <a:pt x="147" y="1508"/>
                  </a:cubicBezTo>
                  <a:lnTo>
                    <a:pt x="240" y="1528"/>
                  </a:lnTo>
                  <a:lnTo>
                    <a:pt x="356" y="1569"/>
                  </a:lnTo>
                  <a:lnTo>
                    <a:pt x="352" y="1569"/>
                  </a:lnTo>
                  <a:lnTo>
                    <a:pt x="445" y="1548"/>
                  </a:lnTo>
                  <a:lnTo>
                    <a:pt x="439" y="1554"/>
                  </a:lnTo>
                  <a:lnTo>
                    <a:pt x="460" y="1473"/>
                  </a:lnTo>
                  <a:lnTo>
                    <a:pt x="485" y="1391"/>
                  </a:lnTo>
                  <a:cubicBezTo>
                    <a:pt x="486" y="1389"/>
                    <a:pt x="487" y="1387"/>
                    <a:pt x="489" y="1386"/>
                  </a:cubicBezTo>
                  <a:lnTo>
                    <a:pt x="604" y="1325"/>
                  </a:lnTo>
                  <a:lnTo>
                    <a:pt x="602" y="1326"/>
                  </a:lnTo>
                  <a:lnTo>
                    <a:pt x="671" y="1265"/>
                  </a:lnTo>
                  <a:lnTo>
                    <a:pt x="676" y="1279"/>
                  </a:lnTo>
                  <a:lnTo>
                    <a:pt x="654" y="1279"/>
                  </a:lnTo>
                  <a:cubicBezTo>
                    <a:pt x="651" y="1279"/>
                    <a:pt x="649" y="1278"/>
                    <a:pt x="647" y="1275"/>
                  </a:cubicBezTo>
                  <a:lnTo>
                    <a:pt x="623" y="1234"/>
                  </a:lnTo>
                  <a:cubicBezTo>
                    <a:pt x="622" y="1234"/>
                    <a:pt x="622" y="1233"/>
                    <a:pt x="622" y="1233"/>
                  </a:cubicBezTo>
                  <a:lnTo>
                    <a:pt x="600" y="1172"/>
                  </a:lnTo>
                  <a:cubicBezTo>
                    <a:pt x="600" y="1170"/>
                    <a:pt x="600" y="1168"/>
                    <a:pt x="600" y="1166"/>
                  </a:cubicBezTo>
                  <a:lnTo>
                    <a:pt x="622" y="1105"/>
                  </a:lnTo>
                  <a:cubicBezTo>
                    <a:pt x="622" y="1105"/>
                    <a:pt x="622" y="1104"/>
                    <a:pt x="623" y="1104"/>
                  </a:cubicBezTo>
                  <a:lnTo>
                    <a:pt x="647" y="1063"/>
                  </a:lnTo>
                  <a:cubicBezTo>
                    <a:pt x="648" y="1062"/>
                    <a:pt x="650" y="1060"/>
                    <a:pt x="652" y="1060"/>
                  </a:cubicBezTo>
                  <a:lnTo>
                    <a:pt x="720" y="1039"/>
                  </a:lnTo>
                  <a:lnTo>
                    <a:pt x="717" y="1041"/>
                  </a:lnTo>
                  <a:lnTo>
                    <a:pt x="739" y="1021"/>
                  </a:lnTo>
                  <a:lnTo>
                    <a:pt x="737" y="1027"/>
                  </a:lnTo>
                  <a:lnTo>
                    <a:pt x="737" y="1006"/>
                  </a:lnTo>
                  <a:lnTo>
                    <a:pt x="739" y="1012"/>
                  </a:lnTo>
                  <a:lnTo>
                    <a:pt x="695" y="971"/>
                  </a:lnTo>
                  <a:cubicBezTo>
                    <a:pt x="694" y="970"/>
                    <a:pt x="693" y="969"/>
                    <a:pt x="693" y="968"/>
                  </a:cubicBezTo>
                  <a:lnTo>
                    <a:pt x="647" y="805"/>
                  </a:lnTo>
                  <a:cubicBezTo>
                    <a:pt x="646" y="802"/>
                    <a:pt x="646" y="800"/>
                    <a:pt x="648" y="798"/>
                  </a:cubicBezTo>
                  <a:cubicBezTo>
                    <a:pt x="649" y="796"/>
                    <a:pt x="652" y="795"/>
                    <a:pt x="654" y="795"/>
                  </a:cubicBezTo>
                  <a:lnTo>
                    <a:pt x="723" y="795"/>
                  </a:lnTo>
                  <a:lnTo>
                    <a:pt x="720" y="795"/>
                  </a:lnTo>
                  <a:lnTo>
                    <a:pt x="789" y="775"/>
                  </a:lnTo>
                  <a:lnTo>
                    <a:pt x="786" y="776"/>
                  </a:lnTo>
                  <a:lnTo>
                    <a:pt x="832" y="736"/>
                  </a:lnTo>
                  <a:lnTo>
                    <a:pt x="830" y="742"/>
                  </a:lnTo>
                  <a:lnTo>
                    <a:pt x="830" y="660"/>
                  </a:lnTo>
                  <a:cubicBezTo>
                    <a:pt x="830" y="656"/>
                    <a:pt x="833" y="652"/>
                    <a:pt x="838" y="652"/>
                  </a:cubicBezTo>
                  <a:lnTo>
                    <a:pt x="862" y="652"/>
                  </a:lnTo>
                  <a:lnTo>
                    <a:pt x="857" y="654"/>
                  </a:lnTo>
                  <a:lnTo>
                    <a:pt x="879" y="634"/>
                  </a:lnTo>
                  <a:lnTo>
                    <a:pt x="876" y="640"/>
                  </a:lnTo>
                  <a:lnTo>
                    <a:pt x="876" y="579"/>
                  </a:lnTo>
                  <a:cubicBezTo>
                    <a:pt x="876" y="577"/>
                    <a:pt x="876" y="576"/>
                    <a:pt x="877" y="575"/>
                  </a:cubicBezTo>
                  <a:lnTo>
                    <a:pt x="924" y="493"/>
                  </a:lnTo>
                  <a:lnTo>
                    <a:pt x="923" y="500"/>
                  </a:lnTo>
                  <a:lnTo>
                    <a:pt x="899" y="439"/>
                  </a:lnTo>
                  <a:cubicBezTo>
                    <a:pt x="897" y="435"/>
                    <a:pt x="899" y="431"/>
                    <a:pt x="903" y="429"/>
                  </a:cubicBezTo>
                  <a:lnTo>
                    <a:pt x="996" y="388"/>
                  </a:lnTo>
                  <a:lnTo>
                    <a:pt x="1063" y="348"/>
                  </a:lnTo>
                  <a:lnTo>
                    <a:pt x="1157" y="307"/>
                  </a:lnTo>
                  <a:lnTo>
                    <a:pt x="1152" y="314"/>
                  </a:lnTo>
                  <a:lnTo>
                    <a:pt x="1152" y="294"/>
                  </a:lnTo>
                  <a:lnTo>
                    <a:pt x="1153" y="297"/>
                  </a:lnTo>
                  <a:lnTo>
                    <a:pt x="1132" y="257"/>
                  </a:lnTo>
                  <a:close/>
                  <a:moveTo>
                    <a:pt x="1168" y="290"/>
                  </a:moveTo>
                  <a:cubicBezTo>
                    <a:pt x="1168" y="291"/>
                    <a:pt x="1168" y="292"/>
                    <a:pt x="1168" y="294"/>
                  </a:cubicBezTo>
                  <a:lnTo>
                    <a:pt x="1168" y="314"/>
                  </a:lnTo>
                  <a:cubicBezTo>
                    <a:pt x="1168" y="317"/>
                    <a:pt x="1167" y="320"/>
                    <a:pt x="1164" y="321"/>
                  </a:cubicBezTo>
                  <a:lnTo>
                    <a:pt x="1072" y="362"/>
                  </a:lnTo>
                  <a:lnTo>
                    <a:pt x="1002" y="403"/>
                  </a:lnTo>
                  <a:lnTo>
                    <a:pt x="909" y="443"/>
                  </a:lnTo>
                  <a:lnTo>
                    <a:pt x="913" y="433"/>
                  </a:lnTo>
                  <a:lnTo>
                    <a:pt x="938" y="494"/>
                  </a:lnTo>
                  <a:cubicBezTo>
                    <a:pt x="939" y="496"/>
                    <a:pt x="939" y="499"/>
                    <a:pt x="938" y="501"/>
                  </a:cubicBezTo>
                  <a:lnTo>
                    <a:pt x="891" y="583"/>
                  </a:lnTo>
                  <a:lnTo>
                    <a:pt x="892" y="579"/>
                  </a:lnTo>
                  <a:lnTo>
                    <a:pt x="892" y="640"/>
                  </a:lnTo>
                  <a:cubicBezTo>
                    <a:pt x="892" y="642"/>
                    <a:pt x="891" y="644"/>
                    <a:pt x="890" y="646"/>
                  </a:cubicBezTo>
                  <a:lnTo>
                    <a:pt x="868" y="666"/>
                  </a:lnTo>
                  <a:cubicBezTo>
                    <a:pt x="866" y="667"/>
                    <a:pt x="864" y="668"/>
                    <a:pt x="862" y="668"/>
                  </a:cubicBezTo>
                  <a:lnTo>
                    <a:pt x="838" y="668"/>
                  </a:lnTo>
                  <a:lnTo>
                    <a:pt x="846" y="660"/>
                  </a:lnTo>
                  <a:lnTo>
                    <a:pt x="846" y="742"/>
                  </a:lnTo>
                  <a:cubicBezTo>
                    <a:pt x="846" y="744"/>
                    <a:pt x="845" y="746"/>
                    <a:pt x="843" y="748"/>
                  </a:cubicBezTo>
                  <a:lnTo>
                    <a:pt x="796" y="788"/>
                  </a:lnTo>
                  <a:cubicBezTo>
                    <a:pt x="795" y="789"/>
                    <a:pt x="794" y="790"/>
                    <a:pt x="793" y="790"/>
                  </a:cubicBezTo>
                  <a:lnTo>
                    <a:pt x="725" y="810"/>
                  </a:lnTo>
                  <a:cubicBezTo>
                    <a:pt x="724" y="811"/>
                    <a:pt x="723" y="811"/>
                    <a:pt x="723" y="811"/>
                  </a:cubicBezTo>
                  <a:lnTo>
                    <a:pt x="654" y="811"/>
                  </a:lnTo>
                  <a:lnTo>
                    <a:pt x="662" y="800"/>
                  </a:lnTo>
                  <a:lnTo>
                    <a:pt x="708" y="963"/>
                  </a:lnTo>
                  <a:lnTo>
                    <a:pt x="706" y="960"/>
                  </a:lnTo>
                  <a:lnTo>
                    <a:pt x="750" y="1000"/>
                  </a:lnTo>
                  <a:cubicBezTo>
                    <a:pt x="752" y="1002"/>
                    <a:pt x="753" y="1004"/>
                    <a:pt x="753" y="1006"/>
                  </a:cubicBezTo>
                  <a:lnTo>
                    <a:pt x="753" y="1027"/>
                  </a:lnTo>
                  <a:cubicBezTo>
                    <a:pt x="753" y="1029"/>
                    <a:pt x="752" y="1031"/>
                    <a:pt x="750" y="1033"/>
                  </a:cubicBezTo>
                  <a:lnTo>
                    <a:pt x="728" y="1053"/>
                  </a:lnTo>
                  <a:cubicBezTo>
                    <a:pt x="727" y="1054"/>
                    <a:pt x="726" y="1054"/>
                    <a:pt x="725" y="1055"/>
                  </a:cubicBezTo>
                  <a:lnTo>
                    <a:pt x="657" y="1075"/>
                  </a:lnTo>
                  <a:lnTo>
                    <a:pt x="661" y="1072"/>
                  </a:lnTo>
                  <a:lnTo>
                    <a:pt x="636" y="1112"/>
                  </a:lnTo>
                  <a:lnTo>
                    <a:pt x="637" y="1111"/>
                  </a:lnTo>
                  <a:lnTo>
                    <a:pt x="615" y="1172"/>
                  </a:lnTo>
                  <a:lnTo>
                    <a:pt x="615" y="1166"/>
                  </a:lnTo>
                  <a:lnTo>
                    <a:pt x="637" y="1228"/>
                  </a:lnTo>
                  <a:lnTo>
                    <a:pt x="636" y="1226"/>
                  </a:lnTo>
                  <a:lnTo>
                    <a:pt x="661" y="1267"/>
                  </a:lnTo>
                  <a:lnTo>
                    <a:pt x="654" y="1263"/>
                  </a:lnTo>
                  <a:lnTo>
                    <a:pt x="676" y="1263"/>
                  </a:lnTo>
                  <a:cubicBezTo>
                    <a:pt x="679" y="1263"/>
                    <a:pt x="682" y="1265"/>
                    <a:pt x="684" y="1268"/>
                  </a:cubicBezTo>
                  <a:cubicBezTo>
                    <a:pt x="685" y="1271"/>
                    <a:pt x="684" y="1275"/>
                    <a:pt x="681" y="1277"/>
                  </a:cubicBezTo>
                  <a:lnTo>
                    <a:pt x="613" y="1338"/>
                  </a:lnTo>
                  <a:cubicBezTo>
                    <a:pt x="613" y="1339"/>
                    <a:pt x="612" y="1339"/>
                    <a:pt x="611" y="1339"/>
                  </a:cubicBezTo>
                  <a:lnTo>
                    <a:pt x="497" y="1400"/>
                  </a:lnTo>
                  <a:lnTo>
                    <a:pt x="500" y="1396"/>
                  </a:lnTo>
                  <a:lnTo>
                    <a:pt x="476" y="1477"/>
                  </a:lnTo>
                  <a:lnTo>
                    <a:pt x="454" y="1558"/>
                  </a:lnTo>
                  <a:cubicBezTo>
                    <a:pt x="453" y="1561"/>
                    <a:pt x="451" y="1563"/>
                    <a:pt x="448" y="1564"/>
                  </a:cubicBezTo>
                  <a:lnTo>
                    <a:pt x="355" y="1584"/>
                  </a:lnTo>
                  <a:cubicBezTo>
                    <a:pt x="353" y="1585"/>
                    <a:pt x="352" y="1585"/>
                    <a:pt x="351" y="1584"/>
                  </a:cubicBezTo>
                  <a:lnTo>
                    <a:pt x="237" y="1544"/>
                  </a:lnTo>
                  <a:lnTo>
                    <a:pt x="144" y="1523"/>
                  </a:lnTo>
                  <a:lnTo>
                    <a:pt x="145" y="1523"/>
                  </a:lnTo>
                  <a:lnTo>
                    <a:pt x="30" y="1523"/>
                  </a:lnTo>
                  <a:lnTo>
                    <a:pt x="8" y="1523"/>
                  </a:lnTo>
                  <a:cubicBezTo>
                    <a:pt x="6" y="1523"/>
                    <a:pt x="3" y="1522"/>
                    <a:pt x="2" y="1519"/>
                  </a:cubicBezTo>
                  <a:cubicBezTo>
                    <a:pt x="0" y="1517"/>
                    <a:pt x="0" y="1514"/>
                    <a:pt x="1" y="1512"/>
                  </a:cubicBezTo>
                  <a:lnTo>
                    <a:pt x="23" y="1471"/>
                  </a:lnTo>
                  <a:lnTo>
                    <a:pt x="70" y="1389"/>
                  </a:lnTo>
                  <a:lnTo>
                    <a:pt x="116" y="1308"/>
                  </a:lnTo>
                  <a:lnTo>
                    <a:pt x="115" y="1312"/>
                  </a:lnTo>
                  <a:lnTo>
                    <a:pt x="115" y="1230"/>
                  </a:lnTo>
                  <a:cubicBezTo>
                    <a:pt x="115" y="1229"/>
                    <a:pt x="116" y="1228"/>
                    <a:pt x="116" y="1227"/>
                  </a:cubicBezTo>
                  <a:lnTo>
                    <a:pt x="184" y="1064"/>
                  </a:lnTo>
                  <a:lnTo>
                    <a:pt x="192" y="1075"/>
                  </a:lnTo>
                  <a:lnTo>
                    <a:pt x="102" y="1075"/>
                  </a:lnTo>
                  <a:cubicBezTo>
                    <a:pt x="100" y="1075"/>
                    <a:pt x="98" y="1075"/>
                    <a:pt x="96" y="1074"/>
                  </a:cubicBezTo>
                  <a:lnTo>
                    <a:pt x="72" y="1053"/>
                  </a:lnTo>
                  <a:cubicBezTo>
                    <a:pt x="70" y="1052"/>
                    <a:pt x="69" y="1049"/>
                    <a:pt x="69" y="1047"/>
                  </a:cubicBezTo>
                  <a:lnTo>
                    <a:pt x="69" y="1027"/>
                  </a:lnTo>
                  <a:cubicBezTo>
                    <a:pt x="69" y="1025"/>
                    <a:pt x="69" y="1024"/>
                    <a:pt x="70" y="1023"/>
                  </a:cubicBezTo>
                  <a:lnTo>
                    <a:pt x="95" y="982"/>
                  </a:lnTo>
                  <a:lnTo>
                    <a:pt x="98" y="993"/>
                  </a:lnTo>
                  <a:lnTo>
                    <a:pt x="52" y="973"/>
                  </a:lnTo>
                  <a:cubicBezTo>
                    <a:pt x="51" y="973"/>
                    <a:pt x="50" y="972"/>
                    <a:pt x="50" y="972"/>
                  </a:cubicBezTo>
                  <a:lnTo>
                    <a:pt x="25" y="951"/>
                  </a:lnTo>
                  <a:cubicBezTo>
                    <a:pt x="22" y="949"/>
                    <a:pt x="21" y="944"/>
                    <a:pt x="24" y="941"/>
                  </a:cubicBezTo>
                  <a:lnTo>
                    <a:pt x="48" y="901"/>
                  </a:lnTo>
                  <a:lnTo>
                    <a:pt x="116" y="778"/>
                  </a:lnTo>
                  <a:cubicBezTo>
                    <a:pt x="117" y="778"/>
                    <a:pt x="117" y="777"/>
                    <a:pt x="118" y="776"/>
                  </a:cubicBezTo>
                  <a:lnTo>
                    <a:pt x="255" y="654"/>
                  </a:lnTo>
                  <a:lnTo>
                    <a:pt x="254" y="655"/>
                  </a:lnTo>
                  <a:lnTo>
                    <a:pt x="347" y="533"/>
                  </a:lnTo>
                  <a:lnTo>
                    <a:pt x="346" y="536"/>
                  </a:lnTo>
                  <a:lnTo>
                    <a:pt x="392" y="373"/>
                  </a:lnTo>
                  <a:cubicBezTo>
                    <a:pt x="392" y="372"/>
                    <a:pt x="392" y="372"/>
                    <a:pt x="393" y="371"/>
                  </a:cubicBezTo>
                  <a:lnTo>
                    <a:pt x="439" y="290"/>
                  </a:lnTo>
                  <a:lnTo>
                    <a:pt x="439" y="292"/>
                  </a:lnTo>
                  <a:lnTo>
                    <a:pt x="485" y="108"/>
                  </a:lnTo>
                  <a:lnTo>
                    <a:pt x="485" y="110"/>
                  </a:lnTo>
                  <a:lnTo>
                    <a:pt x="485" y="29"/>
                  </a:lnTo>
                  <a:cubicBezTo>
                    <a:pt x="485" y="25"/>
                    <a:pt x="488" y="21"/>
                    <a:pt x="492" y="21"/>
                  </a:cubicBezTo>
                  <a:lnTo>
                    <a:pt x="628" y="1"/>
                  </a:lnTo>
                  <a:cubicBezTo>
                    <a:pt x="630" y="0"/>
                    <a:pt x="631" y="1"/>
                    <a:pt x="633" y="1"/>
                  </a:cubicBezTo>
                  <a:lnTo>
                    <a:pt x="679" y="21"/>
                  </a:lnTo>
                  <a:cubicBezTo>
                    <a:pt x="682" y="23"/>
                    <a:pt x="684" y="26"/>
                    <a:pt x="684" y="29"/>
                  </a:cubicBezTo>
                  <a:lnTo>
                    <a:pt x="684" y="70"/>
                  </a:lnTo>
                  <a:cubicBezTo>
                    <a:pt x="684" y="72"/>
                    <a:pt x="683" y="74"/>
                    <a:pt x="682" y="75"/>
                  </a:cubicBezTo>
                  <a:lnTo>
                    <a:pt x="660" y="96"/>
                  </a:lnTo>
                  <a:lnTo>
                    <a:pt x="657" y="83"/>
                  </a:lnTo>
                  <a:lnTo>
                    <a:pt x="704" y="103"/>
                  </a:lnTo>
                  <a:lnTo>
                    <a:pt x="701" y="102"/>
                  </a:lnTo>
                  <a:lnTo>
                    <a:pt x="791" y="102"/>
                  </a:lnTo>
                  <a:cubicBezTo>
                    <a:pt x="793" y="102"/>
                    <a:pt x="795" y="103"/>
                    <a:pt x="796" y="104"/>
                  </a:cubicBezTo>
                  <a:lnTo>
                    <a:pt x="843" y="145"/>
                  </a:lnTo>
                  <a:lnTo>
                    <a:pt x="838" y="143"/>
                  </a:lnTo>
                  <a:lnTo>
                    <a:pt x="906" y="143"/>
                  </a:lnTo>
                  <a:lnTo>
                    <a:pt x="904" y="143"/>
                  </a:lnTo>
                  <a:lnTo>
                    <a:pt x="975" y="123"/>
                  </a:lnTo>
                  <a:cubicBezTo>
                    <a:pt x="977" y="122"/>
                    <a:pt x="979" y="123"/>
                    <a:pt x="980" y="123"/>
                  </a:cubicBezTo>
                  <a:lnTo>
                    <a:pt x="1071" y="164"/>
                  </a:lnTo>
                  <a:cubicBezTo>
                    <a:pt x="1072" y="165"/>
                    <a:pt x="1073" y="166"/>
                    <a:pt x="1074" y="167"/>
                  </a:cubicBezTo>
                  <a:lnTo>
                    <a:pt x="1099" y="208"/>
                  </a:lnTo>
                  <a:cubicBezTo>
                    <a:pt x="1100" y="209"/>
                    <a:pt x="1100" y="211"/>
                    <a:pt x="1100" y="212"/>
                  </a:cubicBezTo>
                  <a:lnTo>
                    <a:pt x="1100" y="232"/>
                  </a:lnTo>
                  <a:lnTo>
                    <a:pt x="1095" y="225"/>
                  </a:lnTo>
                  <a:lnTo>
                    <a:pt x="1142" y="245"/>
                  </a:lnTo>
                  <a:cubicBezTo>
                    <a:pt x="1143" y="246"/>
                    <a:pt x="1145" y="247"/>
                    <a:pt x="1146" y="249"/>
                  </a:cubicBezTo>
                  <a:lnTo>
                    <a:pt x="1168" y="290"/>
                  </a:lnTo>
                  <a:close/>
                </a:path>
              </a:pathLst>
            </a:custGeom>
            <a:solidFill>
              <a:srgbClr val="000000"/>
            </a:solidFill>
            <a:ln w="0" cap="flat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234" name="Rectangle 201"/>
            <p:cNvSpPr>
              <a:spLocks noChangeArrowheads="1"/>
            </p:cNvSpPr>
            <p:nvPr/>
          </p:nvSpPr>
          <p:spPr bwMode="auto">
            <a:xfrm>
              <a:off x="2357" y="2861"/>
              <a:ext cx="51" cy="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sz="500" b="1">
                  <a:solidFill>
                    <a:srgbClr val="000000"/>
                  </a:solidFill>
                </a:rPr>
                <a:t>PT</a:t>
              </a:r>
              <a:endParaRPr lang="de-DE"/>
            </a:p>
          </p:txBody>
        </p:sp>
        <p:sp>
          <p:nvSpPr>
            <p:cNvPr id="7235" name="Rectangle 202"/>
            <p:cNvSpPr>
              <a:spLocks noChangeArrowheads="1"/>
            </p:cNvSpPr>
            <p:nvPr/>
          </p:nvSpPr>
          <p:spPr bwMode="auto">
            <a:xfrm>
              <a:off x="3477" y="2424"/>
              <a:ext cx="58" cy="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sz="500" b="1">
                  <a:solidFill>
                    <a:srgbClr val="000000"/>
                  </a:solidFill>
                </a:rPr>
                <a:t>CH</a:t>
              </a:r>
              <a:endParaRPr lang="de-DE"/>
            </a:p>
          </p:txBody>
        </p:sp>
        <p:sp>
          <p:nvSpPr>
            <p:cNvPr id="7236" name="Freeform 203"/>
            <p:cNvSpPr>
              <a:spLocks/>
            </p:cNvSpPr>
            <p:nvPr/>
          </p:nvSpPr>
          <p:spPr bwMode="auto">
            <a:xfrm>
              <a:off x="3804" y="3122"/>
              <a:ext cx="215" cy="126"/>
            </a:xfrm>
            <a:custGeom>
              <a:avLst/>
              <a:gdLst>
                <a:gd name="T0" fmla="*/ 0 w 204"/>
                <a:gd name="T1" fmla="*/ 83 h 120"/>
                <a:gd name="T2" fmla="*/ 0 w 204"/>
                <a:gd name="T3" fmla="*/ 59 h 120"/>
                <a:gd name="T4" fmla="*/ 28 w 204"/>
                <a:gd name="T5" fmla="*/ 30 h 120"/>
                <a:gd name="T6" fmla="*/ 59 w 204"/>
                <a:gd name="T7" fmla="*/ 48 h 120"/>
                <a:gd name="T8" fmla="*/ 78 w 204"/>
                <a:gd name="T9" fmla="*/ 30 h 120"/>
                <a:gd name="T10" fmla="*/ 106 w 204"/>
                <a:gd name="T11" fmla="*/ 26 h 120"/>
                <a:gd name="T12" fmla="*/ 118 w 204"/>
                <a:gd name="T13" fmla="*/ 30 h 120"/>
                <a:gd name="T14" fmla="*/ 137 w 204"/>
                <a:gd name="T15" fmla="*/ 40 h 120"/>
                <a:gd name="T16" fmla="*/ 156 w 204"/>
                <a:gd name="T17" fmla="*/ 48 h 120"/>
                <a:gd name="T18" fmla="*/ 188 w 204"/>
                <a:gd name="T19" fmla="*/ 40 h 120"/>
                <a:gd name="T20" fmla="*/ 245 w 204"/>
                <a:gd name="T21" fmla="*/ 40 h 120"/>
                <a:gd name="T22" fmla="*/ 274 w 204"/>
                <a:gd name="T23" fmla="*/ 30 h 120"/>
                <a:gd name="T24" fmla="*/ 294 w 204"/>
                <a:gd name="T25" fmla="*/ 9 h 120"/>
                <a:gd name="T26" fmla="*/ 305 w 204"/>
                <a:gd name="T27" fmla="*/ 9 h 120"/>
                <a:gd name="T28" fmla="*/ 335 w 204"/>
                <a:gd name="T29" fmla="*/ 26 h 120"/>
                <a:gd name="T30" fmla="*/ 345 w 204"/>
                <a:gd name="T31" fmla="*/ 4 h 120"/>
                <a:gd name="T32" fmla="*/ 374 w 204"/>
                <a:gd name="T33" fmla="*/ 0 h 120"/>
                <a:gd name="T34" fmla="*/ 385 w 204"/>
                <a:gd name="T35" fmla="*/ 9 h 120"/>
                <a:gd name="T36" fmla="*/ 364 w 204"/>
                <a:gd name="T37" fmla="*/ 59 h 120"/>
                <a:gd name="T38" fmla="*/ 353 w 204"/>
                <a:gd name="T39" fmla="*/ 83 h 120"/>
                <a:gd name="T40" fmla="*/ 335 w 204"/>
                <a:gd name="T41" fmla="*/ 107 h 120"/>
                <a:gd name="T42" fmla="*/ 335 w 204"/>
                <a:gd name="T43" fmla="*/ 116 h 120"/>
                <a:gd name="T44" fmla="*/ 353 w 204"/>
                <a:gd name="T45" fmla="*/ 134 h 120"/>
                <a:gd name="T46" fmla="*/ 374 w 204"/>
                <a:gd name="T47" fmla="*/ 167 h 120"/>
                <a:gd name="T48" fmla="*/ 353 w 204"/>
                <a:gd name="T49" fmla="*/ 181 h 120"/>
                <a:gd name="T50" fmla="*/ 353 w 204"/>
                <a:gd name="T51" fmla="*/ 215 h 120"/>
                <a:gd name="T52" fmla="*/ 313 w 204"/>
                <a:gd name="T53" fmla="*/ 207 h 120"/>
                <a:gd name="T54" fmla="*/ 265 w 204"/>
                <a:gd name="T55" fmla="*/ 200 h 120"/>
                <a:gd name="T56" fmla="*/ 234 w 204"/>
                <a:gd name="T57" fmla="*/ 156 h 120"/>
                <a:gd name="T58" fmla="*/ 197 w 204"/>
                <a:gd name="T59" fmla="*/ 167 h 120"/>
                <a:gd name="T60" fmla="*/ 168 w 204"/>
                <a:gd name="T61" fmla="*/ 149 h 120"/>
                <a:gd name="T62" fmla="*/ 145 w 204"/>
                <a:gd name="T63" fmla="*/ 134 h 120"/>
                <a:gd name="T64" fmla="*/ 129 w 204"/>
                <a:gd name="T65" fmla="*/ 134 h 120"/>
                <a:gd name="T66" fmla="*/ 97 w 204"/>
                <a:gd name="T67" fmla="*/ 116 h 120"/>
                <a:gd name="T68" fmla="*/ 78 w 204"/>
                <a:gd name="T69" fmla="*/ 116 h 120"/>
                <a:gd name="T70" fmla="*/ 59 w 204"/>
                <a:gd name="T71" fmla="*/ 100 h 120"/>
                <a:gd name="T72" fmla="*/ 28 w 204"/>
                <a:gd name="T73" fmla="*/ 107 h 120"/>
                <a:gd name="T74" fmla="*/ 0 w 204"/>
                <a:gd name="T75" fmla="*/ 83 h 120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04"/>
                <a:gd name="T115" fmla="*/ 0 h 120"/>
                <a:gd name="T116" fmla="*/ 204 w 204"/>
                <a:gd name="T117" fmla="*/ 120 h 120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04" h="120">
                  <a:moveTo>
                    <a:pt x="0" y="46"/>
                  </a:moveTo>
                  <a:lnTo>
                    <a:pt x="0" y="32"/>
                  </a:lnTo>
                  <a:lnTo>
                    <a:pt x="16" y="18"/>
                  </a:lnTo>
                  <a:lnTo>
                    <a:pt x="31" y="27"/>
                  </a:lnTo>
                  <a:lnTo>
                    <a:pt x="42" y="18"/>
                  </a:lnTo>
                  <a:lnTo>
                    <a:pt x="57" y="14"/>
                  </a:lnTo>
                  <a:lnTo>
                    <a:pt x="63" y="18"/>
                  </a:lnTo>
                  <a:lnTo>
                    <a:pt x="73" y="23"/>
                  </a:lnTo>
                  <a:lnTo>
                    <a:pt x="83" y="27"/>
                  </a:lnTo>
                  <a:lnTo>
                    <a:pt x="100" y="23"/>
                  </a:lnTo>
                  <a:lnTo>
                    <a:pt x="130" y="23"/>
                  </a:lnTo>
                  <a:lnTo>
                    <a:pt x="146" y="18"/>
                  </a:lnTo>
                  <a:lnTo>
                    <a:pt x="157" y="9"/>
                  </a:lnTo>
                  <a:lnTo>
                    <a:pt x="162" y="9"/>
                  </a:lnTo>
                  <a:lnTo>
                    <a:pt x="178" y="14"/>
                  </a:lnTo>
                  <a:lnTo>
                    <a:pt x="183" y="4"/>
                  </a:lnTo>
                  <a:lnTo>
                    <a:pt x="199" y="0"/>
                  </a:lnTo>
                  <a:lnTo>
                    <a:pt x="204" y="9"/>
                  </a:lnTo>
                  <a:lnTo>
                    <a:pt x="193" y="32"/>
                  </a:lnTo>
                  <a:lnTo>
                    <a:pt x="188" y="46"/>
                  </a:lnTo>
                  <a:lnTo>
                    <a:pt x="178" y="60"/>
                  </a:lnTo>
                  <a:lnTo>
                    <a:pt x="178" y="64"/>
                  </a:lnTo>
                  <a:lnTo>
                    <a:pt x="188" y="74"/>
                  </a:lnTo>
                  <a:lnTo>
                    <a:pt x="199" y="92"/>
                  </a:lnTo>
                  <a:lnTo>
                    <a:pt x="188" y="101"/>
                  </a:lnTo>
                  <a:lnTo>
                    <a:pt x="188" y="120"/>
                  </a:lnTo>
                  <a:lnTo>
                    <a:pt x="167" y="115"/>
                  </a:lnTo>
                  <a:lnTo>
                    <a:pt x="141" y="111"/>
                  </a:lnTo>
                  <a:lnTo>
                    <a:pt x="125" y="87"/>
                  </a:lnTo>
                  <a:lnTo>
                    <a:pt x="104" y="92"/>
                  </a:lnTo>
                  <a:lnTo>
                    <a:pt x="89" y="83"/>
                  </a:lnTo>
                  <a:lnTo>
                    <a:pt x="78" y="74"/>
                  </a:lnTo>
                  <a:lnTo>
                    <a:pt x="68" y="74"/>
                  </a:lnTo>
                  <a:lnTo>
                    <a:pt x="52" y="64"/>
                  </a:lnTo>
                  <a:lnTo>
                    <a:pt x="42" y="64"/>
                  </a:lnTo>
                  <a:lnTo>
                    <a:pt x="31" y="55"/>
                  </a:lnTo>
                  <a:lnTo>
                    <a:pt x="16" y="60"/>
                  </a:lnTo>
                  <a:lnTo>
                    <a:pt x="0" y="46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cs-CZ"/>
            </a:p>
          </p:txBody>
        </p:sp>
        <p:sp>
          <p:nvSpPr>
            <p:cNvPr id="7237" name="Freeform 204"/>
            <p:cNvSpPr>
              <a:spLocks noEditPoints="1"/>
            </p:cNvSpPr>
            <p:nvPr/>
          </p:nvSpPr>
          <p:spPr bwMode="auto">
            <a:xfrm>
              <a:off x="3802" y="3120"/>
              <a:ext cx="219" cy="130"/>
            </a:xfrm>
            <a:custGeom>
              <a:avLst/>
              <a:gdLst>
                <a:gd name="T0" fmla="*/ 0 w 913"/>
                <a:gd name="T1" fmla="*/ 0 h 545"/>
                <a:gd name="T2" fmla="*/ 0 w 913"/>
                <a:gd name="T3" fmla="*/ 0 h 545"/>
                <a:gd name="T4" fmla="*/ 0 w 913"/>
                <a:gd name="T5" fmla="*/ 0 h 545"/>
                <a:gd name="T6" fmla="*/ 0 w 913"/>
                <a:gd name="T7" fmla="*/ 0 h 545"/>
                <a:gd name="T8" fmla="*/ 0 w 913"/>
                <a:gd name="T9" fmla="*/ 0 h 545"/>
                <a:gd name="T10" fmla="*/ 0 w 913"/>
                <a:gd name="T11" fmla="*/ 0 h 545"/>
                <a:gd name="T12" fmla="*/ 0 w 913"/>
                <a:gd name="T13" fmla="*/ 0 h 545"/>
                <a:gd name="T14" fmla="*/ 0 w 913"/>
                <a:gd name="T15" fmla="*/ 0 h 545"/>
                <a:gd name="T16" fmla="*/ 0 w 913"/>
                <a:gd name="T17" fmla="*/ 0 h 545"/>
                <a:gd name="T18" fmla="*/ 0 w 913"/>
                <a:gd name="T19" fmla="*/ 0 h 545"/>
                <a:gd name="T20" fmla="*/ 0 w 913"/>
                <a:gd name="T21" fmla="*/ 0 h 545"/>
                <a:gd name="T22" fmla="*/ 0 w 913"/>
                <a:gd name="T23" fmla="*/ 0 h 545"/>
                <a:gd name="T24" fmla="*/ 0 w 913"/>
                <a:gd name="T25" fmla="*/ 0 h 545"/>
                <a:gd name="T26" fmla="*/ 0 w 913"/>
                <a:gd name="T27" fmla="*/ 0 h 545"/>
                <a:gd name="T28" fmla="*/ 0 w 913"/>
                <a:gd name="T29" fmla="*/ 0 h 545"/>
                <a:gd name="T30" fmla="*/ 0 w 913"/>
                <a:gd name="T31" fmla="*/ 0 h 545"/>
                <a:gd name="T32" fmla="*/ 0 w 913"/>
                <a:gd name="T33" fmla="*/ 0 h 545"/>
                <a:gd name="T34" fmla="*/ 0 w 913"/>
                <a:gd name="T35" fmla="*/ 0 h 545"/>
                <a:gd name="T36" fmla="*/ 0 w 913"/>
                <a:gd name="T37" fmla="*/ 0 h 545"/>
                <a:gd name="T38" fmla="*/ 0 w 913"/>
                <a:gd name="T39" fmla="*/ 0 h 545"/>
                <a:gd name="T40" fmla="*/ 0 w 913"/>
                <a:gd name="T41" fmla="*/ 0 h 545"/>
                <a:gd name="T42" fmla="*/ 0 w 913"/>
                <a:gd name="T43" fmla="*/ 0 h 545"/>
                <a:gd name="T44" fmla="*/ 0 w 913"/>
                <a:gd name="T45" fmla="*/ 0 h 545"/>
                <a:gd name="T46" fmla="*/ 0 w 913"/>
                <a:gd name="T47" fmla="*/ 0 h 545"/>
                <a:gd name="T48" fmla="*/ 0 w 913"/>
                <a:gd name="T49" fmla="*/ 0 h 545"/>
                <a:gd name="T50" fmla="*/ 0 w 913"/>
                <a:gd name="T51" fmla="*/ 0 h 545"/>
                <a:gd name="T52" fmla="*/ 0 w 913"/>
                <a:gd name="T53" fmla="*/ 0 h 545"/>
                <a:gd name="T54" fmla="*/ 0 w 913"/>
                <a:gd name="T55" fmla="*/ 0 h 545"/>
                <a:gd name="T56" fmla="*/ 0 w 913"/>
                <a:gd name="T57" fmla="*/ 0 h 545"/>
                <a:gd name="T58" fmla="*/ 0 w 913"/>
                <a:gd name="T59" fmla="*/ 0 h 545"/>
                <a:gd name="T60" fmla="*/ 0 w 913"/>
                <a:gd name="T61" fmla="*/ 0 h 545"/>
                <a:gd name="T62" fmla="*/ 0 w 913"/>
                <a:gd name="T63" fmla="*/ 0 h 545"/>
                <a:gd name="T64" fmla="*/ 0 w 913"/>
                <a:gd name="T65" fmla="*/ 0 h 545"/>
                <a:gd name="T66" fmla="*/ 0 w 913"/>
                <a:gd name="T67" fmla="*/ 0 h 545"/>
                <a:gd name="T68" fmla="*/ 0 w 913"/>
                <a:gd name="T69" fmla="*/ 0 h 545"/>
                <a:gd name="T70" fmla="*/ 0 w 913"/>
                <a:gd name="T71" fmla="*/ 0 h 545"/>
                <a:gd name="T72" fmla="*/ 0 w 913"/>
                <a:gd name="T73" fmla="*/ 0 h 545"/>
                <a:gd name="T74" fmla="*/ 0 w 913"/>
                <a:gd name="T75" fmla="*/ 0 h 545"/>
                <a:gd name="T76" fmla="*/ 0 w 913"/>
                <a:gd name="T77" fmla="*/ 0 h 545"/>
                <a:gd name="T78" fmla="*/ 0 w 913"/>
                <a:gd name="T79" fmla="*/ 0 h 545"/>
                <a:gd name="T80" fmla="*/ 0 w 913"/>
                <a:gd name="T81" fmla="*/ 0 h 545"/>
                <a:gd name="T82" fmla="*/ 0 w 913"/>
                <a:gd name="T83" fmla="*/ 0 h 545"/>
                <a:gd name="T84" fmla="*/ 0 w 913"/>
                <a:gd name="T85" fmla="*/ 0 h 545"/>
                <a:gd name="T86" fmla="*/ 0 w 913"/>
                <a:gd name="T87" fmla="*/ 0 h 545"/>
                <a:gd name="T88" fmla="*/ 0 w 913"/>
                <a:gd name="T89" fmla="*/ 0 h 545"/>
                <a:gd name="T90" fmla="*/ 0 w 913"/>
                <a:gd name="T91" fmla="*/ 0 h 545"/>
                <a:gd name="T92" fmla="*/ 0 w 913"/>
                <a:gd name="T93" fmla="*/ 0 h 545"/>
                <a:gd name="T94" fmla="*/ 0 w 913"/>
                <a:gd name="T95" fmla="*/ 0 h 545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913"/>
                <a:gd name="T145" fmla="*/ 0 h 545"/>
                <a:gd name="T146" fmla="*/ 913 w 913"/>
                <a:gd name="T147" fmla="*/ 545 h 545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913" h="545">
                  <a:moveTo>
                    <a:pt x="3" y="218"/>
                  </a:moveTo>
                  <a:cubicBezTo>
                    <a:pt x="1" y="216"/>
                    <a:pt x="0" y="214"/>
                    <a:pt x="0" y="212"/>
                  </a:cubicBezTo>
                  <a:lnTo>
                    <a:pt x="0" y="151"/>
                  </a:lnTo>
                  <a:cubicBezTo>
                    <a:pt x="0" y="148"/>
                    <a:pt x="1" y="146"/>
                    <a:pt x="3" y="145"/>
                  </a:cubicBezTo>
                  <a:lnTo>
                    <a:pt x="71" y="84"/>
                  </a:lnTo>
                  <a:cubicBezTo>
                    <a:pt x="74" y="81"/>
                    <a:pt x="78" y="81"/>
                    <a:pt x="81" y="83"/>
                  </a:cubicBezTo>
                  <a:lnTo>
                    <a:pt x="149" y="123"/>
                  </a:lnTo>
                  <a:lnTo>
                    <a:pt x="140" y="124"/>
                  </a:lnTo>
                  <a:lnTo>
                    <a:pt x="186" y="84"/>
                  </a:lnTo>
                  <a:cubicBezTo>
                    <a:pt x="187" y="83"/>
                    <a:pt x="188" y="82"/>
                    <a:pt x="189" y="82"/>
                  </a:cubicBezTo>
                  <a:lnTo>
                    <a:pt x="257" y="62"/>
                  </a:lnTo>
                  <a:cubicBezTo>
                    <a:pt x="260" y="61"/>
                    <a:pt x="263" y="62"/>
                    <a:pt x="265" y="63"/>
                  </a:cubicBezTo>
                  <a:lnTo>
                    <a:pt x="289" y="84"/>
                  </a:lnTo>
                  <a:lnTo>
                    <a:pt x="288" y="82"/>
                  </a:lnTo>
                  <a:lnTo>
                    <a:pt x="331" y="103"/>
                  </a:lnTo>
                  <a:lnTo>
                    <a:pt x="378" y="123"/>
                  </a:lnTo>
                  <a:lnTo>
                    <a:pt x="372" y="123"/>
                  </a:lnTo>
                  <a:lnTo>
                    <a:pt x="443" y="102"/>
                  </a:lnTo>
                  <a:cubicBezTo>
                    <a:pt x="444" y="102"/>
                    <a:pt x="445" y="102"/>
                    <a:pt x="446" y="102"/>
                  </a:cubicBezTo>
                  <a:lnTo>
                    <a:pt x="582" y="102"/>
                  </a:lnTo>
                  <a:lnTo>
                    <a:pt x="580" y="102"/>
                  </a:lnTo>
                  <a:lnTo>
                    <a:pt x="648" y="82"/>
                  </a:lnTo>
                  <a:lnTo>
                    <a:pt x="645" y="84"/>
                  </a:lnTo>
                  <a:lnTo>
                    <a:pt x="692" y="43"/>
                  </a:lnTo>
                  <a:cubicBezTo>
                    <a:pt x="693" y="42"/>
                    <a:pt x="695" y="41"/>
                    <a:pt x="697" y="41"/>
                  </a:cubicBezTo>
                  <a:lnTo>
                    <a:pt x="721" y="41"/>
                  </a:lnTo>
                  <a:cubicBezTo>
                    <a:pt x="722" y="41"/>
                    <a:pt x="723" y="41"/>
                    <a:pt x="724" y="41"/>
                  </a:cubicBezTo>
                  <a:lnTo>
                    <a:pt x="792" y="62"/>
                  </a:lnTo>
                  <a:lnTo>
                    <a:pt x="783" y="66"/>
                  </a:lnTo>
                  <a:lnTo>
                    <a:pt x="805" y="25"/>
                  </a:lnTo>
                  <a:cubicBezTo>
                    <a:pt x="806" y="23"/>
                    <a:pt x="807" y="22"/>
                    <a:pt x="809" y="21"/>
                  </a:cubicBezTo>
                  <a:lnTo>
                    <a:pt x="880" y="1"/>
                  </a:lnTo>
                  <a:cubicBezTo>
                    <a:pt x="884" y="0"/>
                    <a:pt x="888" y="1"/>
                    <a:pt x="890" y="5"/>
                  </a:cubicBezTo>
                  <a:lnTo>
                    <a:pt x="912" y="45"/>
                  </a:lnTo>
                  <a:cubicBezTo>
                    <a:pt x="913" y="47"/>
                    <a:pt x="913" y="50"/>
                    <a:pt x="912" y="52"/>
                  </a:cubicBezTo>
                  <a:lnTo>
                    <a:pt x="865" y="154"/>
                  </a:lnTo>
                  <a:lnTo>
                    <a:pt x="844" y="214"/>
                  </a:lnTo>
                  <a:cubicBezTo>
                    <a:pt x="843" y="215"/>
                    <a:pt x="843" y="216"/>
                    <a:pt x="843" y="216"/>
                  </a:cubicBezTo>
                  <a:lnTo>
                    <a:pt x="796" y="277"/>
                  </a:lnTo>
                  <a:lnTo>
                    <a:pt x="798" y="272"/>
                  </a:lnTo>
                  <a:lnTo>
                    <a:pt x="798" y="293"/>
                  </a:lnTo>
                  <a:lnTo>
                    <a:pt x="795" y="287"/>
                  </a:lnTo>
                  <a:lnTo>
                    <a:pt x="841" y="327"/>
                  </a:lnTo>
                  <a:cubicBezTo>
                    <a:pt x="842" y="328"/>
                    <a:pt x="843" y="329"/>
                    <a:pt x="843" y="329"/>
                  </a:cubicBezTo>
                  <a:lnTo>
                    <a:pt x="890" y="411"/>
                  </a:lnTo>
                  <a:cubicBezTo>
                    <a:pt x="891" y="414"/>
                    <a:pt x="891" y="418"/>
                    <a:pt x="888" y="421"/>
                  </a:cubicBezTo>
                  <a:lnTo>
                    <a:pt x="841" y="461"/>
                  </a:lnTo>
                  <a:lnTo>
                    <a:pt x="844" y="455"/>
                  </a:lnTo>
                  <a:lnTo>
                    <a:pt x="844" y="536"/>
                  </a:lnTo>
                  <a:cubicBezTo>
                    <a:pt x="844" y="539"/>
                    <a:pt x="843" y="541"/>
                    <a:pt x="841" y="543"/>
                  </a:cubicBezTo>
                  <a:cubicBezTo>
                    <a:pt x="839" y="544"/>
                    <a:pt x="837" y="545"/>
                    <a:pt x="834" y="544"/>
                  </a:cubicBezTo>
                  <a:lnTo>
                    <a:pt x="742" y="524"/>
                  </a:lnTo>
                  <a:lnTo>
                    <a:pt x="627" y="504"/>
                  </a:lnTo>
                  <a:cubicBezTo>
                    <a:pt x="625" y="503"/>
                    <a:pt x="623" y="502"/>
                    <a:pt x="622" y="500"/>
                  </a:cubicBezTo>
                  <a:lnTo>
                    <a:pt x="554" y="399"/>
                  </a:lnTo>
                  <a:lnTo>
                    <a:pt x="562" y="402"/>
                  </a:lnTo>
                  <a:lnTo>
                    <a:pt x="469" y="422"/>
                  </a:lnTo>
                  <a:cubicBezTo>
                    <a:pt x="467" y="423"/>
                    <a:pt x="465" y="423"/>
                    <a:pt x="463" y="422"/>
                  </a:cubicBezTo>
                  <a:lnTo>
                    <a:pt x="395" y="381"/>
                  </a:lnTo>
                  <a:cubicBezTo>
                    <a:pt x="395" y="381"/>
                    <a:pt x="394" y="380"/>
                    <a:pt x="394" y="380"/>
                  </a:cubicBezTo>
                  <a:lnTo>
                    <a:pt x="347" y="339"/>
                  </a:lnTo>
                  <a:lnTo>
                    <a:pt x="353" y="341"/>
                  </a:lnTo>
                  <a:lnTo>
                    <a:pt x="306" y="341"/>
                  </a:lnTo>
                  <a:cubicBezTo>
                    <a:pt x="305" y="341"/>
                    <a:pt x="303" y="341"/>
                    <a:pt x="302" y="340"/>
                  </a:cubicBezTo>
                  <a:lnTo>
                    <a:pt x="234" y="300"/>
                  </a:lnTo>
                  <a:lnTo>
                    <a:pt x="238" y="301"/>
                  </a:lnTo>
                  <a:lnTo>
                    <a:pt x="191" y="301"/>
                  </a:lnTo>
                  <a:cubicBezTo>
                    <a:pt x="190" y="301"/>
                    <a:pt x="188" y="300"/>
                    <a:pt x="186" y="299"/>
                  </a:cubicBezTo>
                  <a:lnTo>
                    <a:pt x="140" y="258"/>
                  </a:lnTo>
                  <a:lnTo>
                    <a:pt x="147" y="260"/>
                  </a:lnTo>
                  <a:lnTo>
                    <a:pt x="79" y="280"/>
                  </a:lnTo>
                  <a:cubicBezTo>
                    <a:pt x="76" y="281"/>
                    <a:pt x="73" y="280"/>
                    <a:pt x="71" y="278"/>
                  </a:cubicBezTo>
                  <a:lnTo>
                    <a:pt x="3" y="218"/>
                  </a:lnTo>
                  <a:close/>
                  <a:moveTo>
                    <a:pt x="82" y="266"/>
                  </a:moveTo>
                  <a:lnTo>
                    <a:pt x="74" y="265"/>
                  </a:lnTo>
                  <a:lnTo>
                    <a:pt x="143" y="244"/>
                  </a:lnTo>
                  <a:cubicBezTo>
                    <a:pt x="145" y="244"/>
                    <a:pt x="148" y="244"/>
                    <a:pt x="150" y="246"/>
                  </a:cubicBezTo>
                  <a:lnTo>
                    <a:pt x="197" y="287"/>
                  </a:lnTo>
                  <a:lnTo>
                    <a:pt x="191" y="285"/>
                  </a:lnTo>
                  <a:lnTo>
                    <a:pt x="238" y="285"/>
                  </a:lnTo>
                  <a:cubicBezTo>
                    <a:pt x="239" y="285"/>
                    <a:pt x="241" y="285"/>
                    <a:pt x="242" y="286"/>
                  </a:cubicBezTo>
                  <a:lnTo>
                    <a:pt x="310" y="327"/>
                  </a:lnTo>
                  <a:lnTo>
                    <a:pt x="306" y="325"/>
                  </a:lnTo>
                  <a:lnTo>
                    <a:pt x="353" y="325"/>
                  </a:lnTo>
                  <a:cubicBezTo>
                    <a:pt x="355" y="325"/>
                    <a:pt x="356" y="326"/>
                    <a:pt x="358" y="327"/>
                  </a:cubicBezTo>
                  <a:lnTo>
                    <a:pt x="404" y="368"/>
                  </a:lnTo>
                  <a:lnTo>
                    <a:pt x="403" y="367"/>
                  </a:lnTo>
                  <a:lnTo>
                    <a:pt x="471" y="408"/>
                  </a:lnTo>
                  <a:lnTo>
                    <a:pt x="466" y="407"/>
                  </a:lnTo>
                  <a:lnTo>
                    <a:pt x="559" y="386"/>
                  </a:lnTo>
                  <a:cubicBezTo>
                    <a:pt x="562" y="386"/>
                    <a:pt x="565" y="387"/>
                    <a:pt x="567" y="390"/>
                  </a:cubicBezTo>
                  <a:lnTo>
                    <a:pt x="635" y="491"/>
                  </a:lnTo>
                  <a:lnTo>
                    <a:pt x="630" y="488"/>
                  </a:lnTo>
                  <a:lnTo>
                    <a:pt x="745" y="508"/>
                  </a:lnTo>
                  <a:lnTo>
                    <a:pt x="838" y="529"/>
                  </a:lnTo>
                  <a:lnTo>
                    <a:pt x="828" y="536"/>
                  </a:lnTo>
                  <a:lnTo>
                    <a:pt x="828" y="455"/>
                  </a:lnTo>
                  <a:cubicBezTo>
                    <a:pt x="828" y="453"/>
                    <a:pt x="829" y="451"/>
                    <a:pt x="831" y="449"/>
                  </a:cubicBezTo>
                  <a:lnTo>
                    <a:pt x="877" y="409"/>
                  </a:lnTo>
                  <a:lnTo>
                    <a:pt x="876" y="419"/>
                  </a:lnTo>
                  <a:lnTo>
                    <a:pt x="829" y="337"/>
                  </a:lnTo>
                  <a:lnTo>
                    <a:pt x="831" y="339"/>
                  </a:lnTo>
                  <a:lnTo>
                    <a:pt x="784" y="299"/>
                  </a:lnTo>
                  <a:cubicBezTo>
                    <a:pt x="783" y="297"/>
                    <a:pt x="782" y="295"/>
                    <a:pt x="782" y="293"/>
                  </a:cubicBezTo>
                  <a:lnTo>
                    <a:pt x="782" y="272"/>
                  </a:lnTo>
                  <a:cubicBezTo>
                    <a:pt x="782" y="271"/>
                    <a:pt x="782" y="269"/>
                    <a:pt x="783" y="268"/>
                  </a:cubicBezTo>
                  <a:lnTo>
                    <a:pt x="830" y="207"/>
                  </a:lnTo>
                  <a:lnTo>
                    <a:pt x="829" y="209"/>
                  </a:lnTo>
                  <a:lnTo>
                    <a:pt x="851" y="147"/>
                  </a:lnTo>
                  <a:lnTo>
                    <a:pt x="897" y="46"/>
                  </a:lnTo>
                  <a:lnTo>
                    <a:pt x="897" y="53"/>
                  </a:lnTo>
                  <a:lnTo>
                    <a:pt x="876" y="12"/>
                  </a:lnTo>
                  <a:lnTo>
                    <a:pt x="885" y="16"/>
                  </a:lnTo>
                  <a:lnTo>
                    <a:pt x="814" y="36"/>
                  </a:lnTo>
                  <a:lnTo>
                    <a:pt x="819" y="33"/>
                  </a:lnTo>
                  <a:lnTo>
                    <a:pt x="797" y="73"/>
                  </a:lnTo>
                  <a:cubicBezTo>
                    <a:pt x="795" y="77"/>
                    <a:pt x="791" y="78"/>
                    <a:pt x="787" y="77"/>
                  </a:cubicBezTo>
                  <a:lnTo>
                    <a:pt x="719" y="57"/>
                  </a:lnTo>
                  <a:lnTo>
                    <a:pt x="721" y="57"/>
                  </a:lnTo>
                  <a:lnTo>
                    <a:pt x="697" y="57"/>
                  </a:lnTo>
                  <a:lnTo>
                    <a:pt x="702" y="55"/>
                  </a:lnTo>
                  <a:lnTo>
                    <a:pt x="656" y="96"/>
                  </a:lnTo>
                  <a:cubicBezTo>
                    <a:pt x="655" y="96"/>
                    <a:pt x="654" y="97"/>
                    <a:pt x="653" y="97"/>
                  </a:cubicBezTo>
                  <a:lnTo>
                    <a:pt x="584" y="118"/>
                  </a:lnTo>
                  <a:cubicBezTo>
                    <a:pt x="584" y="118"/>
                    <a:pt x="583" y="118"/>
                    <a:pt x="582" y="118"/>
                  </a:cubicBezTo>
                  <a:lnTo>
                    <a:pt x="446" y="118"/>
                  </a:lnTo>
                  <a:lnTo>
                    <a:pt x="448" y="118"/>
                  </a:lnTo>
                  <a:lnTo>
                    <a:pt x="377" y="138"/>
                  </a:lnTo>
                  <a:cubicBezTo>
                    <a:pt x="375" y="139"/>
                    <a:pt x="373" y="138"/>
                    <a:pt x="371" y="138"/>
                  </a:cubicBezTo>
                  <a:lnTo>
                    <a:pt x="325" y="117"/>
                  </a:lnTo>
                  <a:lnTo>
                    <a:pt x="281" y="97"/>
                  </a:lnTo>
                  <a:cubicBezTo>
                    <a:pt x="280" y="97"/>
                    <a:pt x="280" y="96"/>
                    <a:pt x="279" y="96"/>
                  </a:cubicBezTo>
                  <a:lnTo>
                    <a:pt x="255" y="76"/>
                  </a:lnTo>
                  <a:lnTo>
                    <a:pt x="262" y="77"/>
                  </a:lnTo>
                  <a:lnTo>
                    <a:pt x="194" y="97"/>
                  </a:lnTo>
                  <a:lnTo>
                    <a:pt x="197" y="96"/>
                  </a:lnTo>
                  <a:lnTo>
                    <a:pt x="150" y="136"/>
                  </a:lnTo>
                  <a:cubicBezTo>
                    <a:pt x="148" y="139"/>
                    <a:pt x="144" y="139"/>
                    <a:pt x="141" y="137"/>
                  </a:cubicBezTo>
                  <a:lnTo>
                    <a:pt x="73" y="97"/>
                  </a:lnTo>
                  <a:lnTo>
                    <a:pt x="82" y="96"/>
                  </a:lnTo>
                  <a:lnTo>
                    <a:pt x="14" y="157"/>
                  </a:lnTo>
                  <a:lnTo>
                    <a:pt x="16" y="151"/>
                  </a:lnTo>
                  <a:lnTo>
                    <a:pt x="16" y="212"/>
                  </a:lnTo>
                  <a:lnTo>
                    <a:pt x="14" y="206"/>
                  </a:lnTo>
                  <a:lnTo>
                    <a:pt x="82" y="266"/>
                  </a:lnTo>
                  <a:close/>
                </a:path>
              </a:pathLst>
            </a:custGeom>
            <a:solidFill>
              <a:srgbClr val="000000"/>
            </a:solidFill>
            <a:ln w="0" cap="flat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238" name="Freeform 205"/>
            <p:cNvSpPr>
              <a:spLocks/>
            </p:cNvSpPr>
            <p:nvPr/>
          </p:nvSpPr>
          <p:spPr bwMode="auto">
            <a:xfrm>
              <a:off x="3507" y="2851"/>
              <a:ext cx="106" cy="172"/>
            </a:xfrm>
            <a:custGeom>
              <a:avLst/>
              <a:gdLst>
                <a:gd name="T0" fmla="*/ 0 w 101"/>
                <a:gd name="T1" fmla="*/ 40 h 163"/>
                <a:gd name="T2" fmla="*/ 33 w 101"/>
                <a:gd name="T3" fmla="*/ 52 h 163"/>
                <a:gd name="T4" fmla="*/ 63 w 101"/>
                <a:gd name="T5" fmla="*/ 40 h 163"/>
                <a:gd name="T6" fmla="*/ 108 w 101"/>
                <a:gd name="T7" fmla="*/ 4 h 163"/>
                <a:gd name="T8" fmla="*/ 118 w 101"/>
                <a:gd name="T9" fmla="*/ 0 h 163"/>
                <a:gd name="T10" fmla="*/ 153 w 101"/>
                <a:gd name="T11" fmla="*/ 9 h 163"/>
                <a:gd name="T12" fmla="*/ 153 w 101"/>
                <a:gd name="T13" fmla="*/ 32 h 163"/>
                <a:gd name="T14" fmla="*/ 179 w 101"/>
                <a:gd name="T15" fmla="*/ 102 h 163"/>
                <a:gd name="T16" fmla="*/ 163 w 101"/>
                <a:gd name="T17" fmla="*/ 129 h 163"/>
                <a:gd name="T18" fmla="*/ 179 w 101"/>
                <a:gd name="T19" fmla="*/ 165 h 163"/>
                <a:gd name="T20" fmla="*/ 153 w 101"/>
                <a:gd name="T21" fmla="*/ 275 h 163"/>
                <a:gd name="T22" fmla="*/ 125 w 101"/>
                <a:gd name="T23" fmla="*/ 268 h 163"/>
                <a:gd name="T24" fmla="*/ 98 w 101"/>
                <a:gd name="T25" fmla="*/ 268 h 163"/>
                <a:gd name="T26" fmla="*/ 89 w 101"/>
                <a:gd name="T27" fmla="*/ 285 h 163"/>
                <a:gd name="T28" fmla="*/ 70 w 101"/>
                <a:gd name="T29" fmla="*/ 302 h 163"/>
                <a:gd name="T30" fmla="*/ 43 w 101"/>
                <a:gd name="T31" fmla="*/ 310 h 163"/>
                <a:gd name="T32" fmla="*/ 27 w 101"/>
                <a:gd name="T33" fmla="*/ 268 h 163"/>
                <a:gd name="T34" fmla="*/ 27 w 101"/>
                <a:gd name="T35" fmla="*/ 216 h 163"/>
                <a:gd name="T36" fmla="*/ 33 w 101"/>
                <a:gd name="T37" fmla="*/ 193 h 163"/>
                <a:gd name="T38" fmla="*/ 27 w 101"/>
                <a:gd name="T39" fmla="*/ 173 h 163"/>
                <a:gd name="T40" fmla="*/ 33 w 101"/>
                <a:gd name="T41" fmla="*/ 147 h 163"/>
                <a:gd name="T42" fmla="*/ 33 w 101"/>
                <a:gd name="T43" fmla="*/ 120 h 163"/>
                <a:gd name="T44" fmla="*/ 27 w 101"/>
                <a:gd name="T45" fmla="*/ 85 h 163"/>
                <a:gd name="T46" fmla="*/ 0 w 101"/>
                <a:gd name="T47" fmla="*/ 77 h 163"/>
                <a:gd name="T48" fmla="*/ 0 w 101"/>
                <a:gd name="T49" fmla="*/ 40 h 16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01"/>
                <a:gd name="T76" fmla="*/ 0 h 163"/>
                <a:gd name="T77" fmla="*/ 101 w 101"/>
                <a:gd name="T78" fmla="*/ 163 h 163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01" h="163">
                  <a:moveTo>
                    <a:pt x="0" y="22"/>
                  </a:moveTo>
                  <a:lnTo>
                    <a:pt x="20" y="27"/>
                  </a:lnTo>
                  <a:lnTo>
                    <a:pt x="35" y="22"/>
                  </a:lnTo>
                  <a:lnTo>
                    <a:pt x="61" y="4"/>
                  </a:lnTo>
                  <a:lnTo>
                    <a:pt x="66" y="0"/>
                  </a:lnTo>
                  <a:lnTo>
                    <a:pt x="86" y="9"/>
                  </a:lnTo>
                  <a:lnTo>
                    <a:pt x="86" y="18"/>
                  </a:lnTo>
                  <a:lnTo>
                    <a:pt x="101" y="54"/>
                  </a:lnTo>
                  <a:lnTo>
                    <a:pt x="91" y="68"/>
                  </a:lnTo>
                  <a:lnTo>
                    <a:pt x="101" y="86"/>
                  </a:lnTo>
                  <a:lnTo>
                    <a:pt x="86" y="145"/>
                  </a:lnTo>
                  <a:lnTo>
                    <a:pt x="70" y="140"/>
                  </a:lnTo>
                  <a:lnTo>
                    <a:pt x="55" y="140"/>
                  </a:lnTo>
                  <a:lnTo>
                    <a:pt x="50" y="150"/>
                  </a:lnTo>
                  <a:lnTo>
                    <a:pt x="40" y="159"/>
                  </a:lnTo>
                  <a:lnTo>
                    <a:pt x="25" y="163"/>
                  </a:lnTo>
                  <a:lnTo>
                    <a:pt x="15" y="140"/>
                  </a:lnTo>
                  <a:lnTo>
                    <a:pt x="15" y="113"/>
                  </a:lnTo>
                  <a:lnTo>
                    <a:pt x="20" y="100"/>
                  </a:lnTo>
                  <a:lnTo>
                    <a:pt x="15" y="90"/>
                  </a:lnTo>
                  <a:lnTo>
                    <a:pt x="20" y="77"/>
                  </a:lnTo>
                  <a:lnTo>
                    <a:pt x="20" y="63"/>
                  </a:lnTo>
                  <a:lnTo>
                    <a:pt x="15" y="45"/>
                  </a:lnTo>
                  <a:lnTo>
                    <a:pt x="0" y="41"/>
                  </a:lnTo>
                  <a:lnTo>
                    <a:pt x="0" y="22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cs-CZ"/>
            </a:p>
          </p:txBody>
        </p:sp>
        <p:sp>
          <p:nvSpPr>
            <p:cNvPr id="7239" name="Freeform 206"/>
            <p:cNvSpPr>
              <a:spLocks noEditPoints="1"/>
            </p:cNvSpPr>
            <p:nvPr/>
          </p:nvSpPr>
          <p:spPr bwMode="auto">
            <a:xfrm>
              <a:off x="3505" y="2849"/>
              <a:ext cx="110" cy="176"/>
            </a:xfrm>
            <a:custGeom>
              <a:avLst/>
              <a:gdLst>
                <a:gd name="T0" fmla="*/ 0 w 465"/>
                <a:gd name="T1" fmla="*/ 0 h 737"/>
                <a:gd name="T2" fmla="*/ 0 w 465"/>
                <a:gd name="T3" fmla="*/ 0 h 737"/>
                <a:gd name="T4" fmla="*/ 0 w 465"/>
                <a:gd name="T5" fmla="*/ 0 h 737"/>
                <a:gd name="T6" fmla="*/ 0 w 465"/>
                <a:gd name="T7" fmla="*/ 0 h 737"/>
                <a:gd name="T8" fmla="*/ 0 w 465"/>
                <a:gd name="T9" fmla="*/ 0 h 737"/>
                <a:gd name="T10" fmla="*/ 0 w 465"/>
                <a:gd name="T11" fmla="*/ 0 h 737"/>
                <a:gd name="T12" fmla="*/ 0 w 465"/>
                <a:gd name="T13" fmla="*/ 0 h 737"/>
                <a:gd name="T14" fmla="*/ 0 w 465"/>
                <a:gd name="T15" fmla="*/ 0 h 737"/>
                <a:gd name="T16" fmla="*/ 0 w 465"/>
                <a:gd name="T17" fmla="*/ 0 h 737"/>
                <a:gd name="T18" fmla="*/ 0 w 465"/>
                <a:gd name="T19" fmla="*/ 0 h 737"/>
                <a:gd name="T20" fmla="*/ 0 w 465"/>
                <a:gd name="T21" fmla="*/ 0 h 737"/>
                <a:gd name="T22" fmla="*/ 0 w 465"/>
                <a:gd name="T23" fmla="*/ 0 h 737"/>
                <a:gd name="T24" fmla="*/ 0 w 465"/>
                <a:gd name="T25" fmla="*/ 0 h 737"/>
                <a:gd name="T26" fmla="*/ 0 w 465"/>
                <a:gd name="T27" fmla="*/ 0 h 737"/>
                <a:gd name="T28" fmla="*/ 0 w 465"/>
                <a:gd name="T29" fmla="*/ 0 h 737"/>
                <a:gd name="T30" fmla="*/ 0 w 465"/>
                <a:gd name="T31" fmla="*/ 0 h 737"/>
                <a:gd name="T32" fmla="*/ 0 w 465"/>
                <a:gd name="T33" fmla="*/ 0 h 737"/>
                <a:gd name="T34" fmla="*/ 0 w 465"/>
                <a:gd name="T35" fmla="*/ 0 h 737"/>
                <a:gd name="T36" fmla="*/ 0 w 465"/>
                <a:gd name="T37" fmla="*/ 0 h 737"/>
                <a:gd name="T38" fmla="*/ 0 w 465"/>
                <a:gd name="T39" fmla="*/ 0 h 737"/>
                <a:gd name="T40" fmla="*/ 0 w 465"/>
                <a:gd name="T41" fmla="*/ 0 h 737"/>
                <a:gd name="T42" fmla="*/ 0 w 465"/>
                <a:gd name="T43" fmla="*/ 0 h 737"/>
                <a:gd name="T44" fmla="*/ 0 w 465"/>
                <a:gd name="T45" fmla="*/ 0 h 737"/>
                <a:gd name="T46" fmla="*/ 0 w 465"/>
                <a:gd name="T47" fmla="*/ 0 h 737"/>
                <a:gd name="T48" fmla="*/ 0 w 465"/>
                <a:gd name="T49" fmla="*/ 0 h 737"/>
                <a:gd name="T50" fmla="*/ 0 w 465"/>
                <a:gd name="T51" fmla="*/ 0 h 737"/>
                <a:gd name="T52" fmla="*/ 0 w 465"/>
                <a:gd name="T53" fmla="*/ 0 h 737"/>
                <a:gd name="T54" fmla="*/ 0 w 465"/>
                <a:gd name="T55" fmla="*/ 0 h 737"/>
                <a:gd name="T56" fmla="*/ 0 w 465"/>
                <a:gd name="T57" fmla="*/ 0 h 737"/>
                <a:gd name="T58" fmla="*/ 0 w 465"/>
                <a:gd name="T59" fmla="*/ 0 h 737"/>
                <a:gd name="T60" fmla="*/ 0 w 465"/>
                <a:gd name="T61" fmla="*/ 0 h 737"/>
                <a:gd name="T62" fmla="*/ 0 w 465"/>
                <a:gd name="T63" fmla="*/ 0 h 737"/>
                <a:gd name="T64" fmla="*/ 0 w 465"/>
                <a:gd name="T65" fmla="*/ 0 h 737"/>
                <a:gd name="T66" fmla="*/ 0 w 465"/>
                <a:gd name="T67" fmla="*/ 0 h 737"/>
                <a:gd name="T68" fmla="*/ 0 w 465"/>
                <a:gd name="T69" fmla="*/ 0 h 737"/>
                <a:gd name="T70" fmla="*/ 0 w 465"/>
                <a:gd name="T71" fmla="*/ 0 h 737"/>
                <a:gd name="T72" fmla="*/ 0 w 465"/>
                <a:gd name="T73" fmla="*/ 0 h 737"/>
                <a:gd name="T74" fmla="*/ 0 w 465"/>
                <a:gd name="T75" fmla="*/ 0 h 737"/>
                <a:gd name="T76" fmla="*/ 0 w 465"/>
                <a:gd name="T77" fmla="*/ 0 h 737"/>
                <a:gd name="T78" fmla="*/ 0 w 465"/>
                <a:gd name="T79" fmla="*/ 0 h 737"/>
                <a:gd name="T80" fmla="*/ 0 w 465"/>
                <a:gd name="T81" fmla="*/ 0 h 737"/>
                <a:gd name="T82" fmla="*/ 0 w 465"/>
                <a:gd name="T83" fmla="*/ 0 h 737"/>
                <a:gd name="T84" fmla="*/ 0 w 465"/>
                <a:gd name="T85" fmla="*/ 0 h 737"/>
                <a:gd name="T86" fmla="*/ 0 w 465"/>
                <a:gd name="T87" fmla="*/ 0 h 737"/>
                <a:gd name="T88" fmla="*/ 0 w 465"/>
                <a:gd name="T89" fmla="*/ 0 h 737"/>
                <a:gd name="T90" fmla="*/ 0 w 465"/>
                <a:gd name="T91" fmla="*/ 0 h 737"/>
                <a:gd name="T92" fmla="*/ 0 w 465"/>
                <a:gd name="T93" fmla="*/ 0 h 737"/>
                <a:gd name="T94" fmla="*/ 0 w 465"/>
                <a:gd name="T95" fmla="*/ 0 h 737"/>
                <a:gd name="T96" fmla="*/ 0 w 465"/>
                <a:gd name="T97" fmla="*/ 0 h 737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65"/>
                <a:gd name="T148" fmla="*/ 0 h 737"/>
                <a:gd name="T149" fmla="*/ 465 w 465"/>
                <a:gd name="T150" fmla="*/ 737 h 737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65" h="737">
                  <a:moveTo>
                    <a:pt x="0" y="108"/>
                  </a:moveTo>
                  <a:cubicBezTo>
                    <a:pt x="0" y="106"/>
                    <a:pt x="2" y="104"/>
                    <a:pt x="3" y="102"/>
                  </a:cubicBezTo>
                  <a:cubicBezTo>
                    <a:pt x="5" y="101"/>
                    <a:pt x="8" y="100"/>
                    <a:pt x="10" y="101"/>
                  </a:cubicBezTo>
                  <a:lnTo>
                    <a:pt x="98" y="121"/>
                  </a:lnTo>
                  <a:lnTo>
                    <a:pt x="94" y="121"/>
                  </a:lnTo>
                  <a:lnTo>
                    <a:pt x="164" y="101"/>
                  </a:lnTo>
                  <a:lnTo>
                    <a:pt x="161" y="102"/>
                  </a:lnTo>
                  <a:lnTo>
                    <a:pt x="273" y="22"/>
                  </a:lnTo>
                  <a:lnTo>
                    <a:pt x="294" y="3"/>
                  </a:lnTo>
                  <a:cubicBezTo>
                    <a:pt x="296" y="0"/>
                    <a:pt x="299" y="0"/>
                    <a:pt x="302" y="1"/>
                  </a:cubicBezTo>
                  <a:lnTo>
                    <a:pt x="393" y="41"/>
                  </a:lnTo>
                  <a:cubicBezTo>
                    <a:pt x="396" y="42"/>
                    <a:pt x="398" y="45"/>
                    <a:pt x="398" y="48"/>
                  </a:cubicBezTo>
                  <a:lnTo>
                    <a:pt x="398" y="88"/>
                  </a:lnTo>
                  <a:lnTo>
                    <a:pt x="397" y="85"/>
                  </a:lnTo>
                  <a:lnTo>
                    <a:pt x="464" y="245"/>
                  </a:lnTo>
                  <a:cubicBezTo>
                    <a:pt x="465" y="248"/>
                    <a:pt x="465" y="251"/>
                    <a:pt x="463" y="253"/>
                  </a:cubicBezTo>
                  <a:lnTo>
                    <a:pt x="418" y="313"/>
                  </a:lnTo>
                  <a:lnTo>
                    <a:pt x="418" y="305"/>
                  </a:lnTo>
                  <a:lnTo>
                    <a:pt x="463" y="385"/>
                  </a:lnTo>
                  <a:cubicBezTo>
                    <a:pt x="464" y="386"/>
                    <a:pt x="465" y="388"/>
                    <a:pt x="464" y="390"/>
                  </a:cubicBezTo>
                  <a:lnTo>
                    <a:pt x="398" y="650"/>
                  </a:lnTo>
                  <a:cubicBezTo>
                    <a:pt x="397" y="653"/>
                    <a:pt x="396" y="654"/>
                    <a:pt x="394" y="655"/>
                  </a:cubicBezTo>
                  <a:cubicBezTo>
                    <a:pt x="392" y="656"/>
                    <a:pt x="390" y="657"/>
                    <a:pt x="388" y="656"/>
                  </a:cubicBezTo>
                  <a:lnTo>
                    <a:pt x="318" y="636"/>
                  </a:lnTo>
                  <a:lnTo>
                    <a:pt x="320" y="636"/>
                  </a:lnTo>
                  <a:lnTo>
                    <a:pt x="254" y="636"/>
                  </a:lnTo>
                  <a:lnTo>
                    <a:pt x="261" y="632"/>
                  </a:lnTo>
                  <a:lnTo>
                    <a:pt x="240" y="672"/>
                  </a:lnTo>
                  <a:cubicBezTo>
                    <a:pt x="239" y="673"/>
                    <a:pt x="238" y="674"/>
                    <a:pt x="238" y="674"/>
                  </a:cubicBezTo>
                  <a:lnTo>
                    <a:pt x="192" y="714"/>
                  </a:lnTo>
                  <a:cubicBezTo>
                    <a:pt x="192" y="715"/>
                    <a:pt x="191" y="716"/>
                    <a:pt x="189" y="716"/>
                  </a:cubicBezTo>
                  <a:lnTo>
                    <a:pt x="123" y="736"/>
                  </a:lnTo>
                  <a:cubicBezTo>
                    <a:pt x="119" y="737"/>
                    <a:pt x="115" y="735"/>
                    <a:pt x="113" y="732"/>
                  </a:cubicBezTo>
                  <a:lnTo>
                    <a:pt x="68" y="632"/>
                  </a:lnTo>
                  <a:cubicBezTo>
                    <a:pt x="67" y="631"/>
                    <a:pt x="67" y="630"/>
                    <a:pt x="67" y="628"/>
                  </a:cubicBezTo>
                  <a:lnTo>
                    <a:pt x="67" y="508"/>
                  </a:lnTo>
                  <a:cubicBezTo>
                    <a:pt x="67" y="508"/>
                    <a:pt x="67" y="507"/>
                    <a:pt x="68" y="506"/>
                  </a:cubicBezTo>
                  <a:lnTo>
                    <a:pt x="89" y="446"/>
                  </a:lnTo>
                  <a:lnTo>
                    <a:pt x="89" y="452"/>
                  </a:lnTo>
                  <a:lnTo>
                    <a:pt x="68" y="412"/>
                  </a:lnTo>
                  <a:cubicBezTo>
                    <a:pt x="67" y="410"/>
                    <a:pt x="67" y="408"/>
                    <a:pt x="68" y="406"/>
                  </a:cubicBezTo>
                  <a:lnTo>
                    <a:pt x="89" y="346"/>
                  </a:lnTo>
                  <a:lnTo>
                    <a:pt x="88" y="348"/>
                  </a:lnTo>
                  <a:lnTo>
                    <a:pt x="88" y="288"/>
                  </a:lnTo>
                  <a:lnTo>
                    <a:pt x="89" y="291"/>
                  </a:lnTo>
                  <a:lnTo>
                    <a:pt x="67" y="211"/>
                  </a:lnTo>
                  <a:lnTo>
                    <a:pt x="73" y="216"/>
                  </a:lnTo>
                  <a:lnTo>
                    <a:pt x="6" y="196"/>
                  </a:lnTo>
                  <a:cubicBezTo>
                    <a:pt x="3" y="195"/>
                    <a:pt x="0" y="192"/>
                    <a:pt x="0" y="188"/>
                  </a:cubicBezTo>
                  <a:lnTo>
                    <a:pt x="0" y="108"/>
                  </a:lnTo>
                  <a:close/>
                  <a:moveTo>
                    <a:pt x="16" y="188"/>
                  </a:moveTo>
                  <a:lnTo>
                    <a:pt x="11" y="181"/>
                  </a:lnTo>
                  <a:lnTo>
                    <a:pt x="77" y="201"/>
                  </a:lnTo>
                  <a:cubicBezTo>
                    <a:pt x="80" y="202"/>
                    <a:pt x="82" y="204"/>
                    <a:pt x="83" y="206"/>
                  </a:cubicBezTo>
                  <a:lnTo>
                    <a:pt x="104" y="286"/>
                  </a:lnTo>
                  <a:cubicBezTo>
                    <a:pt x="104" y="287"/>
                    <a:pt x="104" y="288"/>
                    <a:pt x="104" y="288"/>
                  </a:cubicBezTo>
                  <a:lnTo>
                    <a:pt x="104" y="348"/>
                  </a:lnTo>
                  <a:cubicBezTo>
                    <a:pt x="104" y="349"/>
                    <a:pt x="104" y="350"/>
                    <a:pt x="104" y="351"/>
                  </a:cubicBezTo>
                  <a:lnTo>
                    <a:pt x="83" y="411"/>
                  </a:lnTo>
                  <a:lnTo>
                    <a:pt x="82" y="405"/>
                  </a:lnTo>
                  <a:lnTo>
                    <a:pt x="104" y="445"/>
                  </a:lnTo>
                  <a:cubicBezTo>
                    <a:pt x="105" y="447"/>
                    <a:pt x="105" y="449"/>
                    <a:pt x="104" y="451"/>
                  </a:cubicBezTo>
                  <a:lnTo>
                    <a:pt x="83" y="511"/>
                  </a:lnTo>
                  <a:lnTo>
                    <a:pt x="83" y="508"/>
                  </a:lnTo>
                  <a:lnTo>
                    <a:pt x="83" y="628"/>
                  </a:lnTo>
                  <a:lnTo>
                    <a:pt x="82" y="625"/>
                  </a:lnTo>
                  <a:lnTo>
                    <a:pt x="128" y="725"/>
                  </a:lnTo>
                  <a:lnTo>
                    <a:pt x="118" y="721"/>
                  </a:lnTo>
                  <a:lnTo>
                    <a:pt x="185" y="701"/>
                  </a:lnTo>
                  <a:lnTo>
                    <a:pt x="182" y="702"/>
                  </a:lnTo>
                  <a:lnTo>
                    <a:pt x="227" y="662"/>
                  </a:lnTo>
                  <a:lnTo>
                    <a:pt x="225" y="665"/>
                  </a:lnTo>
                  <a:lnTo>
                    <a:pt x="247" y="625"/>
                  </a:lnTo>
                  <a:cubicBezTo>
                    <a:pt x="248" y="622"/>
                    <a:pt x="251" y="620"/>
                    <a:pt x="254" y="620"/>
                  </a:cubicBezTo>
                  <a:lnTo>
                    <a:pt x="320" y="620"/>
                  </a:lnTo>
                  <a:cubicBezTo>
                    <a:pt x="321" y="620"/>
                    <a:pt x="322" y="621"/>
                    <a:pt x="323" y="621"/>
                  </a:cubicBezTo>
                  <a:lnTo>
                    <a:pt x="392" y="641"/>
                  </a:lnTo>
                  <a:lnTo>
                    <a:pt x="382" y="646"/>
                  </a:lnTo>
                  <a:lnTo>
                    <a:pt x="449" y="386"/>
                  </a:lnTo>
                  <a:lnTo>
                    <a:pt x="449" y="392"/>
                  </a:lnTo>
                  <a:lnTo>
                    <a:pt x="404" y="312"/>
                  </a:lnTo>
                  <a:cubicBezTo>
                    <a:pt x="403" y="310"/>
                    <a:pt x="403" y="306"/>
                    <a:pt x="405" y="304"/>
                  </a:cubicBezTo>
                  <a:lnTo>
                    <a:pt x="450" y="244"/>
                  </a:lnTo>
                  <a:lnTo>
                    <a:pt x="449" y="252"/>
                  </a:lnTo>
                  <a:lnTo>
                    <a:pt x="382" y="92"/>
                  </a:lnTo>
                  <a:cubicBezTo>
                    <a:pt x="382" y="91"/>
                    <a:pt x="382" y="90"/>
                    <a:pt x="382" y="88"/>
                  </a:cubicBezTo>
                  <a:lnTo>
                    <a:pt x="382" y="48"/>
                  </a:lnTo>
                  <a:lnTo>
                    <a:pt x="387" y="56"/>
                  </a:lnTo>
                  <a:lnTo>
                    <a:pt x="296" y="16"/>
                  </a:lnTo>
                  <a:lnTo>
                    <a:pt x="305" y="14"/>
                  </a:lnTo>
                  <a:lnTo>
                    <a:pt x="282" y="35"/>
                  </a:lnTo>
                  <a:lnTo>
                    <a:pt x="170" y="115"/>
                  </a:lnTo>
                  <a:cubicBezTo>
                    <a:pt x="170" y="116"/>
                    <a:pt x="169" y="116"/>
                    <a:pt x="168" y="116"/>
                  </a:cubicBezTo>
                  <a:lnTo>
                    <a:pt x="99" y="136"/>
                  </a:lnTo>
                  <a:cubicBezTo>
                    <a:pt x="97" y="137"/>
                    <a:pt x="96" y="137"/>
                    <a:pt x="95" y="136"/>
                  </a:cubicBezTo>
                  <a:lnTo>
                    <a:pt x="7" y="116"/>
                  </a:lnTo>
                  <a:lnTo>
                    <a:pt x="16" y="108"/>
                  </a:lnTo>
                  <a:lnTo>
                    <a:pt x="16" y="188"/>
                  </a:lnTo>
                  <a:close/>
                </a:path>
              </a:pathLst>
            </a:custGeom>
            <a:solidFill>
              <a:srgbClr val="000000"/>
            </a:solidFill>
            <a:ln w="0" cap="flat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240" name="Freeform 207"/>
            <p:cNvSpPr>
              <a:spLocks/>
            </p:cNvSpPr>
            <p:nvPr/>
          </p:nvSpPr>
          <p:spPr bwMode="auto">
            <a:xfrm>
              <a:off x="3422" y="2424"/>
              <a:ext cx="773" cy="652"/>
            </a:xfrm>
            <a:custGeom>
              <a:avLst/>
              <a:gdLst>
                <a:gd name="T0" fmla="*/ 1297 w 734"/>
                <a:gd name="T1" fmla="*/ 751 h 621"/>
                <a:gd name="T2" fmla="*/ 1163 w 734"/>
                <a:gd name="T3" fmla="*/ 691 h 621"/>
                <a:gd name="T4" fmla="*/ 1082 w 734"/>
                <a:gd name="T5" fmla="*/ 639 h 621"/>
                <a:gd name="T6" fmla="*/ 1046 w 734"/>
                <a:gd name="T7" fmla="*/ 603 h 621"/>
                <a:gd name="T8" fmla="*/ 946 w 734"/>
                <a:gd name="T9" fmla="*/ 612 h 621"/>
                <a:gd name="T10" fmla="*/ 850 w 734"/>
                <a:gd name="T11" fmla="*/ 543 h 621"/>
                <a:gd name="T12" fmla="*/ 791 w 734"/>
                <a:gd name="T13" fmla="*/ 461 h 621"/>
                <a:gd name="T14" fmla="*/ 642 w 734"/>
                <a:gd name="T15" fmla="*/ 355 h 621"/>
                <a:gd name="T16" fmla="*/ 602 w 734"/>
                <a:gd name="T17" fmla="*/ 288 h 621"/>
                <a:gd name="T18" fmla="*/ 633 w 734"/>
                <a:gd name="T19" fmla="*/ 248 h 621"/>
                <a:gd name="T20" fmla="*/ 614 w 734"/>
                <a:gd name="T21" fmla="*/ 222 h 621"/>
                <a:gd name="T22" fmla="*/ 642 w 734"/>
                <a:gd name="T23" fmla="*/ 190 h 621"/>
                <a:gd name="T24" fmla="*/ 750 w 734"/>
                <a:gd name="T25" fmla="*/ 146 h 621"/>
                <a:gd name="T26" fmla="*/ 750 w 734"/>
                <a:gd name="T27" fmla="*/ 58 h 621"/>
                <a:gd name="T28" fmla="*/ 594 w 734"/>
                <a:gd name="T29" fmla="*/ 0 h 621"/>
                <a:gd name="T30" fmla="*/ 467 w 734"/>
                <a:gd name="T31" fmla="*/ 39 h 621"/>
                <a:gd name="T32" fmla="*/ 411 w 734"/>
                <a:gd name="T33" fmla="*/ 66 h 621"/>
                <a:gd name="T34" fmla="*/ 341 w 734"/>
                <a:gd name="T35" fmla="*/ 81 h 621"/>
                <a:gd name="T36" fmla="*/ 264 w 734"/>
                <a:gd name="T37" fmla="*/ 156 h 621"/>
                <a:gd name="T38" fmla="*/ 137 w 734"/>
                <a:gd name="T39" fmla="*/ 139 h 621"/>
                <a:gd name="T40" fmla="*/ 47 w 734"/>
                <a:gd name="T41" fmla="*/ 214 h 621"/>
                <a:gd name="T42" fmla="*/ 27 w 734"/>
                <a:gd name="T43" fmla="*/ 279 h 621"/>
                <a:gd name="T44" fmla="*/ 107 w 734"/>
                <a:gd name="T45" fmla="*/ 363 h 621"/>
                <a:gd name="T46" fmla="*/ 107 w 734"/>
                <a:gd name="T47" fmla="*/ 403 h 621"/>
                <a:gd name="T48" fmla="*/ 184 w 734"/>
                <a:gd name="T49" fmla="*/ 355 h 621"/>
                <a:gd name="T50" fmla="*/ 234 w 734"/>
                <a:gd name="T51" fmla="*/ 331 h 621"/>
                <a:gd name="T52" fmla="*/ 303 w 734"/>
                <a:gd name="T53" fmla="*/ 363 h 621"/>
                <a:gd name="T54" fmla="*/ 360 w 734"/>
                <a:gd name="T55" fmla="*/ 379 h 621"/>
                <a:gd name="T56" fmla="*/ 390 w 734"/>
                <a:gd name="T57" fmla="*/ 438 h 621"/>
                <a:gd name="T58" fmla="*/ 432 w 734"/>
                <a:gd name="T59" fmla="*/ 510 h 621"/>
                <a:gd name="T60" fmla="*/ 496 w 734"/>
                <a:gd name="T61" fmla="*/ 567 h 621"/>
                <a:gd name="T62" fmla="*/ 572 w 734"/>
                <a:gd name="T63" fmla="*/ 612 h 621"/>
                <a:gd name="T64" fmla="*/ 701 w 734"/>
                <a:gd name="T65" fmla="*/ 704 h 621"/>
                <a:gd name="T66" fmla="*/ 750 w 734"/>
                <a:gd name="T67" fmla="*/ 710 h 621"/>
                <a:gd name="T68" fmla="*/ 857 w 734"/>
                <a:gd name="T69" fmla="*/ 769 h 621"/>
                <a:gd name="T70" fmla="*/ 898 w 734"/>
                <a:gd name="T71" fmla="*/ 778 h 621"/>
                <a:gd name="T72" fmla="*/ 937 w 734"/>
                <a:gd name="T73" fmla="*/ 794 h 621"/>
                <a:gd name="T74" fmla="*/ 985 w 734"/>
                <a:gd name="T75" fmla="*/ 851 h 621"/>
                <a:gd name="T76" fmla="*/ 1074 w 734"/>
                <a:gd name="T77" fmla="*/ 883 h 621"/>
                <a:gd name="T78" fmla="*/ 1131 w 734"/>
                <a:gd name="T79" fmla="*/ 1016 h 621"/>
                <a:gd name="T80" fmla="*/ 1082 w 734"/>
                <a:gd name="T81" fmla="*/ 1031 h 621"/>
                <a:gd name="T82" fmla="*/ 1074 w 734"/>
                <a:gd name="T83" fmla="*/ 1073 h 621"/>
                <a:gd name="T84" fmla="*/ 1082 w 734"/>
                <a:gd name="T85" fmla="*/ 1106 h 621"/>
                <a:gd name="T86" fmla="*/ 1131 w 734"/>
                <a:gd name="T87" fmla="*/ 1106 h 621"/>
                <a:gd name="T88" fmla="*/ 1170 w 734"/>
                <a:gd name="T89" fmla="*/ 1031 h 621"/>
                <a:gd name="T90" fmla="*/ 1235 w 734"/>
                <a:gd name="T91" fmla="*/ 981 h 621"/>
                <a:gd name="T92" fmla="*/ 1223 w 734"/>
                <a:gd name="T93" fmla="*/ 920 h 621"/>
                <a:gd name="T94" fmla="*/ 1163 w 734"/>
                <a:gd name="T95" fmla="*/ 891 h 621"/>
                <a:gd name="T96" fmla="*/ 1170 w 734"/>
                <a:gd name="T97" fmla="*/ 825 h 621"/>
                <a:gd name="T98" fmla="*/ 1209 w 734"/>
                <a:gd name="T99" fmla="*/ 794 h 621"/>
                <a:gd name="T100" fmla="*/ 1327 w 734"/>
                <a:gd name="T101" fmla="*/ 817 h 621"/>
                <a:gd name="T102" fmla="*/ 1366 w 734"/>
                <a:gd name="T103" fmla="*/ 811 h 621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734"/>
                <a:gd name="T157" fmla="*/ 0 h 621"/>
                <a:gd name="T158" fmla="*/ 734 w 734"/>
                <a:gd name="T159" fmla="*/ 621 h 621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734" h="621">
                  <a:moveTo>
                    <a:pt x="718" y="433"/>
                  </a:moveTo>
                  <a:lnTo>
                    <a:pt x="697" y="419"/>
                  </a:lnTo>
                  <a:lnTo>
                    <a:pt x="676" y="409"/>
                  </a:lnTo>
                  <a:lnTo>
                    <a:pt x="624" y="386"/>
                  </a:lnTo>
                  <a:lnTo>
                    <a:pt x="572" y="363"/>
                  </a:lnTo>
                  <a:lnTo>
                    <a:pt x="581" y="354"/>
                  </a:lnTo>
                  <a:lnTo>
                    <a:pt x="577" y="345"/>
                  </a:lnTo>
                  <a:lnTo>
                    <a:pt x="561" y="336"/>
                  </a:lnTo>
                  <a:lnTo>
                    <a:pt x="540" y="340"/>
                  </a:lnTo>
                  <a:lnTo>
                    <a:pt x="508" y="340"/>
                  </a:lnTo>
                  <a:lnTo>
                    <a:pt x="482" y="326"/>
                  </a:lnTo>
                  <a:lnTo>
                    <a:pt x="456" y="303"/>
                  </a:lnTo>
                  <a:lnTo>
                    <a:pt x="440" y="281"/>
                  </a:lnTo>
                  <a:lnTo>
                    <a:pt x="425" y="257"/>
                  </a:lnTo>
                  <a:lnTo>
                    <a:pt x="398" y="234"/>
                  </a:lnTo>
                  <a:lnTo>
                    <a:pt x="346" y="198"/>
                  </a:lnTo>
                  <a:lnTo>
                    <a:pt x="325" y="170"/>
                  </a:lnTo>
                  <a:lnTo>
                    <a:pt x="325" y="161"/>
                  </a:lnTo>
                  <a:lnTo>
                    <a:pt x="335" y="147"/>
                  </a:lnTo>
                  <a:lnTo>
                    <a:pt x="341" y="138"/>
                  </a:lnTo>
                  <a:lnTo>
                    <a:pt x="335" y="129"/>
                  </a:lnTo>
                  <a:lnTo>
                    <a:pt x="330" y="124"/>
                  </a:lnTo>
                  <a:lnTo>
                    <a:pt x="330" y="115"/>
                  </a:lnTo>
                  <a:lnTo>
                    <a:pt x="346" y="106"/>
                  </a:lnTo>
                  <a:lnTo>
                    <a:pt x="398" y="87"/>
                  </a:lnTo>
                  <a:lnTo>
                    <a:pt x="403" y="82"/>
                  </a:lnTo>
                  <a:lnTo>
                    <a:pt x="398" y="50"/>
                  </a:lnTo>
                  <a:lnTo>
                    <a:pt x="403" y="32"/>
                  </a:lnTo>
                  <a:lnTo>
                    <a:pt x="330" y="13"/>
                  </a:lnTo>
                  <a:lnTo>
                    <a:pt x="319" y="0"/>
                  </a:lnTo>
                  <a:lnTo>
                    <a:pt x="272" y="4"/>
                  </a:lnTo>
                  <a:lnTo>
                    <a:pt x="252" y="23"/>
                  </a:lnTo>
                  <a:lnTo>
                    <a:pt x="231" y="18"/>
                  </a:lnTo>
                  <a:lnTo>
                    <a:pt x="220" y="37"/>
                  </a:lnTo>
                  <a:lnTo>
                    <a:pt x="199" y="37"/>
                  </a:lnTo>
                  <a:lnTo>
                    <a:pt x="183" y="46"/>
                  </a:lnTo>
                  <a:lnTo>
                    <a:pt x="157" y="41"/>
                  </a:lnTo>
                  <a:lnTo>
                    <a:pt x="142" y="87"/>
                  </a:lnTo>
                  <a:lnTo>
                    <a:pt x="99" y="41"/>
                  </a:lnTo>
                  <a:lnTo>
                    <a:pt x="73" y="78"/>
                  </a:lnTo>
                  <a:lnTo>
                    <a:pt x="15" y="82"/>
                  </a:lnTo>
                  <a:lnTo>
                    <a:pt x="26" y="119"/>
                  </a:lnTo>
                  <a:lnTo>
                    <a:pt x="0" y="133"/>
                  </a:lnTo>
                  <a:lnTo>
                    <a:pt x="15" y="156"/>
                  </a:lnTo>
                  <a:lnTo>
                    <a:pt x="10" y="184"/>
                  </a:lnTo>
                  <a:lnTo>
                    <a:pt x="58" y="202"/>
                  </a:lnTo>
                  <a:lnTo>
                    <a:pt x="47" y="225"/>
                  </a:lnTo>
                  <a:lnTo>
                    <a:pt x="58" y="225"/>
                  </a:lnTo>
                  <a:lnTo>
                    <a:pt x="84" y="216"/>
                  </a:lnTo>
                  <a:lnTo>
                    <a:pt x="99" y="198"/>
                  </a:lnTo>
                  <a:lnTo>
                    <a:pt x="110" y="188"/>
                  </a:lnTo>
                  <a:lnTo>
                    <a:pt x="125" y="184"/>
                  </a:lnTo>
                  <a:lnTo>
                    <a:pt x="152" y="193"/>
                  </a:lnTo>
                  <a:lnTo>
                    <a:pt x="162" y="202"/>
                  </a:lnTo>
                  <a:lnTo>
                    <a:pt x="173" y="211"/>
                  </a:lnTo>
                  <a:lnTo>
                    <a:pt x="194" y="211"/>
                  </a:lnTo>
                  <a:lnTo>
                    <a:pt x="204" y="221"/>
                  </a:lnTo>
                  <a:lnTo>
                    <a:pt x="209" y="244"/>
                  </a:lnTo>
                  <a:lnTo>
                    <a:pt x="225" y="271"/>
                  </a:lnTo>
                  <a:lnTo>
                    <a:pt x="231" y="285"/>
                  </a:lnTo>
                  <a:lnTo>
                    <a:pt x="246" y="294"/>
                  </a:lnTo>
                  <a:lnTo>
                    <a:pt x="267" y="317"/>
                  </a:lnTo>
                  <a:lnTo>
                    <a:pt x="293" y="331"/>
                  </a:lnTo>
                  <a:lnTo>
                    <a:pt x="309" y="340"/>
                  </a:lnTo>
                  <a:lnTo>
                    <a:pt x="319" y="350"/>
                  </a:lnTo>
                  <a:lnTo>
                    <a:pt x="377" y="391"/>
                  </a:lnTo>
                  <a:lnTo>
                    <a:pt x="388" y="400"/>
                  </a:lnTo>
                  <a:lnTo>
                    <a:pt x="403" y="395"/>
                  </a:lnTo>
                  <a:lnTo>
                    <a:pt x="440" y="409"/>
                  </a:lnTo>
                  <a:lnTo>
                    <a:pt x="461" y="428"/>
                  </a:lnTo>
                  <a:lnTo>
                    <a:pt x="477" y="428"/>
                  </a:lnTo>
                  <a:lnTo>
                    <a:pt x="482" y="433"/>
                  </a:lnTo>
                  <a:lnTo>
                    <a:pt x="482" y="442"/>
                  </a:lnTo>
                  <a:lnTo>
                    <a:pt x="503" y="442"/>
                  </a:lnTo>
                  <a:lnTo>
                    <a:pt x="514" y="460"/>
                  </a:lnTo>
                  <a:lnTo>
                    <a:pt x="529" y="474"/>
                  </a:lnTo>
                  <a:lnTo>
                    <a:pt x="555" y="483"/>
                  </a:lnTo>
                  <a:lnTo>
                    <a:pt x="577" y="492"/>
                  </a:lnTo>
                  <a:lnTo>
                    <a:pt x="587" y="520"/>
                  </a:lnTo>
                  <a:lnTo>
                    <a:pt x="608" y="566"/>
                  </a:lnTo>
                  <a:lnTo>
                    <a:pt x="592" y="566"/>
                  </a:lnTo>
                  <a:lnTo>
                    <a:pt x="581" y="575"/>
                  </a:lnTo>
                  <a:lnTo>
                    <a:pt x="581" y="584"/>
                  </a:lnTo>
                  <a:lnTo>
                    <a:pt x="577" y="598"/>
                  </a:lnTo>
                  <a:lnTo>
                    <a:pt x="572" y="607"/>
                  </a:lnTo>
                  <a:lnTo>
                    <a:pt x="581" y="617"/>
                  </a:lnTo>
                  <a:lnTo>
                    <a:pt x="592" y="621"/>
                  </a:lnTo>
                  <a:lnTo>
                    <a:pt x="608" y="617"/>
                  </a:lnTo>
                  <a:lnTo>
                    <a:pt x="618" y="598"/>
                  </a:lnTo>
                  <a:lnTo>
                    <a:pt x="629" y="575"/>
                  </a:lnTo>
                  <a:lnTo>
                    <a:pt x="639" y="552"/>
                  </a:lnTo>
                  <a:lnTo>
                    <a:pt x="665" y="547"/>
                  </a:lnTo>
                  <a:lnTo>
                    <a:pt x="665" y="520"/>
                  </a:lnTo>
                  <a:lnTo>
                    <a:pt x="655" y="511"/>
                  </a:lnTo>
                  <a:lnTo>
                    <a:pt x="639" y="506"/>
                  </a:lnTo>
                  <a:lnTo>
                    <a:pt x="624" y="497"/>
                  </a:lnTo>
                  <a:lnTo>
                    <a:pt x="618" y="488"/>
                  </a:lnTo>
                  <a:lnTo>
                    <a:pt x="629" y="460"/>
                  </a:lnTo>
                  <a:lnTo>
                    <a:pt x="639" y="446"/>
                  </a:lnTo>
                  <a:lnTo>
                    <a:pt x="650" y="442"/>
                  </a:lnTo>
                  <a:lnTo>
                    <a:pt x="686" y="446"/>
                  </a:lnTo>
                  <a:lnTo>
                    <a:pt x="713" y="455"/>
                  </a:lnTo>
                  <a:lnTo>
                    <a:pt x="734" y="474"/>
                  </a:lnTo>
                  <a:lnTo>
                    <a:pt x="734" y="451"/>
                  </a:lnTo>
                  <a:lnTo>
                    <a:pt x="718" y="433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cs-CZ"/>
            </a:p>
          </p:txBody>
        </p:sp>
        <p:sp>
          <p:nvSpPr>
            <p:cNvPr id="7241" name="Freeform 208"/>
            <p:cNvSpPr>
              <a:spLocks noEditPoints="1"/>
            </p:cNvSpPr>
            <p:nvPr/>
          </p:nvSpPr>
          <p:spPr bwMode="auto">
            <a:xfrm>
              <a:off x="3420" y="2422"/>
              <a:ext cx="777" cy="656"/>
            </a:xfrm>
            <a:custGeom>
              <a:avLst/>
              <a:gdLst>
                <a:gd name="T0" fmla="*/ 0 w 3248"/>
                <a:gd name="T1" fmla="*/ 0 h 2753"/>
                <a:gd name="T2" fmla="*/ 0 w 3248"/>
                <a:gd name="T3" fmla="*/ 0 h 2753"/>
                <a:gd name="T4" fmla="*/ 0 w 3248"/>
                <a:gd name="T5" fmla="*/ 0 h 2753"/>
                <a:gd name="T6" fmla="*/ 0 w 3248"/>
                <a:gd name="T7" fmla="*/ 0 h 2753"/>
                <a:gd name="T8" fmla="*/ 0 w 3248"/>
                <a:gd name="T9" fmla="*/ 0 h 2753"/>
                <a:gd name="T10" fmla="*/ 0 w 3248"/>
                <a:gd name="T11" fmla="*/ 0 h 2753"/>
                <a:gd name="T12" fmla="*/ 0 w 3248"/>
                <a:gd name="T13" fmla="*/ 0 h 2753"/>
                <a:gd name="T14" fmla="*/ 0 w 3248"/>
                <a:gd name="T15" fmla="*/ 0 h 2753"/>
                <a:gd name="T16" fmla="*/ 0 w 3248"/>
                <a:gd name="T17" fmla="*/ 0 h 2753"/>
                <a:gd name="T18" fmla="*/ 0 w 3248"/>
                <a:gd name="T19" fmla="*/ 0 h 2753"/>
                <a:gd name="T20" fmla="*/ 0 w 3248"/>
                <a:gd name="T21" fmla="*/ 0 h 2753"/>
                <a:gd name="T22" fmla="*/ 0 w 3248"/>
                <a:gd name="T23" fmla="*/ 0 h 2753"/>
                <a:gd name="T24" fmla="*/ 0 w 3248"/>
                <a:gd name="T25" fmla="*/ 0 h 2753"/>
                <a:gd name="T26" fmla="*/ 0 w 3248"/>
                <a:gd name="T27" fmla="*/ 0 h 2753"/>
                <a:gd name="T28" fmla="*/ 0 w 3248"/>
                <a:gd name="T29" fmla="*/ 0 h 2753"/>
                <a:gd name="T30" fmla="*/ 0 w 3248"/>
                <a:gd name="T31" fmla="*/ 0 h 2753"/>
                <a:gd name="T32" fmla="*/ 0 w 3248"/>
                <a:gd name="T33" fmla="*/ 0 h 2753"/>
                <a:gd name="T34" fmla="*/ 0 w 3248"/>
                <a:gd name="T35" fmla="*/ 0 h 2753"/>
                <a:gd name="T36" fmla="*/ 0 w 3248"/>
                <a:gd name="T37" fmla="*/ 0 h 2753"/>
                <a:gd name="T38" fmla="*/ 0 w 3248"/>
                <a:gd name="T39" fmla="*/ 0 h 2753"/>
                <a:gd name="T40" fmla="*/ 0 w 3248"/>
                <a:gd name="T41" fmla="*/ 0 h 2753"/>
                <a:gd name="T42" fmla="*/ 0 w 3248"/>
                <a:gd name="T43" fmla="*/ 0 h 2753"/>
                <a:gd name="T44" fmla="*/ 0 w 3248"/>
                <a:gd name="T45" fmla="*/ 0 h 2753"/>
                <a:gd name="T46" fmla="*/ 0 w 3248"/>
                <a:gd name="T47" fmla="*/ 0 h 2753"/>
                <a:gd name="T48" fmla="*/ 0 w 3248"/>
                <a:gd name="T49" fmla="*/ 0 h 2753"/>
                <a:gd name="T50" fmla="*/ 0 w 3248"/>
                <a:gd name="T51" fmla="*/ 0 h 2753"/>
                <a:gd name="T52" fmla="*/ 0 w 3248"/>
                <a:gd name="T53" fmla="*/ 0 h 2753"/>
                <a:gd name="T54" fmla="*/ 0 w 3248"/>
                <a:gd name="T55" fmla="*/ 0 h 2753"/>
                <a:gd name="T56" fmla="*/ 0 w 3248"/>
                <a:gd name="T57" fmla="*/ 0 h 2753"/>
                <a:gd name="T58" fmla="*/ 0 w 3248"/>
                <a:gd name="T59" fmla="*/ 0 h 2753"/>
                <a:gd name="T60" fmla="*/ 0 w 3248"/>
                <a:gd name="T61" fmla="*/ 0 h 2753"/>
                <a:gd name="T62" fmla="*/ 0 w 3248"/>
                <a:gd name="T63" fmla="*/ 0 h 2753"/>
                <a:gd name="T64" fmla="*/ 0 w 3248"/>
                <a:gd name="T65" fmla="*/ 0 h 2753"/>
                <a:gd name="T66" fmla="*/ 0 w 3248"/>
                <a:gd name="T67" fmla="*/ 0 h 2753"/>
                <a:gd name="T68" fmla="*/ 0 w 3248"/>
                <a:gd name="T69" fmla="*/ 0 h 2753"/>
                <a:gd name="T70" fmla="*/ 0 w 3248"/>
                <a:gd name="T71" fmla="*/ 0 h 2753"/>
                <a:gd name="T72" fmla="*/ 0 w 3248"/>
                <a:gd name="T73" fmla="*/ 0 h 2753"/>
                <a:gd name="T74" fmla="*/ 0 w 3248"/>
                <a:gd name="T75" fmla="*/ 0 h 2753"/>
                <a:gd name="T76" fmla="*/ 0 w 3248"/>
                <a:gd name="T77" fmla="*/ 0 h 2753"/>
                <a:gd name="T78" fmla="*/ 0 w 3248"/>
                <a:gd name="T79" fmla="*/ 0 h 2753"/>
                <a:gd name="T80" fmla="*/ 0 w 3248"/>
                <a:gd name="T81" fmla="*/ 0 h 2753"/>
                <a:gd name="T82" fmla="*/ 0 w 3248"/>
                <a:gd name="T83" fmla="*/ 0 h 2753"/>
                <a:gd name="T84" fmla="*/ 0 w 3248"/>
                <a:gd name="T85" fmla="*/ 0 h 2753"/>
                <a:gd name="T86" fmla="*/ 0 w 3248"/>
                <a:gd name="T87" fmla="*/ 0 h 2753"/>
                <a:gd name="T88" fmla="*/ 0 w 3248"/>
                <a:gd name="T89" fmla="*/ 0 h 2753"/>
                <a:gd name="T90" fmla="*/ 0 w 3248"/>
                <a:gd name="T91" fmla="*/ 0 h 2753"/>
                <a:gd name="T92" fmla="*/ 0 w 3248"/>
                <a:gd name="T93" fmla="*/ 0 h 2753"/>
                <a:gd name="T94" fmla="*/ 0 w 3248"/>
                <a:gd name="T95" fmla="*/ 0 h 2753"/>
                <a:gd name="T96" fmla="*/ 0 w 3248"/>
                <a:gd name="T97" fmla="*/ 0 h 2753"/>
                <a:gd name="T98" fmla="*/ 0 w 3248"/>
                <a:gd name="T99" fmla="*/ 0 h 2753"/>
                <a:gd name="T100" fmla="*/ 0 w 3248"/>
                <a:gd name="T101" fmla="*/ 0 h 2753"/>
                <a:gd name="T102" fmla="*/ 0 w 3248"/>
                <a:gd name="T103" fmla="*/ 0 h 2753"/>
                <a:gd name="T104" fmla="*/ 0 w 3248"/>
                <a:gd name="T105" fmla="*/ 0 h 2753"/>
                <a:gd name="T106" fmla="*/ 0 w 3248"/>
                <a:gd name="T107" fmla="*/ 0 h 2753"/>
                <a:gd name="T108" fmla="*/ 0 w 3248"/>
                <a:gd name="T109" fmla="*/ 0 h 2753"/>
                <a:gd name="T110" fmla="*/ 0 w 3248"/>
                <a:gd name="T111" fmla="*/ 0 h 2753"/>
                <a:gd name="T112" fmla="*/ 0 w 3248"/>
                <a:gd name="T113" fmla="*/ 0 h 2753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3248"/>
                <a:gd name="T172" fmla="*/ 0 h 2753"/>
                <a:gd name="T173" fmla="*/ 3248 w 3248"/>
                <a:gd name="T174" fmla="*/ 2753 h 2753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3248" h="2753">
                  <a:moveTo>
                    <a:pt x="3166" y="1919"/>
                  </a:moveTo>
                  <a:lnTo>
                    <a:pt x="3168" y="1920"/>
                  </a:lnTo>
                  <a:lnTo>
                    <a:pt x="3074" y="1859"/>
                  </a:lnTo>
                  <a:lnTo>
                    <a:pt x="3076" y="1860"/>
                  </a:lnTo>
                  <a:lnTo>
                    <a:pt x="2983" y="1820"/>
                  </a:lnTo>
                  <a:lnTo>
                    <a:pt x="2752" y="1718"/>
                  </a:lnTo>
                  <a:lnTo>
                    <a:pt x="2522" y="1617"/>
                  </a:lnTo>
                  <a:cubicBezTo>
                    <a:pt x="2520" y="1616"/>
                    <a:pt x="2518" y="1614"/>
                    <a:pt x="2518" y="1611"/>
                  </a:cubicBezTo>
                  <a:cubicBezTo>
                    <a:pt x="2517" y="1608"/>
                    <a:pt x="2518" y="1605"/>
                    <a:pt x="2520" y="1604"/>
                  </a:cubicBezTo>
                  <a:lnTo>
                    <a:pt x="2564" y="1563"/>
                  </a:lnTo>
                  <a:lnTo>
                    <a:pt x="2562" y="1573"/>
                  </a:lnTo>
                  <a:lnTo>
                    <a:pt x="2540" y="1532"/>
                  </a:lnTo>
                  <a:lnTo>
                    <a:pt x="2543" y="1535"/>
                  </a:lnTo>
                  <a:lnTo>
                    <a:pt x="2475" y="1495"/>
                  </a:lnTo>
                  <a:lnTo>
                    <a:pt x="2481" y="1496"/>
                  </a:lnTo>
                  <a:lnTo>
                    <a:pt x="2388" y="1516"/>
                  </a:lnTo>
                  <a:cubicBezTo>
                    <a:pt x="2387" y="1516"/>
                    <a:pt x="2386" y="1516"/>
                    <a:pt x="2386" y="1516"/>
                  </a:cubicBezTo>
                  <a:lnTo>
                    <a:pt x="2246" y="1516"/>
                  </a:lnTo>
                  <a:cubicBezTo>
                    <a:pt x="2245" y="1516"/>
                    <a:pt x="2244" y="1516"/>
                    <a:pt x="2242" y="1515"/>
                  </a:cubicBezTo>
                  <a:lnTo>
                    <a:pt x="2127" y="1454"/>
                  </a:lnTo>
                  <a:cubicBezTo>
                    <a:pt x="2127" y="1454"/>
                    <a:pt x="2126" y="1454"/>
                    <a:pt x="2126" y="1453"/>
                  </a:cubicBezTo>
                  <a:lnTo>
                    <a:pt x="2011" y="1352"/>
                  </a:lnTo>
                  <a:cubicBezTo>
                    <a:pt x="2010" y="1352"/>
                    <a:pt x="2010" y="1351"/>
                    <a:pt x="2010" y="1351"/>
                  </a:cubicBezTo>
                  <a:lnTo>
                    <a:pt x="1941" y="1249"/>
                  </a:lnTo>
                  <a:lnTo>
                    <a:pt x="1873" y="1148"/>
                  </a:lnTo>
                  <a:lnTo>
                    <a:pt x="1874" y="1149"/>
                  </a:lnTo>
                  <a:lnTo>
                    <a:pt x="1759" y="1048"/>
                  </a:lnTo>
                  <a:lnTo>
                    <a:pt x="1527" y="887"/>
                  </a:lnTo>
                  <a:cubicBezTo>
                    <a:pt x="1526" y="886"/>
                    <a:pt x="1525" y="885"/>
                    <a:pt x="1525" y="885"/>
                  </a:cubicBezTo>
                  <a:lnTo>
                    <a:pt x="1435" y="763"/>
                  </a:lnTo>
                  <a:cubicBezTo>
                    <a:pt x="1433" y="762"/>
                    <a:pt x="1433" y="760"/>
                    <a:pt x="1433" y="758"/>
                  </a:cubicBezTo>
                  <a:lnTo>
                    <a:pt x="1433" y="718"/>
                  </a:lnTo>
                  <a:cubicBezTo>
                    <a:pt x="1433" y="716"/>
                    <a:pt x="1433" y="714"/>
                    <a:pt x="1434" y="713"/>
                  </a:cubicBezTo>
                  <a:lnTo>
                    <a:pt x="1478" y="652"/>
                  </a:lnTo>
                  <a:lnTo>
                    <a:pt x="1503" y="612"/>
                  </a:lnTo>
                  <a:lnTo>
                    <a:pt x="1503" y="621"/>
                  </a:lnTo>
                  <a:lnTo>
                    <a:pt x="1478" y="580"/>
                  </a:lnTo>
                  <a:lnTo>
                    <a:pt x="1479" y="582"/>
                  </a:lnTo>
                  <a:lnTo>
                    <a:pt x="1457" y="562"/>
                  </a:lnTo>
                  <a:cubicBezTo>
                    <a:pt x="1456" y="560"/>
                    <a:pt x="1455" y="558"/>
                    <a:pt x="1455" y="556"/>
                  </a:cubicBezTo>
                  <a:lnTo>
                    <a:pt x="1455" y="515"/>
                  </a:lnTo>
                  <a:cubicBezTo>
                    <a:pt x="1455" y="512"/>
                    <a:pt x="1456" y="510"/>
                    <a:pt x="1459" y="508"/>
                  </a:cubicBezTo>
                  <a:lnTo>
                    <a:pt x="1527" y="468"/>
                  </a:lnTo>
                  <a:cubicBezTo>
                    <a:pt x="1528" y="467"/>
                    <a:pt x="1528" y="467"/>
                    <a:pt x="1529" y="467"/>
                  </a:cubicBezTo>
                  <a:lnTo>
                    <a:pt x="1762" y="386"/>
                  </a:lnTo>
                  <a:lnTo>
                    <a:pt x="1759" y="388"/>
                  </a:lnTo>
                  <a:lnTo>
                    <a:pt x="1781" y="367"/>
                  </a:lnTo>
                  <a:lnTo>
                    <a:pt x="1778" y="374"/>
                  </a:lnTo>
                  <a:lnTo>
                    <a:pt x="1756" y="233"/>
                  </a:lnTo>
                  <a:cubicBezTo>
                    <a:pt x="1756" y="232"/>
                    <a:pt x="1756" y="230"/>
                    <a:pt x="1756" y="229"/>
                  </a:cubicBezTo>
                  <a:lnTo>
                    <a:pt x="1778" y="148"/>
                  </a:lnTo>
                  <a:lnTo>
                    <a:pt x="1784" y="158"/>
                  </a:lnTo>
                  <a:lnTo>
                    <a:pt x="1461" y="77"/>
                  </a:lnTo>
                  <a:cubicBezTo>
                    <a:pt x="1459" y="77"/>
                    <a:pt x="1458" y="76"/>
                    <a:pt x="1457" y="74"/>
                  </a:cubicBezTo>
                  <a:lnTo>
                    <a:pt x="1410" y="13"/>
                  </a:lnTo>
                  <a:lnTo>
                    <a:pt x="1417" y="16"/>
                  </a:lnTo>
                  <a:lnTo>
                    <a:pt x="1209" y="37"/>
                  </a:lnTo>
                  <a:lnTo>
                    <a:pt x="1213" y="35"/>
                  </a:lnTo>
                  <a:lnTo>
                    <a:pt x="1123" y="116"/>
                  </a:lnTo>
                  <a:cubicBezTo>
                    <a:pt x="1121" y="117"/>
                    <a:pt x="1119" y="118"/>
                    <a:pt x="1116" y="118"/>
                  </a:cubicBezTo>
                  <a:lnTo>
                    <a:pt x="1023" y="97"/>
                  </a:lnTo>
                  <a:lnTo>
                    <a:pt x="1032" y="94"/>
                  </a:lnTo>
                  <a:lnTo>
                    <a:pt x="985" y="175"/>
                  </a:lnTo>
                  <a:cubicBezTo>
                    <a:pt x="984" y="177"/>
                    <a:pt x="981" y="179"/>
                    <a:pt x="978" y="179"/>
                  </a:cubicBezTo>
                  <a:lnTo>
                    <a:pt x="885" y="179"/>
                  </a:lnTo>
                  <a:lnTo>
                    <a:pt x="889" y="177"/>
                  </a:lnTo>
                  <a:lnTo>
                    <a:pt x="821" y="218"/>
                  </a:lnTo>
                  <a:cubicBezTo>
                    <a:pt x="819" y="219"/>
                    <a:pt x="817" y="219"/>
                    <a:pt x="815" y="219"/>
                  </a:cubicBezTo>
                  <a:lnTo>
                    <a:pt x="700" y="199"/>
                  </a:lnTo>
                  <a:lnTo>
                    <a:pt x="709" y="193"/>
                  </a:lnTo>
                  <a:lnTo>
                    <a:pt x="641" y="396"/>
                  </a:lnTo>
                  <a:cubicBezTo>
                    <a:pt x="640" y="399"/>
                    <a:pt x="637" y="401"/>
                    <a:pt x="635" y="401"/>
                  </a:cubicBezTo>
                  <a:cubicBezTo>
                    <a:pt x="632" y="402"/>
                    <a:pt x="629" y="401"/>
                    <a:pt x="627" y="399"/>
                  </a:cubicBezTo>
                  <a:lnTo>
                    <a:pt x="441" y="196"/>
                  </a:lnTo>
                  <a:lnTo>
                    <a:pt x="453" y="195"/>
                  </a:lnTo>
                  <a:lnTo>
                    <a:pt x="338" y="358"/>
                  </a:lnTo>
                  <a:cubicBezTo>
                    <a:pt x="337" y="360"/>
                    <a:pt x="335" y="361"/>
                    <a:pt x="332" y="361"/>
                  </a:cubicBezTo>
                  <a:lnTo>
                    <a:pt x="78" y="381"/>
                  </a:lnTo>
                  <a:lnTo>
                    <a:pt x="85" y="371"/>
                  </a:lnTo>
                  <a:lnTo>
                    <a:pt x="131" y="533"/>
                  </a:lnTo>
                  <a:cubicBezTo>
                    <a:pt x="132" y="537"/>
                    <a:pt x="131" y="541"/>
                    <a:pt x="127" y="542"/>
                  </a:cubicBezTo>
                  <a:lnTo>
                    <a:pt x="12" y="603"/>
                  </a:lnTo>
                  <a:lnTo>
                    <a:pt x="15" y="592"/>
                  </a:lnTo>
                  <a:lnTo>
                    <a:pt x="84" y="693"/>
                  </a:lnTo>
                  <a:cubicBezTo>
                    <a:pt x="85" y="695"/>
                    <a:pt x="85" y="697"/>
                    <a:pt x="85" y="699"/>
                  </a:cubicBezTo>
                  <a:lnTo>
                    <a:pt x="63" y="821"/>
                  </a:lnTo>
                  <a:lnTo>
                    <a:pt x="58" y="812"/>
                  </a:lnTo>
                  <a:lnTo>
                    <a:pt x="266" y="893"/>
                  </a:lnTo>
                  <a:cubicBezTo>
                    <a:pt x="268" y="894"/>
                    <a:pt x="270" y="895"/>
                    <a:pt x="271" y="897"/>
                  </a:cubicBezTo>
                  <a:cubicBezTo>
                    <a:pt x="271" y="899"/>
                    <a:pt x="271" y="902"/>
                    <a:pt x="270" y="904"/>
                  </a:cubicBezTo>
                  <a:lnTo>
                    <a:pt x="224" y="1005"/>
                  </a:lnTo>
                  <a:lnTo>
                    <a:pt x="217" y="994"/>
                  </a:lnTo>
                  <a:lnTo>
                    <a:pt x="263" y="994"/>
                  </a:lnTo>
                  <a:lnTo>
                    <a:pt x="261" y="994"/>
                  </a:lnTo>
                  <a:lnTo>
                    <a:pt x="376" y="953"/>
                  </a:lnTo>
                  <a:lnTo>
                    <a:pt x="372" y="956"/>
                  </a:lnTo>
                  <a:lnTo>
                    <a:pt x="441" y="875"/>
                  </a:lnTo>
                  <a:cubicBezTo>
                    <a:pt x="441" y="874"/>
                    <a:pt x="441" y="874"/>
                    <a:pt x="441" y="874"/>
                  </a:cubicBezTo>
                  <a:lnTo>
                    <a:pt x="488" y="833"/>
                  </a:lnTo>
                  <a:cubicBezTo>
                    <a:pt x="489" y="833"/>
                    <a:pt x="490" y="832"/>
                    <a:pt x="491" y="832"/>
                  </a:cubicBezTo>
                  <a:lnTo>
                    <a:pt x="559" y="811"/>
                  </a:lnTo>
                  <a:cubicBezTo>
                    <a:pt x="561" y="811"/>
                    <a:pt x="563" y="811"/>
                    <a:pt x="564" y="812"/>
                  </a:cubicBezTo>
                  <a:lnTo>
                    <a:pt x="679" y="852"/>
                  </a:lnTo>
                  <a:cubicBezTo>
                    <a:pt x="680" y="852"/>
                    <a:pt x="681" y="853"/>
                    <a:pt x="682" y="854"/>
                  </a:cubicBezTo>
                  <a:lnTo>
                    <a:pt x="729" y="894"/>
                  </a:lnTo>
                  <a:lnTo>
                    <a:pt x="775" y="935"/>
                  </a:lnTo>
                  <a:lnTo>
                    <a:pt x="770" y="933"/>
                  </a:lnTo>
                  <a:lnTo>
                    <a:pt x="863" y="933"/>
                  </a:lnTo>
                  <a:cubicBezTo>
                    <a:pt x="865" y="933"/>
                    <a:pt x="867" y="933"/>
                    <a:pt x="868" y="935"/>
                  </a:cubicBezTo>
                  <a:lnTo>
                    <a:pt x="915" y="975"/>
                  </a:lnTo>
                  <a:cubicBezTo>
                    <a:pt x="916" y="976"/>
                    <a:pt x="917" y="978"/>
                    <a:pt x="917" y="980"/>
                  </a:cubicBezTo>
                  <a:lnTo>
                    <a:pt x="939" y="1081"/>
                  </a:lnTo>
                  <a:lnTo>
                    <a:pt x="938" y="1079"/>
                  </a:lnTo>
                  <a:lnTo>
                    <a:pt x="1007" y="1200"/>
                  </a:lnTo>
                  <a:lnTo>
                    <a:pt x="1032" y="1262"/>
                  </a:lnTo>
                  <a:lnTo>
                    <a:pt x="1029" y="1258"/>
                  </a:lnTo>
                  <a:lnTo>
                    <a:pt x="1097" y="1299"/>
                  </a:lnTo>
                  <a:cubicBezTo>
                    <a:pt x="1098" y="1299"/>
                    <a:pt x="1098" y="1300"/>
                    <a:pt x="1099" y="1300"/>
                  </a:cubicBezTo>
                  <a:lnTo>
                    <a:pt x="1192" y="1401"/>
                  </a:lnTo>
                  <a:lnTo>
                    <a:pt x="1190" y="1400"/>
                  </a:lnTo>
                  <a:lnTo>
                    <a:pt x="1305" y="1461"/>
                  </a:lnTo>
                  <a:lnTo>
                    <a:pt x="1374" y="1501"/>
                  </a:lnTo>
                  <a:cubicBezTo>
                    <a:pt x="1374" y="1502"/>
                    <a:pt x="1375" y="1502"/>
                    <a:pt x="1375" y="1502"/>
                  </a:cubicBezTo>
                  <a:lnTo>
                    <a:pt x="1422" y="1543"/>
                  </a:lnTo>
                  <a:lnTo>
                    <a:pt x="1676" y="1725"/>
                  </a:lnTo>
                  <a:lnTo>
                    <a:pt x="1723" y="1766"/>
                  </a:lnTo>
                  <a:lnTo>
                    <a:pt x="1715" y="1764"/>
                  </a:lnTo>
                  <a:lnTo>
                    <a:pt x="1784" y="1744"/>
                  </a:lnTo>
                  <a:cubicBezTo>
                    <a:pt x="1785" y="1743"/>
                    <a:pt x="1787" y="1743"/>
                    <a:pt x="1789" y="1744"/>
                  </a:cubicBezTo>
                  <a:lnTo>
                    <a:pt x="1950" y="1805"/>
                  </a:lnTo>
                  <a:cubicBezTo>
                    <a:pt x="1951" y="1805"/>
                    <a:pt x="1952" y="1806"/>
                    <a:pt x="1953" y="1806"/>
                  </a:cubicBezTo>
                  <a:lnTo>
                    <a:pt x="2046" y="1887"/>
                  </a:lnTo>
                  <a:lnTo>
                    <a:pt x="2041" y="1885"/>
                  </a:lnTo>
                  <a:lnTo>
                    <a:pt x="2109" y="1885"/>
                  </a:lnTo>
                  <a:cubicBezTo>
                    <a:pt x="2111" y="1885"/>
                    <a:pt x="2113" y="1886"/>
                    <a:pt x="2115" y="1887"/>
                  </a:cubicBezTo>
                  <a:lnTo>
                    <a:pt x="2137" y="1908"/>
                  </a:lnTo>
                  <a:cubicBezTo>
                    <a:pt x="2138" y="1909"/>
                    <a:pt x="2139" y="1911"/>
                    <a:pt x="2139" y="1914"/>
                  </a:cubicBezTo>
                  <a:lnTo>
                    <a:pt x="2139" y="1954"/>
                  </a:lnTo>
                  <a:lnTo>
                    <a:pt x="2131" y="1946"/>
                  </a:lnTo>
                  <a:lnTo>
                    <a:pt x="2224" y="1946"/>
                  </a:lnTo>
                  <a:cubicBezTo>
                    <a:pt x="2227" y="1946"/>
                    <a:pt x="2230" y="1948"/>
                    <a:pt x="2231" y="1950"/>
                  </a:cubicBezTo>
                  <a:lnTo>
                    <a:pt x="2278" y="2031"/>
                  </a:lnTo>
                  <a:lnTo>
                    <a:pt x="2276" y="2029"/>
                  </a:lnTo>
                  <a:lnTo>
                    <a:pt x="2345" y="2090"/>
                  </a:lnTo>
                  <a:lnTo>
                    <a:pt x="2342" y="2088"/>
                  </a:lnTo>
                  <a:lnTo>
                    <a:pt x="2457" y="2129"/>
                  </a:lnTo>
                  <a:lnTo>
                    <a:pt x="2551" y="2170"/>
                  </a:lnTo>
                  <a:cubicBezTo>
                    <a:pt x="2553" y="2171"/>
                    <a:pt x="2554" y="2172"/>
                    <a:pt x="2555" y="2174"/>
                  </a:cubicBezTo>
                  <a:lnTo>
                    <a:pt x="2602" y="2296"/>
                  </a:lnTo>
                  <a:lnTo>
                    <a:pt x="2694" y="2498"/>
                  </a:lnTo>
                  <a:cubicBezTo>
                    <a:pt x="2696" y="2500"/>
                    <a:pt x="2695" y="2503"/>
                    <a:pt x="2694" y="2506"/>
                  </a:cubicBezTo>
                  <a:cubicBezTo>
                    <a:pt x="2692" y="2508"/>
                    <a:pt x="2690" y="2509"/>
                    <a:pt x="2687" y="2509"/>
                  </a:cubicBezTo>
                  <a:lnTo>
                    <a:pt x="2616" y="2509"/>
                  </a:lnTo>
                  <a:lnTo>
                    <a:pt x="2621" y="2507"/>
                  </a:lnTo>
                  <a:lnTo>
                    <a:pt x="2575" y="2548"/>
                  </a:lnTo>
                  <a:lnTo>
                    <a:pt x="2577" y="2542"/>
                  </a:lnTo>
                  <a:lnTo>
                    <a:pt x="2577" y="2582"/>
                  </a:lnTo>
                  <a:cubicBezTo>
                    <a:pt x="2577" y="2583"/>
                    <a:pt x="2577" y="2584"/>
                    <a:pt x="2577" y="2585"/>
                  </a:cubicBezTo>
                  <a:lnTo>
                    <a:pt x="2555" y="2646"/>
                  </a:lnTo>
                  <a:cubicBezTo>
                    <a:pt x="2555" y="2646"/>
                    <a:pt x="2555" y="2647"/>
                    <a:pt x="2555" y="2647"/>
                  </a:cubicBezTo>
                  <a:lnTo>
                    <a:pt x="2533" y="2687"/>
                  </a:lnTo>
                  <a:lnTo>
                    <a:pt x="2531" y="2678"/>
                  </a:lnTo>
                  <a:lnTo>
                    <a:pt x="2575" y="2718"/>
                  </a:lnTo>
                  <a:lnTo>
                    <a:pt x="2573" y="2717"/>
                  </a:lnTo>
                  <a:lnTo>
                    <a:pt x="2619" y="2737"/>
                  </a:lnTo>
                  <a:lnTo>
                    <a:pt x="2614" y="2737"/>
                  </a:lnTo>
                  <a:lnTo>
                    <a:pt x="2685" y="2716"/>
                  </a:lnTo>
                  <a:lnTo>
                    <a:pt x="2680" y="2720"/>
                  </a:lnTo>
                  <a:lnTo>
                    <a:pt x="2724" y="2639"/>
                  </a:lnTo>
                  <a:lnTo>
                    <a:pt x="2770" y="2538"/>
                  </a:lnTo>
                  <a:lnTo>
                    <a:pt x="2817" y="2437"/>
                  </a:lnTo>
                  <a:cubicBezTo>
                    <a:pt x="2818" y="2435"/>
                    <a:pt x="2820" y="2433"/>
                    <a:pt x="2823" y="2433"/>
                  </a:cubicBezTo>
                  <a:lnTo>
                    <a:pt x="2938" y="2412"/>
                  </a:lnTo>
                  <a:lnTo>
                    <a:pt x="2931" y="2420"/>
                  </a:lnTo>
                  <a:lnTo>
                    <a:pt x="2931" y="2299"/>
                  </a:lnTo>
                  <a:lnTo>
                    <a:pt x="2934" y="2305"/>
                  </a:lnTo>
                  <a:lnTo>
                    <a:pt x="2887" y="2264"/>
                  </a:lnTo>
                  <a:lnTo>
                    <a:pt x="2890" y="2266"/>
                  </a:lnTo>
                  <a:lnTo>
                    <a:pt x="2822" y="2245"/>
                  </a:lnTo>
                  <a:cubicBezTo>
                    <a:pt x="2821" y="2245"/>
                    <a:pt x="2821" y="2245"/>
                    <a:pt x="2820" y="2245"/>
                  </a:cubicBezTo>
                  <a:lnTo>
                    <a:pt x="2752" y="2204"/>
                  </a:lnTo>
                  <a:cubicBezTo>
                    <a:pt x="2750" y="2203"/>
                    <a:pt x="2750" y="2203"/>
                    <a:pt x="2749" y="2201"/>
                  </a:cubicBezTo>
                  <a:lnTo>
                    <a:pt x="2724" y="2161"/>
                  </a:lnTo>
                  <a:cubicBezTo>
                    <a:pt x="2723" y="2159"/>
                    <a:pt x="2723" y="2156"/>
                    <a:pt x="2724" y="2154"/>
                  </a:cubicBezTo>
                  <a:lnTo>
                    <a:pt x="2770" y="2032"/>
                  </a:lnTo>
                  <a:cubicBezTo>
                    <a:pt x="2770" y="2032"/>
                    <a:pt x="2771" y="2031"/>
                    <a:pt x="2771" y="2030"/>
                  </a:cubicBezTo>
                  <a:lnTo>
                    <a:pt x="2818" y="1969"/>
                  </a:lnTo>
                  <a:cubicBezTo>
                    <a:pt x="2819" y="1968"/>
                    <a:pt x="2820" y="1968"/>
                    <a:pt x="2821" y="1967"/>
                  </a:cubicBezTo>
                  <a:lnTo>
                    <a:pt x="2868" y="1947"/>
                  </a:lnTo>
                  <a:cubicBezTo>
                    <a:pt x="2869" y="1946"/>
                    <a:pt x="2870" y="1946"/>
                    <a:pt x="2872" y="1946"/>
                  </a:cubicBezTo>
                  <a:lnTo>
                    <a:pt x="3033" y="1966"/>
                  </a:lnTo>
                  <a:cubicBezTo>
                    <a:pt x="3034" y="1966"/>
                    <a:pt x="3034" y="1967"/>
                    <a:pt x="3035" y="1967"/>
                  </a:cubicBezTo>
                  <a:lnTo>
                    <a:pt x="3150" y="2007"/>
                  </a:lnTo>
                  <a:cubicBezTo>
                    <a:pt x="3151" y="2008"/>
                    <a:pt x="3152" y="2008"/>
                    <a:pt x="3153" y="2009"/>
                  </a:cubicBezTo>
                  <a:lnTo>
                    <a:pt x="3246" y="2090"/>
                  </a:lnTo>
                  <a:lnTo>
                    <a:pt x="3232" y="2096"/>
                  </a:lnTo>
                  <a:lnTo>
                    <a:pt x="3232" y="1995"/>
                  </a:lnTo>
                  <a:lnTo>
                    <a:pt x="3234" y="2000"/>
                  </a:lnTo>
                  <a:lnTo>
                    <a:pt x="3166" y="1919"/>
                  </a:lnTo>
                  <a:close/>
                  <a:moveTo>
                    <a:pt x="3247" y="1989"/>
                  </a:moveTo>
                  <a:cubicBezTo>
                    <a:pt x="3248" y="1991"/>
                    <a:pt x="3248" y="1993"/>
                    <a:pt x="3248" y="1995"/>
                  </a:cubicBezTo>
                  <a:lnTo>
                    <a:pt x="3248" y="2096"/>
                  </a:lnTo>
                  <a:cubicBezTo>
                    <a:pt x="3248" y="2099"/>
                    <a:pt x="3247" y="2102"/>
                    <a:pt x="3244" y="2103"/>
                  </a:cubicBezTo>
                  <a:cubicBezTo>
                    <a:pt x="3241" y="2105"/>
                    <a:pt x="3238" y="2104"/>
                    <a:pt x="3235" y="2102"/>
                  </a:cubicBezTo>
                  <a:lnTo>
                    <a:pt x="3142" y="2021"/>
                  </a:lnTo>
                  <a:lnTo>
                    <a:pt x="3145" y="2022"/>
                  </a:lnTo>
                  <a:lnTo>
                    <a:pt x="3030" y="1982"/>
                  </a:lnTo>
                  <a:lnTo>
                    <a:pt x="3031" y="1982"/>
                  </a:lnTo>
                  <a:lnTo>
                    <a:pt x="2870" y="1962"/>
                  </a:lnTo>
                  <a:lnTo>
                    <a:pt x="2874" y="1961"/>
                  </a:lnTo>
                  <a:lnTo>
                    <a:pt x="2827" y="1982"/>
                  </a:lnTo>
                  <a:lnTo>
                    <a:pt x="2830" y="1979"/>
                  </a:lnTo>
                  <a:lnTo>
                    <a:pt x="2784" y="2040"/>
                  </a:lnTo>
                  <a:lnTo>
                    <a:pt x="2785" y="2038"/>
                  </a:lnTo>
                  <a:lnTo>
                    <a:pt x="2738" y="2160"/>
                  </a:lnTo>
                  <a:lnTo>
                    <a:pt x="2738" y="2153"/>
                  </a:lnTo>
                  <a:lnTo>
                    <a:pt x="2763" y="2193"/>
                  </a:lnTo>
                  <a:lnTo>
                    <a:pt x="2760" y="2190"/>
                  </a:lnTo>
                  <a:lnTo>
                    <a:pt x="2828" y="2231"/>
                  </a:lnTo>
                  <a:lnTo>
                    <a:pt x="2826" y="2230"/>
                  </a:lnTo>
                  <a:lnTo>
                    <a:pt x="2895" y="2250"/>
                  </a:lnTo>
                  <a:cubicBezTo>
                    <a:pt x="2896" y="2251"/>
                    <a:pt x="2897" y="2251"/>
                    <a:pt x="2898" y="2252"/>
                  </a:cubicBezTo>
                  <a:lnTo>
                    <a:pt x="2944" y="2293"/>
                  </a:lnTo>
                  <a:cubicBezTo>
                    <a:pt x="2946" y="2294"/>
                    <a:pt x="2947" y="2296"/>
                    <a:pt x="2947" y="2299"/>
                  </a:cubicBezTo>
                  <a:lnTo>
                    <a:pt x="2947" y="2420"/>
                  </a:lnTo>
                  <a:cubicBezTo>
                    <a:pt x="2947" y="2424"/>
                    <a:pt x="2944" y="2427"/>
                    <a:pt x="2941" y="2428"/>
                  </a:cubicBezTo>
                  <a:lnTo>
                    <a:pt x="2826" y="2448"/>
                  </a:lnTo>
                  <a:lnTo>
                    <a:pt x="2831" y="2444"/>
                  </a:lnTo>
                  <a:lnTo>
                    <a:pt x="2785" y="2545"/>
                  </a:lnTo>
                  <a:lnTo>
                    <a:pt x="2738" y="2647"/>
                  </a:lnTo>
                  <a:lnTo>
                    <a:pt x="2694" y="2728"/>
                  </a:lnTo>
                  <a:cubicBezTo>
                    <a:pt x="2693" y="2730"/>
                    <a:pt x="2691" y="2731"/>
                    <a:pt x="2689" y="2732"/>
                  </a:cubicBezTo>
                  <a:lnTo>
                    <a:pt x="2618" y="2752"/>
                  </a:lnTo>
                  <a:cubicBezTo>
                    <a:pt x="2616" y="2753"/>
                    <a:pt x="2614" y="2753"/>
                    <a:pt x="2613" y="2752"/>
                  </a:cubicBezTo>
                  <a:lnTo>
                    <a:pt x="2566" y="2732"/>
                  </a:lnTo>
                  <a:cubicBezTo>
                    <a:pt x="2565" y="2731"/>
                    <a:pt x="2565" y="2731"/>
                    <a:pt x="2564" y="2730"/>
                  </a:cubicBezTo>
                  <a:lnTo>
                    <a:pt x="2520" y="2690"/>
                  </a:lnTo>
                  <a:cubicBezTo>
                    <a:pt x="2517" y="2687"/>
                    <a:pt x="2517" y="2683"/>
                    <a:pt x="2519" y="2680"/>
                  </a:cubicBezTo>
                  <a:lnTo>
                    <a:pt x="2540" y="2639"/>
                  </a:lnTo>
                  <a:lnTo>
                    <a:pt x="2540" y="2640"/>
                  </a:lnTo>
                  <a:lnTo>
                    <a:pt x="2562" y="2580"/>
                  </a:lnTo>
                  <a:lnTo>
                    <a:pt x="2561" y="2582"/>
                  </a:lnTo>
                  <a:lnTo>
                    <a:pt x="2561" y="2542"/>
                  </a:lnTo>
                  <a:cubicBezTo>
                    <a:pt x="2561" y="2539"/>
                    <a:pt x="2562" y="2537"/>
                    <a:pt x="2564" y="2536"/>
                  </a:cubicBezTo>
                  <a:lnTo>
                    <a:pt x="2611" y="2495"/>
                  </a:lnTo>
                  <a:cubicBezTo>
                    <a:pt x="2612" y="2494"/>
                    <a:pt x="2614" y="2493"/>
                    <a:pt x="2616" y="2493"/>
                  </a:cubicBezTo>
                  <a:lnTo>
                    <a:pt x="2687" y="2493"/>
                  </a:lnTo>
                  <a:lnTo>
                    <a:pt x="2680" y="2505"/>
                  </a:lnTo>
                  <a:lnTo>
                    <a:pt x="2587" y="2301"/>
                  </a:lnTo>
                  <a:lnTo>
                    <a:pt x="2540" y="2180"/>
                  </a:lnTo>
                  <a:lnTo>
                    <a:pt x="2544" y="2184"/>
                  </a:lnTo>
                  <a:lnTo>
                    <a:pt x="2452" y="2144"/>
                  </a:lnTo>
                  <a:lnTo>
                    <a:pt x="2337" y="2103"/>
                  </a:lnTo>
                  <a:cubicBezTo>
                    <a:pt x="2336" y="2103"/>
                    <a:pt x="2335" y="2103"/>
                    <a:pt x="2334" y="2102"/>
                  </a:cubicBezTo>
                  <a:lnTo>
                    <a:pt x="2266" y="2041"/>
                  </a:lnTo>
                  <a:cubicBezTo>
                    <a:pt x="2265" y="2041"/>
                    <a:pt x="2264" y="2040"/>
                    <a:pt x="2264" y="2039"/>
                  </a:cubicBezTo>
                  <a:lnTo>
                    <a:pt x="2217" y="1958"/>
                  </a:lnTo>
                  <a:lnTo>
                    <a:pt x="2224" y="1962"/>
                  </a:lnTo>
                  <a:lnTo>
                    <a:pt x="2131" y="1962"/>
                  </a:lnTo>
                  <a:cubicBezTo>
                    <a:pt x="2127" y="1962"/>
                    <a:pt x="2123" y="1958"/>
                    <a:pt x="2123" y="1954"/>
                  </a:cubicBezTo>
                  <a:lnTo>
                    <a:pt x="2123" y="1914"/>
                  </a:lnTo>
                  <a:lnTo>
                    <a:pt x="2126" y="1919"/>
                  </a:lnTo>
                  <a:lnTo>
                    <a:pt x="2104" y="1899"/>
                  </a:lnTo>
                  <a:lnTo>
                    <a:pt x="2109" y="1901"/>
                  </a:lnTo>
                  <a:lnTo>
                    <a:pt x="2041" y="1901"/>
                  </a:lnTo>
                  <a:cubicBezTo>
                    <a:pt x="2039" y="1901"/>
                    <a:pt x="2037" y="1901"/>
                    <a:pt x="2036" y="1899"/>
                  </a:cubicBezTo>
                  <a:lnTo>
                    <a:pt x="1942" y="1818"/>
                  </a:lnTo>
                  <a:lnTo>
                    <a:pt x="1945" y="1820"/>
                  </a:lnTo>
                  <a:lnTo>
                    <a:pt x="1783" y="1759"/>
                  </a:lnTo>
                  <a:lnTo>
                    <a:pt x="1788" y="1759"/>
                  </a:lnTo>
                  <a:lnTo>
                    <a:pt x="1720" y="1779"/>
                  </a:lnTo>
                  <a:cubicBezTo>
                    <a:pt x="1717" y="1780"/>
                    <a:pt x="1714" y="1780"/>
                    <a:pt x="1712" y="1778"/>
                  </a:cubicBezTo>
                  <a:lnTo>
                    <a:pt x="1666" y="1738"/>
                  </a:lnTo>
                  <a:lnTo>
                    <a:pt x="1411" y="1555"/>
                  </a:lnTo>
                  <a:lnTo>
                    <a:pt x="1364" y="1514"/>
                  </a:lnTo>
                  <a:lnTo>
                    <a:pt x="1366" y="1515"/>
                  </a:lnTo>
                  <a:lnTo>
                    <a:pt x="1298" y="1475"/>
                  </a:lnTo>
                  <a:lnTo>
                    <a:pt x="1182" y="1414"/>
                  </a:lnTo>
                  <a:cubicBezTo>
                    <a:pt x="1182" y="1414"/>
                    <a:pt x="1181" y="1413"/>
                    <a:pt x="1180" y="1412"/>
                  </a:cubicBezTo>
                  <a:lnTo>
                    <a:pt x="1087" y="1311"/>
                  </a:lnTo>
                  <a:lnTo>
                    <a:pt x="1089" y="1312"/>
                  </a:lnTo>
                  <a:lnTo>
                    <a:pt x="1021" y="1272"/>
                  </a:lnTo>
                  <a:cubicBezTo>
                    <a:pt x="1019" y="1271"/>
                    <a:pt x="1018" y="1270"/>
                    <a:pt x="1017" y="1268"/>
                  </a:cubicBezTo>
                  <a:lnTo>
                    <a:pt x="993" y="1208"/>
                  </a:lnTo>
                  <a:lnTo>
                    <a:pt x="925" y="1087"/>
                  </a:lnTo>
                  <a:cubicBezTo>
                    <a:pt x="924" y="1086"/>
                    <a:pt x="924" y="1085"/>
                    <a:pt x="924" y="1084"/>
                  </a:cubicBezTo>
                  <a:lnTo>
                    <a:pt x="902" y="983"/>
                  </a:lnTo>
                  <a:lnTo>
                    <a:pt x="904" y="987"/>
                  </a:lnTo>
                  <a:lnTo>
                    <a:pt x="858" y="947"/>
                  </a:lnTo>
                  <a:lnTo>
                    <a:pt x="863" y="949"/>
                  </a:lnTo>
                  <a:lnTo>
                    <a:pt x="770" y="949"/>
                  </a:lnTo>
                  <a:cubicBezTo>
                    <a:pt x="768" y="949"/>
                    <a:pt x="766" y="948"/>
                    <a:pt x="765" y="947"/>
                  </a:cubicBezTo>
                  <a:lnTo>
                    <a:pt x="718" y="906"/>
                  </a:lnTo>
                  <a:lnTo>
                    <a:pt x="672" y="866"/>
                  </a:lnTo>
                  <a:lnTo>
                    <a:pt x="674" y="867"/>
                  </a:lnTo>
                  <a:lnTo>
                    <a:pt x="559" y="827"/>
                  </a:lnTo>
                  <a:lnTo>
                    <a:pt x="564" y="827"/>
                  </a:lnTo>
                  <a:lnTo>
                    <a:pt x="496" y="847"/>
                  </a:lnTo>
                  <a:lnTo>
                    <a:pt x="499" y="845"/>
                  </a:lnTo>
                  <a:lnTo>
                    <a:pt x="452" y="886"/>
                  </a:lnTo>
                  <a:lnTo>
                    <a:pt x="453" y="885"/>
                  </a:lnTo>
                  <a:lnTo>
                    <a:pt x="384" y="966"/>
                  </a:lnTo>
                  <a:cubicBezTo>
                    <a:pt x="383" y="967"/>
                    <a:pt x="382" y="968"/>
                    <a:pt x="381" y="969"/>
                  </a:cubicBezTo>
                  <a:lnTo>
                    <a:pt x="266" y="1009"/>
                  </a:lnTo>
                  <a:cubicBezTo>
                    <a:pt x="265" y="1009"/>
                    <a:pt x="264" y="1010"/>
                    <a:pt x="263" y="1010"/>
                  </a:cubicBezTo>
                  <a:lnTo>
                    <a:pt x="217" y="1010"/>
                  </a:lnTo>
                  <a:cubicBezTo>
                    <a:pt x="214" y="1010"/>
                    <a:pt x="211" y="1008"/>
                    <a:pt x="210" y="1006"/>
                  </a:cubicBezTo>
                  <a:cubicBezTo>
                    <a:pt x="208" y="1004"/>
                    <a:pt x="208" y="1001"/>
                    <a:pt x="209" y="998"/>
                  </a:cubicBezTo>
                  <a:lnTo>
                    <a:pt x="256" y="897"/>
                  </a:lnTo>
                  <a:lnTo>
                    <a:pt x="260" y="908"/>
                  </a:lnTo>
                  <a:lnTo>
                    <a:pt x="52" y="827"/>
                  </a:lnTo>
                  <a:cubicBezTo>
                    <a:pt x="49" y="825"/>
                    <a:pt x="46" y="821"/>
                    <a:pt x="47" y="818"/>
                  </a:cubicBezTo>
                  <a:lnTo>
                    <a:pt x="69" y="696"/>
                  </a:lnTo>
                  <a:lnTo>
                    <a:pt x="70" y="702"/>
                  </a:lnTo>
                  <a:lnTo>
                    <a:pt x="2" y="601"/>
                  </a:lnTo>
                  <a:cubicBezTo>
                    <a:pt x="1" y="599"/>
                    <a:pt x="0" y="596"/>
                    <a:pt x="1" y="594"/>
                  </a:cubicBezTo>
                  <a:cubicBezTo>
                    <a:pt x="1" y="592"/>
                    <a:pt x="3" y="590"/>
                    <a:pt x="5" y="589"/>
                  </a:cubicBezTo>
                  <a:lnTo>
                    <a:pt x="120" y="528"/>
                  </a:lnTo>
                  <a:lnTo>
                    <a:pt x="116" y="538"/>
                  </a:lnTo>
                  <a:lnTo>
                    <a:pt x="69" y="375"/>
                  </a:lnTo>
                  <a:cubicBezTo>
                    <a:pt x="69" y="373"/>
                    <a:pt x="69" y="371"/>
                    <a:pt x="70" y="369"/>
                  </a:cubicBezTo>
                  <a:cubicBezTo>
                    <a:pt x="72" y="367"/>
                    <a:pt x="74" y="365"/>
                    <a:pt x="76" y="365"/>
                  </a:cubicBezTo>
                  <a:lnTo>
                    <a:pt x="331" y="345"/>
                  </a:lnTo>
                  <a:lnTo>
                    <a:pt x="325" y="348"/>
                  </a:lnTo>
                  <a:lnTo>
                    <a:pt x="440" y="186"/>
                  </a:lnTo>
                  <a:cubicBezTo>
                    <a:pt x="442" y="184"/>
                    <a:pt x="444" y="183"/>
                    <a:pt x="446" y="183"/>
                  </a:cubicBezTo>
                  <a:cubicBezTo>
                    <a:pt x="449" y="183"/>
                    <a:pt x="451" y="184"/>
                    <a:pt x="453" y="185"/>
                  </a:cubicBezTo>
                  <a:lnTo>
                    <a:pt x="639" y="388"/>
                  </a:lnTo>
                  <a:lnTo>
                    <a:pt x="625" y="391"/>
                  </a:lnTo>
                  <a:lnTo>
                    <a:pt x="694" y="188"/>
                  </a:lnTo>
                  <a:cubicBezTo>
                    <a:pt x="695" y="185"/>
                    <a:pt x="699" y="182"/>
                    <a:pt x="703" y="183"/>
                  </a:cubicBezTo>
                  <a:lnTo>
                    <a:pt x="818" y="203"/>
                  </a:lnTo>
                  <a:lnTo>
                    <a:pt x="812" y="204"/>
                  </a:lnTo>
                  <a:lnTo>
                    <a:pt x="881" y="164"/>
                  </a:lnTo>
                  <a:cubicBezTo>
                    <a:pt x="882" y="163"/>
                    <a:pt x="884" y="163"/>
                    <a:pt x="885" y="163"/>
                  </a:cubicBezTo>
                  <a:lnTo>
                    <a:pt x="978" y="163"/>
                  </a:lnTo>
                  <a:lnTo>
                    <a:pt x="971" y="167"/>
                  </a:lnTo>
                  <a:lnTo>
                    <a:pt x="1018" y="86"/>
                  </a:lnTo>
                  <a:cubicBezTo>
                    <a:pt x="1019" y="83"/>
                    <a:pt x="1023" y="81"/>
                    <a:pt x="1026" y="82"/>
                  </a:cubicBezTo>
                  <a:lnTo>
                    <a:pt x="1119" y="102"/>
                  </a:lnTo>
                  <a:lnTo>
                    <a:pt x="1112" y="104"/>
                  </a:lnTo>
                  <a:lnTo>
                    <a:pt x="1203" y="23"/>
                  </a:lnTo>
                  <a:cubicBezTo>
                    <a:pt x="1204" y="22"/>
                    <a:pt x="1206" y="21"/>
                    <a:pt x="1207" y="21"/>
                  </a:cubicBezTo>
                  <a:lnTo>
                    <a:pt x="1416" y="0"/>
                  </a:lnTo>
                  <a:cubicBezTo>
                    <a:pt x="1418" y="0"/>
                    <a:pt x="1421" y="1"/>
                    <a:pt x="1423" y="4"/>
                  </a:cubicBezTo>
                  <a:lnTo>
                    <a:pt x="1469" y="64"/>
                  </a:lnTo>
                  <a:lnTo>
                    <a:pt x="1465" y="61"/>
                  </a:lnTo>
                  <a:lnTo>
                    <a:pt x="1788" y="143"/>
                  </a:lnTo>
                  <a:cubicBezTo>
                    <a:pt x="1790" y="143"/>
                    <a:pt x="1792" y="144"/>
                    <a:pt x="1793" y="146"/>
                  </a:cubicBezTo>
                  <a:cubicBezTo>
                    <a:pt x="1794" y="148"/>
                    <a:pt x="1794" y="150"/>
                    <a:pt x="1794" y="152"/>
                  </a:cubicBezTo>
                  <a:lnTo>
                    <a:pt x="1772" y="233"/>
                  </a:lnTo>
                  <a:lnTo>
                    <a:pt x="1772" y="230"/>
                  </a:lnTo>
                  <a:lnTo>
                    <a:pt x="1794" y="372"/>
                  </a:lnTo>
                  <a:cubicBezTo>
                    <a:pt x="1794" y="375"/>
                    <a:pt x="1793" y="377"/>
                    <a:pt x="1792" y="379"/>
                  </a:cubicBezTo>
                  <a:lnTo>
                    <a:pt x="1770" y="399"/>
                  </a:lnTo>
                  <a:cubicBezTo>
                    <a:pt x="1769" y="400"/>
                    <a:pt x="1768" y="401"/>
                    <a:pt x="1767" y="401"/>
                  </a:cubicBezTo>
                  <a:lnTo>
                    <a:pt x="1534" y="482"/>
                  </a:lnTo>
                  <a:lnTo>
                    <a:pt x="1535" y="481"/>
                  </a:lnTo>
                  <a:lnTo>
                    <a:pt x="1467" y="522"/>
                  </a:lnTo>
                  <a:lnTo>
                    <a:pt x="1471" y="515"/>
                  </a:lnTo>
                  <a:lnTo>
                    <a:pt x="1471" y="556"/>
                  </a:lnTo>
                  <a:lnTo>
                    <a:pt x="1468" y="550"/>
                  </a:lnTo>
                  <a:lnTo>
                    <a:pt x="1490" y="570"/>
                  </a:lnTo>
                  <a:cubicBezTo>
                    <a:pt x="1491" y="571"/>
                    <a:pt x="1491" y="571"/>
                    <a:pt x="1492" y="572"/>
                  </a:cubicBezTo>
                  <a:lnTo>
                    <a:pt x="1516" y="612"/>
                  </a:lnTo>
                  <a:cubicBezTo>
                    <a:pt x="1518" y="615"/>
                    <a:pt x="1518" y="618"/>
                    <a:pt x="1516" y="621"/>
                  </a:cubicBezTo>
                  <a:lnTo>
                    <a:pt x="1491" y="662"/>
                  </a:lnTo>
                  <a:lnTo>
                    <a:pt x="1447" y="722"/>
                  </a:lnTo>
                  <a:lnTo>
                    <a:pt x="1449" y="718"/>
                  </a:lnTo>
                  <a:lnTo>
                    <a:pt x="1449" y="758"/>
                  </a:lnTo>
                  <a:lnTo>
                    <a:pt x="1447" y="754"/>
                  </a:lnTo>
                  <a:lnTo>
                    <a:pt x="1538" y="875"/>
                  </a:lnTo>
                  <a:lnTo>
                    <a:pt x="1536" y="873"/>
                  </a:lnTo>
                  <a:lnTo>
                    <a:pt x="1769" y="1036"/>
                  </a:lnTo>
                  <a:lnTo>
                    <a:pt x="1884" y="1137"/>
                  </a:lnTo>
                  <a:cubicBezTo>
                    <a:pt x="1885" y="1138"/>
                    <a:pt x="1885" y="1138"/>
                    <a:pt x="1886" y="1139"/>
                  </a:cubicBezTo>
                  <a:lnTo>
                    <a:pt x="1954" y="1240"/>
                  </a:lnTo>
                  <a:lnTo>
                    <a:pt x="2023" y="1342"/>
                  </a:lnTo>
                  <a:lnTo>
                    <a:pt x="2021" y="1340"/>
                  </a:lnTo>
                  <a:lnTo>
                    <a:pt x="2136" y="1441"/>
                  </a:lnTo>
                  <a:lnTo>
                    <a:pt x="2135" y="1440"/>
                  </a:lnTo>
                  <a:lnTo>
                    <a:pt x="2250" y="1501"/>
                  </a:lnTo>
                  <a:lnTo>
                    <a:pt x="2246" y="1500"/>
                  </a:lnTo>
                  <a:lnTo>
                    <a:pt x="2386" y="1500"/>
                  </a:lnTo>
                  <a:lnTo>
                    <a:pt x="2384" y="1500"/>
                  </a:lnTo>
                  <a:lnTo>
                    <a:pt x="2477" y="1480"/>
                  </a:lnTo>
                  <a:cubicBezTo>
                    <a:pt x="2479" y="1480"/>
                    <a:pt x="2481" y="1480"/>
                    <a:pt x="2483" y="1481"/>
                  </a:cubicBezTo>
                  <a:lnTo>
                    <a:pt x="2552" y="1522"/>
                  </a:lnTo>
                  <a:cubicBezTo>
                    <a:pt x="2553" y="1522"/>
                    <a:pt x="2554" y="1523"/>
                    <a:pt x="2555" y="1525"/>
                  </a:cubicBezTo>
                  <a:lnTo>
                    <a:pt x="2576" y="1565"/>
                  </a:lnTo>
                  <a:cubicBezTo>
                    <a:pt x="2578" y="1568"/>
                    <a:pt x="2578" y="1572"/>
                    <a:pt x="2575" y="1575"/>
                  </a:cubicBezTo>
                  <a:lnTo>
                    <a:pt x="2531" y="1615"/>
                  </a:lnTo>
                  <a:lnTo>
                    <a:pt x="2529" y="1602"/>
                  </a:lnTo>
                  <a:lnTo>
                    <a:pt x="2759" y="1704"/>
                  </a:lnTo>
                  <a:lnTo>
                    <a:pt x="2989" y="1805"/>
                  </a:lnTo>
                  <a:lnTo>
                    <a:pt x="3082" y="1845"/>
                  </a:lnTo>
                  <a:cubicBezTo>
                    <a:pt x="3082" y="1846"/>
                    <a:pt x="3083" y="1846"/>
                    <a:pt x="3083" y="1846"/>
                  </a:cubicBezTo>
                  <a:lnTo>
                    <a:pt x="3176" y="1907"/>
                  </a:lnTo>
                  <a:cubicBezTo>
                    <a:pt x="3177" y="1907"/>
                    <a:pt x="3178" y="1908"/>
                    <a:pt x="3178" y="1908"/>
                  </a:cubicBezTo>
                  <a:lnTo>
                    <a:pt x="3247" y="1989"/>
                  </a:lnTo>
                  <a:close/>
                </a:path>
              </a:pathLst>
            </a:custGeom>
            <a:solidFill>
              <a:srgbClr val="000000"/>
            </a:solidFill>
            <a:ln w="0" cap="flat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242" name="Rectangle 209"/>
            <p:cNvSpPr>
              <a:spLocks noChangeArrowheads="1"/>
            </p:cNvSpPr>
            <p:nvPr/>
          </p:nvSpPr>
          <p:spPr bwMode="auto">
            <a:xfrm>
              <a:off x="3754" y="2697"/>
              <a:ext cx="35" cy="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sz="500" b="1">
                  <a:solidFill>
                    <a:srgbClr val="000000"/>
                  </a:solidFill>
                </a:rPr>
                <a:t>IT</a:t>
              </a:r>
              <a:endParaRPr lang="de-DE"/>
            </a:p>
          </p:txBody>
        </p:sp>
        <p:sp>
          <p:nvSpPr>
            <p:cNvPr id="7243" name="Freeform 210"/>
            <p:cNvSpPr>
              <a:spLocks/>
            </p:cNvSpPr>
            <p:nvPr/>
          </p:nvSpPr>
          <p:spPr bwMode="auto">
            <a:xfrm>
              <a:off x="3598" y="2275"/>
              <a:ext cx="447" cy="187"/>
            </a:xfrm>
            <a:custGeom>
              <a:avLst/>
              <a:gdLst>
                <a:gd name="T0" fmla="*/ 541 w 425"/>
                <a:gd name="T1" fmla="*/ 313 h 178"/>
                <a:gd name="T2" fmla="*/ 576 w 425"/>
                <a:gd name="T3" fmla="*/ 288 h 178"/>
                <a:gd name="T4" fmla="*/ 636 w 425"/>
                <a:gd name="T5" fmla="*/ 288 h 178"/>
                <a:gd name="T6" fmla="*/ 682 w 425"/>
                <a:gd name="T7" fmla="*/ 282 h 178"/>
                <a:gd name="T8" fmla="*/ 682 w 425"/>
                <a:gd name="T9" fmla="*/ 257 h 178"/>
                <a:gd name="T10" fmla="*/ 711 w 425"/>
                <a:gd name="T11" fmla="*/ 231 h 178"/>
                <a:gd name="T12" fmla="*/ 723 w 425"/>
                <a:gd name="T13" fmla="*/ 189 h 178"/>
                <a:gd name="T14" fmla="*/ 723 w 425"/>
                <a:gd name="T15" fmla="*/ 148 h 178"/>
                <a:gd name="T16" fmla="*/ 770 w 425"/>
                <a:gd name="T17" fmla="*/ 133 h 178"/>
                <a:gd name="T18" fmla="*/ 778 w 425"/>
                <a:gd name="T19" fmla="*/ 100 h 178"/>
                <a:gd name="T20" fmla="*/ 741 w 425"/>
                <a:gd name="T21" fmla="*/ 72 h 178"/>
                <a:gd name="T22" fmla="*/ 741 w 425"/>
                <a:gd name="T23" fmla="*/ 26 h 178"/>
                <a:gd name="T24" fmla="*/ 644 w 425"/>
                <a:gd name="T25" fmla="*/ 26 h 178"/>
                <a:gd name="T26" fmla="*/ 556 w 425"/>
                <a:gd name="T27" fmla="*/ 0 h 178"/>
                <a:gd name="T28" fmla="*/ 527 w 425"/>
                <a:gd name="T29" fmla="*/ 48 h 178"/>
                <a:gd name="T30" fmla="*/ 470 w 425"/>
                <a:gd name="T31" fmla="*/ 65 h 178"/>
                <a:gd name="T32" fmla="*/ 424 w 425"/>
                <a:gd name="T33" fmla="*/ 40 h 178"/>
                <a:gd name="T34" fmla="*/ 424 w 425"/>
                <a:gd name="T35" fmla="*/ 65 h 178"/>
                <a:gd name="T36" fmla="*/ 384 w 425"/>
                <a:gd name="T37" fmla="*/ 65 h 178"/>
                <a:gd name="T38" fmla="*/ 375 w 425"/>
                <a:gd name="T39" fmla="*/ 100 h 178"/>
                <a:gd name="T40" fmla="*/ 339 w 425"/>
                <a:gd name="T41" fmla="*/ 123 h 178"/>
                <a:gd name="T42" fmla="*/ 357 w 425"/>
                <a:gd name="T43" fmla="*/ 158 h 178"/>
                <a:gd name="T44" fmla="*/ 357 w 425"/>
                <a:gd name="T45" fmla="*/ 189 h 178"/>
                <a:gd name="T46" fmla="*/ 291 w 425"/>
                <a:gd name="T47" fmla="*/ 174 h 178"/>
                <a:gd name="T48" fmla="*/ 210 w 425"/>
                <a:gd name="T49" fmla="*/ 198 h 178"/>
                <a:gd name="T50" fmla="*/ 164 w 425"/>
                <a:gd name="T51" fmla="*/ 206 h 178"/>
                <a:gd name="T52" fmla="*/ 95 w 425"/>
                <a:gd name="T53" fmla="*/ 198 h 178"/>
                <a:gd name="T54" fmla="*/ 58 w 425"/>
                <a:gd name="T55" fmla="*/ 214 h 178"/>
                <a:gd name="T56" fmla="*/ 5 w 425"/>
                <a:gd name="T57" fmla="*/ 206 h 178"/>
                <a:gd name="T58" fmla="*/ 0 w 425"/>
                <a:gd name="T59" fmla="*/ 247 h 178"/>
                <a:gd name="T60" fmla="*/ 27 w 425"/>
                <a:gd name="T61" fmla="*/ 263 h 178"/>
                <a:gd name="T62" fmla="*/ 47 w 425"/>
                <a:gd name="T63" fmla="*/ 282 h 178"/>
                <a:gd name="T64" fmla="*/ 95 w 425"/>
                <a:gd name="T65" fmla="*/ 272 h 178"/>
                <a:gd name="T66" fmla="*/ 104 w 425"/>
                <a:gd name="T67" fmla="*/ 313 h 178"/>
                <a:gd name="T68" fmla="*/ 115 w 425"/>
                <a:gd name="T69" fmla="*/ 288 h 178"/>
                <a:gd name="T70" fmla="*/ 155 w 425"/>
                <a:gd name="T71" fmla="*/ 297 h 178"/>
                <a:gd name="T72" fmla="*/ 192 w 425"/>
                <a:gd name="T73" fmla="*/ 263 h 178"/>
                <a:gd name="T74" fmla="*/ 279 w 425"/>
                <a:gd name="T75" fmla="*/ 257 h 178"/>
                <a:gd name="T76" fmla="*/ 298 w 425"/>
                <a:gd name="T77" fmla="*/ 282 h 178"/>
                <a:gd name="T78" fmla="*/ 432 w 425"/>
                <a:gd name="T79" fmla="*/ 313 h 178"/>
                <a:gd name="T80" fmla="*/ 432 w 425"/>
                <a:gd name="T81" fmla="*/ 320 h 178"/>
                <a:gd name="T82" fmla="*/ 470 w 425"/>
                <a:gd name="T83" fmla="*/ 313 h 178"/>
                <a:gd name="T84" fmla="*/ 541 w 425"/>
                <a:gd name="T85" fmla="*/ 313 h 17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425"/>
                <a:gd name="T130" fmla="*/ 0 h 178"/>
                <a:gd name="T131" fmla="*/ 425 w 425"/>
                <a:gd name="T132" fmla="*/ 178 h 178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425" h="178">
                  <a:moveTo>
                    <a:pt x="294" y="173"/>
                  </a:moveTo>
                  <a:lnTo>
                    <a:pt x="315" y="160"/>
                  </a:lnTo>
                  <a:lnTo>
                    <a:pt x="347" y="160"/>
                  </a:lnTo>
                  <a:lnTo>
                    <a:pt x="373" y="155"/>
                  </a:lnTo>
                  <a:lnTo>
                    <a:pt x="373" y="142"/>
                  </a:lnTo>
                  <a:lnTo>
                    <a:pt x="388" y="128"/>
                  </a:lnTo>
                  <a:lnTo>
                    <a:pt x="394" y="105"/>
                  </a:lnTo>
                  <a:lnTo>
                    <a:pt x="394" y="82"/>
                  </a:lnTo>
                  <a:lnTo>
                    <a:pt x="420" y="73"/>
                  </a:lnTo>
                  <a:lnTo>
                    <a:pt x="425" y="55"/>
                  </a:lnTo>
                  <a:lnTo>
                    <a:pt x="405" y="41"/>
                  </a:lnTo>
                  <a:lnTo>
                    <a:pt x="405" y="14"/>
                  </a:lnTo>
                  <a:lnTo>
                    <a:pt x="352" y="14"/>
                  </a:lnTo>
                  <a:lnTo>
                    <a:pt x="304" y="0"/>
                  </a:lnTo>
                  <a:lnTo>
                    <a:pt x="288" y="27"/>
                  </a:lnTo>
                  <a:lnTo>
                    <a:pt x="257" y="36"/>
                  </a:lnTo>
                  <a:lnTo>
                    <a:pt x="231" y="23"/>
                  </a:lnTo>
                  <a:lnTo>
                    <a:pt x="231" y="36"/>
                  </a:lnTo>
                  <a:lnTo>
                    <a:pt x="210" y="36"/>
                  </a:lnTo>
                  <a:lnTo>
                    <a:pt x="204" y="55"/>
                  </a:lnTo>
                  <a:lnTo>
                    <a:pt x="184" y="68"/>
                  </a:lnTo>
                  <a:lnTo>
                    <a:pt x="194" y="87"/>
                  </a:lnTo>
                  <a:lnTo>
                    <a:pt x="194" y="105"/>
                  </a:lnTo>
                  <a:lnTo>
                    <a:pt x="158" y="96"/>
                  </a:lnTo>
                  <a:lnTo>
                    <a:pt x="115" y="109"/>
                  </a:lnTo>
                  <a:lnTo>
                    <a:pt x="89" y="114"/>
                  </a:lnTo>
                  <a:lnTo>
                    <a:pt x="52" y="109"/>
                  </a:lnTo>
                  <a:lnTo>
                    <a:pt x="31" y="119"/>
                  </a:lnTo>
                  <a:lnTo>
                    <a:pt x="5" y="114"/>
                  </a:lnTo>
                  <a:lnTo>
                    <a:pt x="0" y="137"/>
                  </a:lnTo>
                  <a:lnTo>
                    <a:pt x="15" y="146"/>
                  </a:lnTo>
                  <a:lnTo>
                    <a:pt x="26" y="155"/>
                  </a:lnTo>
                  <a:lnTo>
                    <a:pt x="52" y="151"/>
                  </a:lnTo>
                  <a:lnTo>
                    <a:pt x="57" y="173"/>
                  </a:lnTo>
                  <a:lnTo>
                    <a:pt x="63" y="160"/>
                  </a:lnTo>
                  <a:lnTo>
                    <a:pt x="84" y="164"/>
                  </a:lnTo>
                  <a:lnTo>
                    <a:pt x="105" y="146"/>
                  </a:lnTo>
                  <a:lnTo>
                    <a:pt x="152" y="142"/>
                  </a:lnTo>
                  <a:lnTo>
                    <a:pt x="163" y="155"/>
                  </a:lnTo>
                  <a:lnTo>
                    <a:pt x="236" y="173"/>
                  </a:lnTo>
                  <a:lnTo>
                    <a:pt x="236" y="178"/>
                  </a:lnTo>
                  <a:lnTo>
                    <a:pt x="257" y="173"/>
                  </a:lnTo>
                  <a:lnTo>
                    <a:pt x="294" y="173"/>
                  </a:lnTo>
                  <a:close/>
                </a:path>
              </a:pathLst>
            </a:custGeom>
            <a:solidFill>
              <a:srgbClr val="FFC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cs-CZ"/>
            </a:p>
          </p:txBody>
        </p:sp>
        <p:sp>
          <p:nvSpPr>
            <p:cNvPr id="7244" name="Freeform 211"/>
            <p:cNvSpPr>
              <a:spLocks noEditPoints="1"/>
            </p:cNvSpPr>
            <p:nvPr/>
          </p:nvSpPr>
          <p:spPr bwMode="auto">
            <a:xfrm>
              <a:off x="3596" y="2273"/>
              <a:ext cx="451" cy="191"/>
            </a:xfrm>
            <a:custGeom>
              <a:avLst/>
              <a:gdLst>
                <a:gd name="T0" fmla="*/ 0 w 1889"/>
                <a:gd name="T1" fmla="*/ 0 h 801"/>
                <a:gd name="T2" fmla="*/ 0 w 1889"/>
                <a:gd name="T3" fmla="*/ 0 h 801"/>
                <a:gd name="T4" fmla="*/ 0 w 1889"/>
                <a:gd name="T5" fmla="*/ 0 h 801"/>
                <a:gd name="T6" fmla="*/ 0 w 1889"/>
                <a:gd name="T7" fmla="*/ 0 h 801"/>
                <a:gd name="T8" fmla="*/ 0 w 1889"/>
                <a:gd name="T9" fmla="*/ 0 h 801"/>
                <a:gd name="T10" fmla="*/ 0 w 1889"/>
                <a:gd name="T11" fmla="*/ 0 h 801"/>
                <a:gd name="T12" fmla="*/ 0 w 1889"/>
                <a:gd name="T13" fmla="*/ 0 h 801"/>
                <a:gd name="T14" fmla="*/ 0 w 1889"/>
                <a:gd name="T15" fmla="*/ 0 h 801"/>
                <a:gd name="T16" fmla="*/ 0 w 1889"/>
                <a:gd name="T17" fmla="*/ 0 h 801"/>
                <a:gd name="T18" fmla="*/ 0 w 1889"/>
                <a:gd name="T19" fmla="*/ 0 h 801"/>
                <a:gd name="T20" fmla="*/ 0 w 1889"/>
                <a:gd name="T21" fmla="*/ 0 h 801"/>
                <a:gd name="T22" fmla="*/ 0 w 1889"/>
                <a:gd name="T23" fmla="*/ 0 h 801"/>
                <a:gd name="T24" fmla="*/ 0 w 1889"/>
                <a:gd name="T25" fmla="*/ 0 h 801"/>
                <a:gd name="T26" fmla="*/ 0 w 1889"/>
                <a:gd name="T27" fmla="*/ 0 h 801"/>
                <a:gd name="T28" fmla="*/ 0 w 1889"/>
                <a:gd name="T29" fmla="*/ 0 h 801"/>
                <a:gd name="T30" fmla="*/ 0 w 1889"/>
                <a:gd name="T31" fmla="*/ 0 h 801"/>
                <a:gd name="T32" fmla="*/ 0 w 1889"/>
                <a:gd name="T33" fmla="*/ 0 h 801"/>
                <a:gd name="T34" fmla="*/ 0 w 1889"/>
                <a:gd name="T35" fmla="*/ 0 h 801"/>
                <a:gd name="T36" fmla="*/ 0 w 1889"/>
                <a:gd name="T37" fmla="*/ 0 h 801"/>
                <a:gd name="T38" fmla="*/ 0 w 1889"/>
                <a:gd name="T39" fmla="*/ 0 h 801"/>
                <a:gd name="T40" fmla="*/ 0 w 1889"/>
                <a:gd name="T41" fmla="*/ 0 h 801"/>
                <a:gd name="T42" fmla="*/ 0 w 1889"/>
                <a:gd name="T43" fmla="*/ 0 h 801"/>
                <a:gd name="T44" fmla="*/ 0 w 1889"/>
                <a:gd name="T45" fmla="*/ 0 h 801"/>
                <a:gd name="T46" fmla="*/ 0 w 1889"/>
                <a:gd name="T47" fmla="*/ 0 h 801"/>
                <a:gd name="T48" fmla="*/ 0 w 1889"/>
                <a:gd name="T49" fmla="*/ 0 h 801"/>
                <a:gd name="T50" fmla="*/ 0 w 1889"/>
                <a:gd name="T51" fmla="*/ 0 h 801"/>
                <a:gd name="T52" fmla="*/ 0 w 1889"/>
                <a:gd name="T53" fmla="*/ 0 h 801"/>
                <a:gd name="T54" fmla="*/ 0 w 1889"/>
                <a:gd name="T55" fmla="*/ 0 h 801"/>
                <a:gd name="T56" fmla="*/ 0 w 1889"/>
                <a:gd name="T57" fmla="*/ 0 h 801"/>
                <a:gd name="T58" fmla="*/ 0 w 1889"/>
                <a:gd name="T59" fmla="*/ 0 h 801"/>
                <a:gd name="T60" fmla="*/ 0 w 1889"/>
                <a:gd name="T61" fmla="*/ 0 h 801"/>
                <a:gd name="T62" fmla="*/ 0 w 1889"/>
                <a:gd name="T63" fmla="*/ 0 h 801"/>
                <a:gd name="T64" fmla="*/ 0 w 1889"/>
                <a:gd name="T65" fmla="*/ 0 h 801"/>
                <a:gd name="T66" fmla="*/ 0 w 1889"/>
                <a:gd name="T67" fmla="*/ 0 h 801"/>
                <a:gd name="T68" fmla="*/ 0 w 1889"/>
                <a:gd name="T69" fmla="*/ 0 h 801"/>
                <a:gd name="T70" fmla="*/ 0 w 1889"/>
                <a:gd name="T71" fmla="*/ 0 h 801"/>
                <a:gd name="T72" fmla="*/ 0 w 1889"/>
                <a:gd name="T73" fmla="*/ 0 h 801"/>
                <a:gd name="T74" fmla="*/ 0 w 1889"/>
                <a:gd name="T75" fmla="*/ 0 h 801"/>
                <a:gd name="T76" fmla="*/ 0 w 1889"/>
                <a:gd name="T77" fmla="*/ 0 h 801"/>
                <a:gd name="T78" fmla="*/ 0 w 1889"/>
                <a:gd name="T79" fmla="*/ 0 h 801"/>
                <a:gd name="T80" fmla="*/ 0 w 1889"/>
                <a:gd name="T81" fmla="*/ 0 h 801"/>
                <a:gd name="T82" fmla="*/ 0 w 1889"/>
                <a:gd name="T83" fmla="*/ 0 h 801"/>
                <a:gd name="T84" fmla="*/ 0 w 1889"/>
                <a:gd name="T85" fmla="*/ 0 h 801"/>
                <a:gd name="T86" fmla="*/ 0 w 1889"/>
                <a:gd name="T87" fmla="*/ 0 h 801"/>
                <a:gd name="T88" fmla="*/ 0 w 1889"/>
                <a:gd name="T89" fmla="*/ 0 h 801"/>
                <a:gd name="T90" fmla="*/ 0 w 1889"/>
                <a:gd name="T91" fmla="*/ 0 h 801"/>
                <a:gd name="T92" fmla="*/ 0 w 1889"/>
                <a:gd name="T93" fmla="*/ 0 h 801"/>
                <a:gd name="T94" fmla="*/ 0 w 1889"/>
                <a:gd name="T95" fmla="*/ 0 h 801"/>
                <a:gd name="T96" fmla="*/ 0 w 1889"/>
                <a:gd name="T97" fmla="*/ 0 h 801"/>
                <a:gd name="T98" fmla="*/ 0 w 1889"/>
                <a:gd name="T99" fmla="*/ 0 h 801"/>
                <a:gd name="T100" fmla="*/ 0 w 1889"/>
                <a:gd name="T101" fmla="*/ 0 h 801"/>
                <a:gd name="T102" fmla="*/ 0 w 1889"/>
                <a:gd name="T103" fmla="*/ 0 h 801"/>
                <a:gd name="T104" fmla="*/ 0 w 1889"/>
                <a:gd name="T105" fmla="*/ 0 h 801"/>
                <a:gd name="T106" fmla="*/ 0 w 1889"/>
                <a:gd name="T107" fmla="*/ 0 h 801"/>
                <a:gd name="T108" fmla="*/ 0 w 1889"/>
                <a:gd name="T109" fmla="*/ 0 h 801"/>
                <a:gd name="T110" fmla="*/ 0 w 1889"/>
                <a:gd name="T111" fmla="*/ 0 h 801"/>
                <a:gd name="T112" fmla="*/ 0 w 1889"/>
                <a:gd name="T113" fmla="*/ 0 h 801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889"/>
                <a:gd name="T172" fmla="*/ 0 h 801"/>
                <a:gd name="T173" fmla="*/ 1889 w 1889"/>
                <a:gd name="T174" fmla="*/ 801 h 801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889" h="801">
                  <a:moveTo>
                    <a:pt x="1304" y="764"/>
                  </a:moveTo>
                  <a:lnTo>
                    <a:pt x="1300" y="766"/>
                  </a:lnTo>
                  <a:lnTo>
                    <a:pt x="1390" y="705"/>
                  </a:lnTo>
                  <a:cubicBezTo>
                    <a:pt x="1391" y="705"/>
                    <a:pt x="1393" y="704"/>
                    <a:pt x="1395" y="704"/>
                  </a:cubicBezTo>
                  <a:lnTo>
                    <a:pt x="1535" y="704"/>
                  </a:lnTo>
                  <a:lnTo>
                    <a:pt x="1533" y="704"/>
                  </a:lnTo>
                  <a:lnTo>
                    <a:pt x="1649" y="684"/>
                  </a:lnTo>
                  <a:lnTo>
                    <a:pt x="1642" y="692"/>
                  </a:lnTo>
                  <a:lnTo>
                    <a:pt x="1642" y="632"/>
                  </a:lnTo>
                  <a:cubicBezTo>
                    <a:pt x="1642" y="629"/>
                    <a:pt x="1643" y="627"/>
                    <a:pt x="1645" y="626"/>
                  </a:cubicBezTo>
                  <a:lnTo>
                    <a:pt x="1713" y="565"/>
                  </a:lnTo>
                  <a:lnTo>
                    <a:pt x="1711" y="569"/>
                  </a:lnTo>
                  <a:lnTo>
                    <a:pt x="1735" y="469"/>
                  </a:lnTo>
                  <a:lnTo>
                    <a:pt x="1735" y="471"/>
                  </a:lnTo>
                  <a:lnTo>
                    <a:pt x="1735" y="370"/>
                  </a:lnTo>
                  <a:cubicBezTo>
                    <a:pt x="1735" y="367"/>
                    <a:pt x="1737" y="364"/>
                    <a:pt x="1741" y="363"/>
                  </a:cubicBezTo>
                  <a:lnTo>
                    <a:pt x="1856" y="323"/>
                  </a:lnTo>
                  <a:lnTo>
                    <a:pt x="1851" y="328"/>
                  </a:lnTo>
                  <a:lnTo>
                    <a:pt x="1873" y="248"/>
                  </a:lnTo>
                  <a:lnTo>
                    <a:pt x="1876" y="256"/>
                  </a:lnTo>
                  <a:lnTo>
                    <a:pt x="1785" y="196"/>
                  </a:lnTo>
                  <a:cubicBezTo>
                    <a:pt x="1783" y="195"/>
                    <a:pt x="1782" y="192"/>
                    <a:pt x="1782" y="189"/>
                  </a:cubicBezTo>
                  <a:lnTo>
                    <a:pt x="1782" y="69"/>
                  </a:lnTo>
                  <a:lnTo>
                    <a:pt x="1790" y="77"/>
                  </a:lnTo>
                  <a:lnTo>
                    <a:pt x="1557" y="77"/>
                  </a:lnTo>
                  <a:cubicBezTo>
                    <a:pt x="1556" y="77"/>
                    <a:pt x="1555" y="77"/>
                    <a:pt x="1554" y="76"/>
                  </a:cubicBezTo>
                  <a:lnTo>
                    <a:pt x="1346" y="16"/>
                  </a:lnTo>
                  <a:lnTo>
                    <a:pt x="1355" y="12"/>
                  </a:lnTo>
                  <a:lnTo>
                    <a:pt x="1286" y="133"/>
                  </a:lnTo>
                  <a:cubicBezTo>
                    <a:pt x="1285" y="135"/>
                    <a:pt x="1284" y="136"/>
                    <a:pt x="1282" y="137"/>
                  </a:cubicBezTo>
                  <a:lnTo>
                    <a:pt x="1144" y="177"/>
                  </a:lnTo>
                  <a:cubicBezTo>
                    <a:pt x="1142" y="178"/>
                    <a:pt x="1140" y="177"/>
                    <a:pt x="1138" y="176"/>
                  </a:cubicBezTo>
                  <a:lnTo>
                    <a:pt x="1023" y="116"/>
                  </a:lnTo>
                  <a:lnTo>
                    <a:pt x="1035" y="109"/>
                  </a:lnTo>
                  <a:lnTo>
                    <a:pt x="1035" y="169"/>
                  </a:lnTo>
                  <a:cubicBezTo>
                    <a:pt x="1035" y="174"/>
                    <a:pt x="1031" y="177"/>
                    <a:pt x="1027" y="177"/>
                  </a:cubicBezTo>
                  <a:lnTo>
                    <a:pt x="933" y="177"/>
                  </a:lnTo>
                  <a:lnTo>
                    <a:pt x="941" y="172"/>
                  </a:lnTo>
                  <a:lnTo>
                    <a:pt x="916" y="252"/>
                  </a:lnTo>
                  <a:cubicBezTo>
                    <a:pt x="916" y="254"/>
                    <a:pt x="915" y="255"/>
                    <a:pt x="913" y="256"/>
                  </a:cubicBezTo>
                  <a:lnTo>
                    <a:pt x="823" y="317"/>
                  </a:lnTo>
                  <a:lnTo>
                    <a:pt x="825" y="306"/>
                  </a:lnTo>
                  <a:lnTo>
                    <a:pt x="872" y="386"/>
                  </a:lnTo>
                  <a:cubicBezTo>
                    <a:pt x="872" y="388"/>
                    <a:pt x="873" y="389"/>
                    <a:pt x="873" y="390"/>
                  </a:cubicBezTo>
                  <a:lnTo>
                    <a:pt x="873" y="471"/>
                  </a:lnTo>
                  <a:cubicBezTo>
                    <a:pt x="873" y="473"/>
                    <a:pt x="872" y="476"/>
                    <a:pt x="870" y="477"/>
                  </a:cubicBezTo>
                  <a:cubicBezTo>
                    <a:pt x="868" y="479"/>
                    <a:pt x="865" y="479"/>
                    <a:pt x="863" y="479"/>
                  </a:cubicBezTo>
                  <a:lnTo>
                    <a:pt x="701" y="438"/>
                  </a:lnTo>
                  <a:lnTo>
                    <a:pt x="705" y="438"/>
                  </a:lnTo>
                  <a:lnTo>
                    <a:pt x="519" y="499"/>
                  </a:lnTo>
                  <a:lnTo>
                    <a:pt x="402" y="519"/>
                  </a:lnTo>
                  <a:cubicBezTo>
                    <a:pt x="402" y="519"/>
                    <a:pt x="401" y="519"/>
                    <a:pt x="400" y="519"/>
                  </a:cubicBezTo>
                  <a:lnTo>
                    <a:pt x="238" y="499"/>
                  </a:lnTo>
                  <a:lnTo>
                    <a:pt x="242" y="498"/>
                  </a:lnTo>
                  <a:lnTo>
                    <a:pt x="149" y="538"/>
                  </a:lnTo>
                  <a:cubicBezTo>
                    <a:pt x="147" y="539"/>
                    <a:pt x="146" y="539"/>
                    <a:pt x="144" y="539"/>
                  </a:cubicBezTo>
                  <a:lnTo>
                    <a:pt x="29" y="519"/>
                  </a:lnTo>
                  <a:lnTo>
                    <a:pt x="38" y="513"/>
                  </a:lnTo>
                  <a:lnTo>
                    <a:pt x="16" y="613"/>
                  </a:lnTo>
                  <a:lnTo>
                    <a:pt x="13" y="605"/>
                  </a:lnTo>
                  <a:lnTo>
                    <a:pt x="81" y="645"/>
                  </a:lnTo>
                  <a:cubicBezTo>
                    <a:pt x="82" y="645"/>
                    <a:pt x="82" y="645"/>
                    <a:pt x="82" y="646"/>
                  </a:cubicBezTo>
                  <a:lnTo>
                    <a:pt x="129" y="686"/>
                  </a:lnTo>
                  <a:lnTo>
                    <a:pt x="122" y="684"/>
                  </a:lnTo>
                  <a:lnTo>
                    <a:pt x="238" y="664"/>
                  </a:lnTo>
                  <a:cubicBezTo>
                    <a:pt x="242" y="663"/>
                    <a:pt x="246" y="666"/>
                    <a:pt x="247" y="670"/>
                  </a:cubicBezTo>
                  <a:lnTo>
                    <a:pt x="269" y="771"/>
                  </a:lnTo>
                  <a:lnTo>
                    <a:pt x="254" y="769"/>
                  </a:lnTo>
                  <a:lnTo>
                    <a:pt x="278" y="709"/>
                  </a:lnTo>
                  <a:cubicBezTo>
                    <a:pt x="280" y="705"/>
                    <a:pt x="284" y="703"/>
                    <a:pt x="287" y="704"/>
                  </a:cubicBezTo>
                  <a:lnTo>
                    <a:pt x="381" y="724"/>
                  </a:lnTo>
                  <a:lnTo>
                    <a:pt x="374" y="726"/>
                  </a:lnTo>
                  <a:lnTo>
                    <a:pt x="464" y="646"/>
                  </a:lnTo>
                  <a:cubicBezTo>
                    <a:pt x="466" y="645"/>
                    <a:pt x="467" y="644"/>
                    <a:pt x="469" y="644"/>
                  </a:cubicBezTo>
                  <a:lnTo>
                    <a:pt x="677" y="624"/>
                  </a:lnTo>
                  <a:cubicBezTo>
                    <a:pt x="680" y="623"/>
                    <a:pt x="683" y="625"/>
                    <a:pt x="685" y="627"/>
                  </a:cubicBezTo>
                  <a:lnTo>
                    <a:pt x="731" y="687"/>
                  </a:lnTo>
                  <a:lnTo>
                    <a:pt x="727" y="684"/>
                  </a:lnTo>
                  <a:lnTo>
                    <a:pt x="1051" y="765"/>
                  </a:lnTo>
                  <a:cubicBezTo>
                    <a:pt x="1054" y="765"/>
                    <a:pt x="1057" y="769"/>
                    <a:pt x="1057" y="772"/>
                  </a:cubicBezTo>
                  <a:lnTo>
                    <a:pt x="1057" y="792"/>
                  </a:lnTo>
                  <a:lnTo>
                    <a:pt x="1047" y="785"/>
                  </a:lnTo>
                  <a:lnTo>
                    <a:pt x="1140" y="765"/>
                  </a:lnTo>
                  <a:cubicBezTo>
                    <a:pt x="1141" y="764"/>
                    <a:pt x="1142" y="764"/>
                    <a:pt x="1142" y="764"/>
                  </a:cubicBezTo>
                  <a:lnTo>
                    <a:pt x="1304" y="764"/>
                  </a:lnTo>
                  <a:close/>
                  <a:moveTo>
                    <a:pt x="1142" y="780"/>
                  </a:moveTo>
                  <a:lnTo>
                    <a:pt x="1144" y="780"/>
                  </a:lnTo>
                  <a:lnTo>
                    <a:pt x="1050" y="800"/>
                  </a:lnTo>
                  <a:cubicBezTo>
                    <a:pt x="1048" y="801"/>
                    <a:pt x="1046" y="800"/>
                    <a:pt x="1044" y="799"/>
                  </a:cubicBezTo>
                  <a:cubicBezTo>
                    <a:pt x="1042" y="797"/>
                    <a:pt x="1041" y="795"/>
                    <a:pt x="1041" y="792"/>
                  </a:cubicBezTo>
                  <a:lnTo>
                    <a:pt x="1041" y="772"/>
                  </a:lnTo>
                  <a:lnTo>
                    <a:pt x="1047" y="780"/>
                  </a:lnTo>
                  <a:lnTo>
                    <a:pt x="723" y="700"/>
                  </a:lnTo>
                  <a:cubicBezTo>
                    <a:pt x="721" y="699"/>
                    <a:pt x="720" y="698"/>
                    <a:pt x="719" y="697"/>
                  </a:cubicBezTo>
                  <a:lnTo>
                    <a:pt x="672" y="637"/>
                  </a:lnTo>
                  <a:lnTo>
                    <a:pt x="679" y="640"/>
                  </a:lnTo>
                  <a:lnTo>
                    <a:pt x="470" y="660"/>
                  </a:lnTo>
                  <a:lnTo>
                    <a:pt x="475" y="658"/>
                  </a:lnTo>
                  <a:lnTo>
                    <a:pt x="384" y="738"/>
                  </a:lnTo>
                  <a:cubicBezTo>
                    <a:pt x="382" y="740"/>
                    <a:pt x="380" y="741"/>
                    <a:pt x="377" y="740"/>
                  </a:cubicBezTo>
                  <a:lnTo>
                    <a:pt x="284" y="720"/>
                  </a:lnTo>
                  <a:lnTo>
                    <a:pt x="293" y="715"/>
                  </a:lnTo>
                  <a:lnTo>
                    <a:pt x="268" y="775"/>
                  </a:lnTo>
                  <a:cubicBezTo>
                    <a:pt x="267" y="779"/>
                    <a:pt x="264" y="781"/>
                    <a:pt x="260" y="780"/>
                  </a:cubicBezTo>
                  <a:cubicBezTo>
                    <a:pt x="257" y="780"/>
                    <a:pt x="254" y="777"/>
                    <a:pt x="253" y="774"/>
                  </a:cubicBezTo>
                  <a:lnTo>
                    <a:pt x="231" y="674"/>
                  </a:lnTo>
                  <a:lnTo>
                    <a:pt x="240" y="680"/>
                  </a:lnTo>
                  <a:lnTo>
                    <a:pt x="125" y="700"/>
                  </a:lnTo>
                  <a:cubicBezTo>
                    <a:pt x="123" y="700"/>
                    <a:pt x="120" y="700"/>
                    <a:pt x="119" y="698"/>
                  </a:cubicBezTo>
                  <a:lnTo>
                    <a:pt x="72" y="658"/>
                  </a:lnTo>
                  <a:lnTo>
                    <a:pt x="73" y="659"/>
                  </a:lnTo>
                  <a:lnTo>
                    <a:pt x="4" y="618"/>
                  </a:lnTo>
                  <a:cubicBezTo>
                    <a:pt x="1" y="617"/>
                    <a:pt x="0" y="613"/>
                    <a:pt x="1" y="610"/>
                  </a:cubicBezTo>
                  <a:lnTo>
                    <a:pt x="23" y="509"/>
                  </a:lnTo>
                  <a:cubicBezTo>
                    <a:pt x="24" y="505"/>
                    <a:pt x="28" y="502"/>
                    <a:pt x="32" y="503"/>
                  </a:cubicBezTo>
                  <a:lnTo>
                    <a:pt x="147" y="523"/>
                  </a:lnTo>
                  <a:lnTo>
                    <a:pt x="143" y="524"/>
                  </a:lnTo>
                  <a:lnTo>
                    <a:pt x="236" y="484"/>
                  </a:lnTo>
                  <a:cubicBezTo>
                    <a:pt x="237" y="483"/>
                    <a:pt x="239" y="483"/>
                    <a:pt x="240" y="483"/>
                  </a:cubicBezTo>
                  <a:lnTo>
                    <a:pt x="402" y="503"/>
                  </a:lnTo>
                  <a:lnTo>
                    <a:pt x="400" y="503"/>
                  </a:lnTo>
                  <a:lnTo>
                    <a:pt x="514" y="483"/>
                  </a:lnTo>
                  <a:lnTo>
                    <a:pt x="700" y="423"/>
                  </a:lnTo>
                  <a:cubicBezTo>
                    <a:pt x="702" y="423"/>
                    <a:pt x="703" y="422"/>
                    <a:pt x="705" y="423"/>
                  </a:cubicBezTo>
                  <a:lnTo>
                    <a:pt x="867" y="463"/>
                  </a:lnTo>
                  <a:lnTo>
                    <a:pt x="857" y="471"/>
                  </a:lnTo>
                  <a:lnTo>
                    <a:pt x="857" y="390"/>
                  </a:lnTo>
                  <a:lnTo>
                    <a:pt x="858" y="394"/>
                  </a:lnTo>
                  <a:lnTo>
                    <a:pt x="811" y="314"/>
                  </a:lnTo>
                  <a:cubicBezTo>
                    <a:pt x="809" y="310"/>
                    <a:pt x="810" y="306"/>
                    <a:pt x="814" y="303"/>
                  </a:cubicBezTo>
                  <a:lnTo>
                    <a:pt x="904" y="243"/>
                  </a:lnTo>
                  <a:lnTo>
                    <a:pt x="901" y="247"/>
                  </a:lnTo>
                  <a:lnTo>
                    <a:pt x="926" y="167"/>
                  </a:lnTo>
                  <a:cubicBezTo>
                    <a:pt x="927" y="164"/>
                    <a:pt x="930" y="161"/>
                    <a:pt x="933" y="161"/>
                  </a:cubicBezTo>
                  <a:lnTo>
                    <a:pt x="1027" y="161"/>
                  </a:lnTo>
                  <a:lnTo>
                    <a:pt x="1019" y="169"/>
                  </a:lnTo>
                  <a:lnTo>
                    <a:pt x="1019" y="109"/>
                  </a:lnTo>
                  <a:cubicBezTo>
                    <a:pt x="1019" y="106"/>
                    <a:pt x="1020" y="104"/>
                    <a:pt x="1023" y="102"/>
                  </a:cubicBezTo>
                  <a:cubicBezTo>
                    <a:pt x="1025" y="101"/>
                    <a:pt x="1028" y="101"/>
                    <a:pt x="1031" y="102"/>
                  </a:cubicBezTo>
                  <a:lnTo>
                    <a:pt x="1146" y="162"/>
                  </a:lnTo>
                  <a:lnTo>
                    <a:pt x="1140" y="162"/>
                  </a:lnTo>
                  <a:lnTo>
                    <a:pt x="1277" y="121"/>
                  </a:lnTo>
                  <a:lnTo>
                    <a:pt x="1272" y="125"/>
                  </a:lnTo>
                  <a:lnTo>
                    <a:pt x="1341" y="5"/>
                  </a:lnTo>
                  <a:cubicBezTo>
                    <a:pt x="1343" y="1"/>
                    <a:pt x="1347" y="0"/>
                    <a:pt x="1350" y="1"/>
                  </a:cubicBezTo>
                  <a:lnTo>
                    <a:pt x="1559" y="61"/>
                  </a:lnTo>
                  <a:lnTo>
                    <a:pt x="1557" y="61"/>
                  </a:lnTo>
                  <a:lnTo>
                    <a:pt x="1790" y="61"/>
                  </a:lnTo>
                  <a:cubicBezTo>
                    <a:pt x="1794" y="61"/>
                    <a:pt x="1798" y="64"/>
                    <a:pt x="1798" y="69"/>
                  </a:cubicBezTo>
                  <a:lnTo>
                    <a:pt x="1798" y="189"/>
                  </a:lnTo>
                  <a:lnTo>
                    <a:pt x="1794" y="183"/>
                  </a:lnTo>
                  <a:lnTo>
                    <a:pt x="1885" y="243"/>
                  </a:lnTo>
                  <a:cubicBezTo>
                    <a:pt x="1888" y="245"/>
                    <a:pt x="1889" y="248"/>
                    <a:pt x="1888" y="252"/>
                  </a:cubicBezTo>
                  <a:lnTo>
                    <a:pt x="1866" y="332"/>
                  </a:lnTo>
                  <a:cubicBezTo>
                    <a:pt x="1866" y="335"/>
                    <a:pt x="1864" y="337"/>
                    <a:pt x="1861" y="338"/>
                  </a:cubicBezTo>
                  <a:lnTo>
                    <a:pt x="1746" y="378"/>
                  </a:lnTo>
                  <a:lnTo>
                    <a:pt x="1751" y="370"/>
                  </a:lnTo>
                  <a:lnTo>
                    <a:pt x="1751" y="471"/>
                  </a:lnTo>
                  <a:cubicBezTo>
                    <a:pt x="1751" y="471"/>
                    <a:pt x="1751" y="472"/>
                    <a:pt x="1751" y="473"/>
                  </a:cubicBezTo>
                  <a:lnTo>
                    <a:pt x="1726" y="573"/>
                  </a:lnTo>
                  <a:cubicBezTo>
                    <a:pt x="1726" y="575"/>
                    <a:pt x="1725" y="576"/>
                    <a:pt x="1724" y="577"/>
                  </a:cubicBezTo>
                  <a:lnTo>
                    <a:pt x="1655" y="638"/>
                  </a:lnTo>
                  <a:lnTo>
                    <a:pt x="1658" y="632"/>
                  </a:lnTo>
                  <a:lnTo>
                    <a:pt x="1658" y="692"/>
                  </a:lnTo>
                  <a:cubicBezTo>
                    <a:pt x="1658" y="696"/>
                    <a:pt x="1655" y="699"/>
                    <a:pt x="1651" y="700"/>
                  </a:cubicBezTo>
                  <a:lnTo>
                    <a:pt x="1536" y="720"/>
                  </a:lnTo>
                  <a:cubicBezTo>
                    <a:pt x="1536" y="720"/>
                    <a:pt x="1535" y="720"/>
                    <a:pt x="1535" y="720"/>
                  </a:cubicBezTo>
                  <a:lnTo>
                    <a:pt x="1395" y="720"/>
                  </a:lnTo>
                  <a:lnTo>
                    <a:pt x="1399" y="719"/>
                  </a:lnTo>
                  <a:lnTo>
                    <a:pt x="1308" y="779"/>
                  </a:lnTo>
                  <a:cubicBezTo>
                    <a:pt x="1307" y="780"/>
                    <a:pt x="1306" y="780"/>
                    <a:pt x="1304" y="780"/>
                  </a:cubicBezTo>
                  <a:lnTo>
                    <a:pt x="1142" y="780"/>
                  </a:lnTo>
                  <a:close/>
                </a:path>
              </a:pathLst>
            </a:custGeom>
            <a:solidFill>
              <a:srgbClr val="000000"/>
            </a:solidFill>
            <a:ln w="0" cap="flat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245" name="Rectangle 212"/>
            <p:cNvSpPr>
              <a:spLocks noChangeArrowheads="1"/>
            </p:cNvSpPr>
            <p:nvPr/>
          </p:nvSpPr>
          <p:spPr bwMode="auto">
            <a:xfrm>
              <a:off x="3866" y="2370"/>
              <a:ext cx="63" cy="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sz="500" b="1">
                  <a:solidFill>
                    <a:srgbClr val="000000"/>
                  </a:solidFill>
                </a:rPr>
                <a:t>AT </a:t>
              </a:r>
              <a:endParaRPr lang="de-DE"/>
            </a:p>
          </p:txBody>
        </p:sp>
        <p:sp>
          <p:nvSpPr>
            <p:cNvPr id="7246" name="Rectangle 213"/>
            <p:cNvSpPr>
              <a:spLocks noChangeArrowheads="1"/>
            </p:cNvSpPr>
            <p:nvPr/>
          </p:nvSpPr>
          <p:spPr bwMode="auto">
            <a:xfrm>
              <a:off x="3902" y="2467"/>
              <a:ext cx="38" cy="47"/>
            </a:xfrm>
            <a:prstGeom prst="rect">
              <a:avLst/>
            </a:prstGeom>
            <a:solidFill>
              <a:srgbClr val="FFC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sz="500" b="1">
                  <a:solidFill>
                    <a:srgbClr val="000000"/>
                  </a:solidFill>
                </a:rPr>
                <a:t>SI</a:t>
              </a:r>
              <a:endParaRPr lang="de-DE"/>
            </a:p>
          </p:txBody>
        </p:sp>
        <p:sp>
          <p:nvSpPr>
            <p:cNvPr id="7247" name="Freeform 214"/>
            <p:cNvSpPr>
              <a:spLocks noEditPoints="1"/>
            </p:cNvSpPr>
            <p:nvPr/>
          </p:nvSpPr>
          <p:spPr bwMode="auto">
            <a:xfrm>
              <a:off x="4230" y="2708"/>
              <a:ext cx="142" cy="218"/>
            </a:xfrm>
            <a:custGeom>
              <a:avLst/>
              <a:gdLst>
                <a:gd name="T0" fmla="*/ 0 w 593"/>
                <a:gd name="T1" fmla="*/ 0 h 913"/>
                <a:gd name="T2" fmla="*/ 0 w 593"/>
                <a:gd name="T3" fmla="*/ 0 h 913"/>
                <a:gd name="T4" fmla="*/ 0 w 593"/>
                <a:gd name="T5" fmla="*/ 0 h 913"/>
                <a:gd name="T6" fmla="*/ 0 w 593"/>
                <a:gd name="T7" fmla="*/ 0 h 913"/>
                <a:gd name="T8" fmla="*/ 0 w 593"/>
                <a:gd name="T9" fmla="*/ 0 h 913"/>
                <a:gd name="T10" fmla="*/ 0 w 593"/>
                <a:gd name="T11" fmla="*/ 0 h 913"/>
                <a:gd name="T12" fmla="*/ 0 w 593"/>
                <a:gd name="T13" fmla="*/ 0 h 913"/>
                <a:gd name="T14" fmla="*/ 0 w 593"/>
                <a:gd name="T15" fmla="*/ 0 h 913"/>
                <a:gd name="T16" fmla="*/ 0 w 593"/>
                <a:gd name="T17" fmla="*/ 0 h 913"/>
                <a:gd name="T18" fmla="*/ 0 w 593"/>
                <a:gd name="T19" fmla="*/ 0 h 913"/>
                <a:gd name="T20" fmla="*/ 0 w 593"/>
                <a:gd name="T21" fmla="*/ 0 h 913"/>
                <a:gd name="T22" fmla="*/ 0 w 593"/>
                <a:gd name="T23" fmla="*/ 0 h 913"/>
                <a:gd name="T24" fmla="*/ 0 w 593"/>
                <a:gd name="T25" fmla="*/ 0 h 913"/>
                <a:gd name="T26" fmla="*/ 0 w 593"/>
                <a:gd name="T27" fmla="*/ 0 h 913"/>
                <a:gd name="T28" fmla="*/ 0 w 593"/>
                <a:gd name="T29" fmla="*/ 0 h 913"/>
                <a:gd name="T30" fmla="*/ 0 w 593"/>
                <a:gd name="T31" fmla="*/ 0 h 913"/>
                <a:gd name="T32" fmla="*/ 0 w 593"/>
                <a:gd name="T33" fmla="*/ 0 h 913"/>
                <a:gd name="T34" fmla="*/ 0 w 593"/>
                <a:gd name="T35" fmla="*/ 0 h 913"/>
                <a:gd name="T36" fmla="*/ 0 w 593"/>
                <a:gd name="T37" fmla="*/ 0 h 913"/>
                <a:gd name="T38" fmla="*/ 0 w 593"/>
                <a:gd name="T39" fmla="*/ 0 h 913"/>
                <a:gd name="T40" fmla="*/ 0 w 593"/>
                <a:gd name="T41" fmla="*/ 0 h 913"/>
                <a:gd name="T42" fmla="*/ 0 w 593"/>
                <a:gd name="T43" fmla="*/ 0 h 913"/>
                <a:gd name="T44" fmla="*/ 0 w 593"/>
                <a:gd name="T45" fmla="*/ 0 h 913"/>
                <a:gd name="T46" fmla="*/ 0 w 593"/>
                <a:gd name="T47" fmla="*/ 0 h 913"/>
                <a:gd name="T48" fmla="*/ 0 w 593"/>
                <a:gd name="T49" fmla="*/ 0 h 913"/>
                <a:gd name="T50" fmla="*/ 0 w 593"/>
                <a:gd name="T51" fmla="*/ 0 h 913"/>
                <a:gd name="T52" fmla="*/ 0 w 593"/>
                <a:gd name="T53" fmla="*/ 0 h 913"/>
                <a:gd name="T54" fmla="*/ 0 w 593"/>
                <a:gd name="T55" fmla="*/ 0 h 913"/>
                <a:gd name="T56" fmla="*/ 0 w 593"/>
                <a:gd name="T57" fmla="*/ 0 h 913"/>
                <a:gd name="T58" fmla="*/ 0 w 593"/>
                <a:gd name="T59" fmla="*/ 0 h 913"/>
                <a:gd name="T60" fmla="*/ 0 w 593"/>
                <a:gd name="T61" fmla="*/ 0 h 913"/>
                <a:gd name="T62" fmla="*/ 0 w 593"/>
                <a:gd name="T63" fmla="*/ 0 h 913"/>
                <a:gd name="T64" fmla="*/ 0 w 593"/>
                <a:gd name="T65" fmla="*/ 0 h 913"/>
                <a:gd name="T66" fmla="*/ 0 w 593"/>
                <a:gd name="T67" fmla="*/ 0 h 913"/>
                <a:gd name="T68" fmla="*/ 0 w 593"/>
                <a:gd name="T69" fmla="*/ 0 h 913"/>
                <a:gd name="T70" fmla="*/ 0 w 593"/>
                <a:gd name="T71" fmla="*/ 0 h 913"/>
                <a:gd name="T72" fmla="*/ 0 w 593"/>
                <a:gd name="T73" fmla="*/ 0 h 913"/>
                <a:gd name="T74" fmla="*/ 0 w 593"/>
                <a:gd name="T75" fmla="*/ 0 h 913"/>
                <a:gd name="T76" fmla="*/ 0 w 593"/>
                <a:gd name="T77" fmla="*/ 0 h 913"/>
                <a:gd name="T78" fmla="*/ 0 w 593"/>
                <a:gd name="T79" fmla="*/ 0 h 913"/>
                <a:gd name="T80" fmla="*/ 0 w 593"/>
                <a:gd name="T81" fmla="*/ 0 h 913"/>
                <a:gd name="T82" fmla="*/ 0 w 593"/>
                <a:gd name="T83" fmla="*/ 0 h 913"/>
                <a:gd name="T84" fmla="*/ 0 w 593"/>
                <a:gd name="T85" fmla="*/ 0 h 913"/>
                <a:gd name="T86" fmla="*/ 0 w 593"/>
                <a:gd name="T87" fmla="*/ 0 h 913"/>
                <a:gd name="T88" fmla="*/ 0 w 593"/>
                <a:gd name="T89" fmla="*/ 0 h 913"/>
                <a:gd name="T90" fmla="*/ 0 w 593"/>
                <a:gd name="T91" fmla="*/ 0 h 913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593"/>
                <a:gd name="T139" fmla="*/ 0 h 913"/>
                <a:gd name="T140" fmla="*/ 593 w 593"/>
                <a:gd name="T141" fmla="*/ 913 h 913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593" h="913">
                  <a:moveTo>
                    <a:pt x="415" y="782"/>
                  </a:moveTo>
                  <a:cubicBezTo>
                    <a:pt x="415" y="779"/>
                    <a:pt x="417" y="776"/>
                    <a:pt x="419" y="775"/>
                  </a:cubicBezTo>
                  <a:lnTo>
                    <a:pt x="513" y="734"/>
                  </a:lnTo>
                  <a:lnTo>
                    <a:pt x="508" y="742"/>
                  </a:lnTo>
                  <a:lnTo>
                    <a:pt x="508" y="640"/>
                  </a:lnTo>
                  <a:cubicBezTo>
                    <a:pt x="508" y="637"/>
                    <a:pt x="509" y="634"/>
                    <a:pt x="512" y="633"/>
                  </a:cubicBezTo>
                  <a:lnTo>
                    <a:pt x="580" y="592"/>
                  </a:lnTo>
                  <a:lnTo>
                    <a:pt x="577" y="602"/>
                  </a:lnTo>
                  <a:lnTo>
                    <a:pt x="533" y="500"/>
                  </a:lnTo>
                  <a:lnTo>
                    <a:pt x="538" y="505"/>
                  </a:lnTo>
                  <a:lnTo>
                    <a:pt x="467" y="485"/>
                  </a:lnTo>
                  <a:cubicBezTo>
                    <a:pt x="466" y="484"/>
                    <a:pt x="464" y="483"/>
                    <a:pt x="463" y="482"/>
                  </a:cubicBezTo>
                  <a:lnTo>
                    <a:pt x="395" y="401"/>
                  </a:lnTo>
                  <a:cubicBezTo>
                    <a:pt x="394" y="399"/>
                    <a:pt x="393" y="398"/>
                    <a:pt x="393" y="397"/>
                  </a:cubicBezTo>
                  <a:lnTo>
                    <a:pt x="371" y="254"/>
                  </a:lnTo>
                  <a:cubicBezTo>
                    <a:pt x="371" y="254"/>
                    <a:pt x="371" y="253"/>
                    <a:pt x="371" y="253"/>
                  </a:cubicBezTo>
                  <a:lnTo>
                    <a:pt x="371" y="192"/>
                  </a:lnTo>
                  <a:lnTo>
                    <a:pt x="373" y="197"/>
                  </a:lnTo>
                  <a:lnTo>
                    <a:pt x="280" y="95"/>
                  </a:lnTo>
                  <a:lnTo>
                    <a:pt x="234" y="55"/>
                  </a:lnTo>
                  <a:lnTo>
                    <a:pt x="239" y="57"/>
                  </a:lnTo>
                  <a:lnTo>
                    <a:pt x="170" y="57"/>
                  </a:lnTo>
                  <a:cubicBezTo>
                    <a:pt x="169" y="57"/>
                    <a:pt x="168" y="57"/>
                    <a:pt x="167" y="57"/>
                  </a:cubicBezTo>
                  <a:lnTo>
                    <a:pt x="74" y="16"/>
                  </a:lnTo>
                  <a:lnTo>
                    <a:pt x="85" y="11"/>
                  </a:lnTo>
                  <a:lnTo>
                    <a:pt x="16" y="195"/>
                  </a:lnTo>
                  <a:lnTo>
                    <a:pt x="16" y="192"/>
                  </a:lnTo>
                  <a:lnTo>
                    <a:pt x="16" y="212"/>
                  </a:lnTo>
                  <a:lnTo>
                    <a:pt x="12" y="205"/>
                  </a:lnTo>
                  <a:lnTo>
                    <a:pt x="58" y="225"/>
                  </a:lnTo>
                  <a:cubicBezTo>
                    <a:pt x="59" y="225"/>
                    <a:pt x="60" y="226"/>
                    <a:pt x="61" y="227"/>
                  </a:cubicBezTo>
                  <a:lnTo>
                    <a:pt x="104" y="267"/>
                  </a:lnTo>
                  <a:cubicBezTo>
                    <a:pt x="106" y="269"/>
                    <a:pt x="107" y="271"/>
                    <a:pt x="107" y="273"/>
                  </a:cubicBezTo>
                  <a:lnTo>
                    <a:pt x="107" y="314"/>
                  </a:lnTo>
                  <a:lnTo>
                    <a:pt x="107" y="416"/>
                  </a:lnTo>
                  <a:lnTo>
                    <a:pt x="132" y="639"/>
                  </a:lnTo>
                  <a:lnTo>
                    <a:pt x="130" y="635"/>
                  </a:lnTo>
                  <a:lnTo>
                    <a:pt x="199" y="737"/>
                  </a:lnTo>
                  <a:lnTo>
                    <a:pt x="197" y="735"/>
                  </a:lnTo>
                  <a:lnTo>
                    <a:pt x="312" y="816"/>
                  </a:lnTo>
                  <a:cubicBezTo>
                    <a:pt x="313" y="817"/>
                    <a:pt x="313" y="817"/>
                    <a:pt x="313" y="818"/>
                  </a:cubicBezTo>
                  <a:lnTo>
                    <a:pt x="385" y="899"/>
                  </a:lnTo>
                  <a:lnTo>
                    <a:pt x="375" y="897"/>
                  </a:lnTo>
                  <a:lnTo>
                    <a:pt x="419" y="877"/>
                  </a:lnTo>
                  <a:lnTo>
                    <a:pt x="415" y="884"/>
                  </a:lnTo>
                  <a:lnTo>
                    <a:pt x="415" y="782"/>
                  </a:lnTo>
                  <a:close/>
                  <a:moveTo>
                    <a:pt x="431" y="884"/>
                  </a:moveTo>
                  <a:cubicBezTo>
                    <a:pt x="431" y="887"/>
                    <a:pt x="429" y="890"/>
                    <a:pt x="426" y="891"/>
                  </a:cubicBezTo>
                  <a:lnTo>
                    <a:pt x="382" y="912"/>
                  </a:lnTo>
                  <a:cubicBezTo>
                    <a:pt x="379" y="913"/>
                    <a:pt x="375" y="912"/>
                    <a:pt x="373" y="910"/>
                  </a:cubicBezTo>
                  <a:lnTo>
                    <a:pt x="301" y="828"/>
                  </a:lnTo>
                  <a:lnTo>
                    <a:pt x="303" y="830"/>
                  </a:lnTo>
                  <a:lnTo>
                    <a:pt x="188" y="748"/>
                  </a:lnTo>
                  <a:cubicBezTo>
                    <a:pt x="187" y="748"/>
                    <a:pt x="186" y="747"/>
                    <a:pt x="186" y="746"/>
                  </a:cubicBezTo>
                  <a:lnTo>
                    <a:pt x="117" y="644"/>
                  </a:lnTo>
                  <a:cubicBezTo>
                    <a:pt x="116" y="643"/>
                    <a:pt x="116" y="642"/>
                    <a:pt x="116" y="641"/>
                  </a:cubicBezTo>
                  <a:lnTo>
                    <a:pt x="91" y="416"/>
                  </a:lnTo>
                  <a:lnTo>
                    <a:pt x="91" y="314"/>
                  </a:lnTo>
                  <a:lnTo>
                    <a:pt x="91" y="273"/>
                  </a:lnTo>
                  <a:lnTo>
                    <a:pt x="94" y="279"/>
                  </a:lnTo>
                  <a:lnTo>
                    <a:pt x="50" y="238"/>
                  </a:lnTo>
                  <a:lnTo>
                    <a:pt x="52" y="240"/>
                  </a:lnTo>
                  <a:lnTo>
                    <a:pt x="5" y="219"/>
                  </a:lnTo>
                  <a:cubicBezTo>
                    <a:pt x="2" y="218"/>
                    <a:pt x="0" y="215"/>
                    <a:pt x="0" y="212"/>
                  </a:cubicBezTo>
                  <a:lnTo>
                    <a:pt x="0" y="192"/>
                  </a:lnTo>
                  <a:cubicBezTo>
                    <a:pt x="0" y="191"/>
                    <a:pt x="1" y="190"/>
                    <a:pt x="1" y="189"/>
                  </a:cubicBezTo>
                  <a:lnTo>
                    <a:pt x="70" y="6"/>
                  </a:lnTo>
                  <a:cubicBezTo>
                    <a:pt x="70" y="4"/>
                    <a:pt x="72" y="2"/>
                    <a:pt x="74" y="1"/>
                  </a:cubicBezTo>
                  <a:cubicBezTo>
                    <a:pt x="76" y="0"/>
                    <a:pt x="78" y="0"/>
                    <a:pt x="80" y="1"/>
                  </a:cubicBezTo>
                  <a:lnTo>
                    <a:pt x="173" y="42"/>
                  </a:lnTo>
                  <a:lnTo>
                    <a:pt x="170" y="41"/>
                  </a:lnTo>
                  <a:lnTo>
                    <a:pt x="239" y="41"/>
                  </a:lnTo>
                  <a:cubicBezTo>
                    <a:pt x="241" y="41"/>
                    <a:pt x="243" y="42"/>
                    <a:pt x="244" y="43"/>
                  </a:cubicBezTo>
                  <a:lnTo>
                    <a:pt x="291" y="85"/>
                  </a:lnTo>
                  <a:lnTo>
                    <a:pt x="385" y="186"/>
                  </a:lnTo>
                  <a:cubicBezTo>
                    <a:pt x="386" y="188"/>
                    <a:pt x="387" y="190"/>
                    <a:pt x="387" y="192"/>
                  </a:cubicBezTo>
                  <a:lnTo>
                    <a:pt x="387" y="253"/>
                  </a:lnTo>
                  <a:lnTo>
                    <a:pt x="387" y="252"/>
                  </a:lnTo>
                  <a:lnTo>
                    <a:pt x="409" y="394"/>
                  </a:lnTo>
                  <a:lnTo>
                    <a:pt x="407" y="390"/>
                  </a:lnTo>
                  <a:lnTo>
                    <a:pt x="475" y="472"/>
                  </a:lnTo>
                  <a:lnTo>
                    <a:pt x="471" y="469"/>
                  </a:lnTo>
                  <a:lnTo>
                    <a:pt x="543" y="489"/>
                  </a:lnTo>
                  <a:cubicBezTo>
                    <a:pt x="545" y="490"/>
                    <a:pt x="547" y="492"/>
                    <a:pt x="548" y="494"/>
                  </a:cubicBezTo>
                  <a:lnTo>
                    <a:pt x="592" y="596"/>
                  </a:lnTo>
                  <a:cubicBezTo>
                    <a:pt x="593" y="600"/>
                    <a:pt x="592" y="604"/>
                    <a:pt x="589" y="606"/>
                  </a:cubicBezTo>
                  <a:lnTo>
                    <a:pt x="520" y="647"/>
                  </a:lnTo>
                  <a:lnTo>
                    <a:pt x="524" y="640"/>
                  </a:lnTo>
                  <a:lnTo>
                    <a:pt x="524" y="742"/>
                  </a:lnTo>
                  <a:cubicBezTo>
                    <a:pt x="524" y="745"/>
                    <a:pt x="522" y="748"/>
                    <a:pt x="519" y="749"/>
                  </a:cubicBezTo>
                  <a:lnTo>
                    <a:pt x="426" y="790"/>
                  </a:lnTo>
                  <a:lnTo>
                    <a:pt x="431" y="782"/>
                  </a:lnTo>
                  <a:lnTo>
                    <a:pt x="431" y="884"/>
                  </a:lnTo>
                  <a:close/>
                </a:path>
              </a:pathLst>
            </a:custGeom>
            <a:solidFill>
              <a:srgbClr val="000000"/>
            </a:solidFill>
            <a:ln w="0" cap="flat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248" name="Rectangle 215"/>
            <p:cNvSpPr>
              <a:spLocks noChangeArrowheads="1"/>
            </p:cNvSpPr>
            <p:nvPr/>
          </p:nvSpPr>
          <p:spPr bwMode="auto">
            <a:xfrm>
              <a:off x="4289" y="2835"/>
              <a:ext cx="53" cy="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sz="500" b="1">
                  <a:solidFill>
                    <a:srgbClr val="000000"/>
                  </a:solidFill>
                </a:rPr>
                <a:t>AL</a:t>
              </a:r>
              <a:endParaRPr lang="de-DE"/>
            </a:p>
          </p:txBody>
        </p:sp>
        <p:sp>
          <p:nvSpPr>
            <p:cNvPr id="7249" name="Freeform 216"/>
            <p:cNvSpPr>
              <a:spLocks/>
            </p:cNvSpPr>
            <p:nvPr/>
          </p:nvSpPr>
          <p:spPr bwMode="auto">
            <a:xfrm>
              <a:off x="4618" y="3214"/>
              <a:ext cx="207" cy="42"/>
            </a:xfrm>
            <a:custGeom>
              <a:avLst/>
              <a:gdLst>
                <a:gd name="T0" fmla="*/ 0 w 196"/>
                <a:gd name="T1" fmla="*/ 25 h 40"/>
                <a:gd name="T2" fmla="*/ 5 w 196"/>
                <a:gd name="T3" fmla="*/ 57 h 40"/>
                <a:gd name="T4" fmla="*/ 39 w 196"/>
                <a:gd name="T5" fmla="*/ 65 h 40"/>
                <a:gd name="T6" fmla="*/ 83 w 196"/>
                <a:gd name="T7" fmla="*/ 65 h 40"/>
                <a:gd name="T8" fmla="*/ 154 w 196"/>
                <a:gd name="T9" fmla="*/ 57 h 40"/>
                <a:gd name="T10" fmla="*/ 174 w 196"/>
                <a:gd name="T11" fmla="*/ 57 h 40"/>
                <a:gd name="T12" fmla="*/ 174 w 196"/>
                <a:gd name="T13" fmla="*/ 71 h 40"/>
                <a:gd name="T14" fmla="*/ 237 w 196"/>
                <a:gd name="T15" fmla="*/ 71 h 40"/>
                <a:gd name="T16" fmla="*/ 266 w 196"/>
                <a:gd name="T17" fmla="*/ 57 h 40"/>
                <a:gd name="T18" fmla="*/ 305 w 196"/>
                <a:gd name="T19" fmla="*/ 57 h 40"/>
                <a:gd name="T20" fmla="*/ 338 w 196"/>
                <a:gd name="T21" fmla="*/ 38 h 40"/>
                <a:gd name="T22" fmla="*/ 377 w 196"/>
                <a:gd name="T23" fmla="*/ 30 h 40"/>
                <a:gd name="T24" fmla="*/ 377 w 196"/>
                <a:gd name="T25" fmla="*/ 0 h 40"/>
                <a:gd name="T26" fmla="*/ 350 w 196"/>
                <a:gd name="T27" fmla="*/ 9 h 40"/>
                <a:gd name="T28" fmla="*/ 330 w 196"/>
                <a:gd name="T29" fmla="*/ 25 h 40"/>
                <a:gd name="T30" fmla="*/ 305 w 196"/>
                <a:gd name="T31" fmla="*/ 25 h 40"/>
                <a:gd name="T32" fmla="*/ 297 w 196"/>
                <a:gd name="T33" fmla="*/ 4 h 40"/>
                <a:gd name="T34" fmla="*/ 266 w 196"/>
                <a:gd name="T35" fmla="*/ 9 h 40"/>
                <a:gd name="T36" fmla="*/ 204 w 196"/>
                <a:gd name="T37" fmla="*/ 25 h 40"/>
                <a:gd name="T38" fmla="*/ 204 w 196"/>
                <a:gd name="T39" fmla="*/ 4 h 40"/>
                <a:gd name="T40" fmla="*/ 101 w 196"/>
                <a:gd name="T41" fmla="*/ 38 h 40"/>
                <a:gd name="T42" fmla="*/ 93 w 196"/>
                <a:gd name="T43" fmla="*/ 9 h 40"/>
                <a:gd name="T44" fmla="*/ 71 w 196"/>
                <a:gd name="T45" fmla="*/ 4 h 40"/>
                <a:gd name="T46" fmla="*/ 71 w 196"/>
                <a:gd name="T47" fmla="*/ 25 h 40"/>
                <a:gd name="T48" fmla="*/ 39 w 196"/>
                <a:gd name="T49" fmla="*/ 25 h 40"/>
                <a:gd name="T50" fmla="*/ 22 w 196"/>
                <a:gd name="T51" fmla="*/ 0 h 40"/>
                <a:gd name="T52" fmla="*/ 22 w 196"/>
                <a:gd name="T53" fmla="*/ 9 h 40"/>
                <a:gd name="T54" fmla="*/ 0 w 196"/>
                <a:gd name="T55" fmla="*/ 25 h 4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96"/>
                <a:gd name="T85" fmla="*/ 0 h 40"/>
                <a:gd name="T86" fmla="*/ 196 w 196"/>
                <a:gd name="T87" fmla="*/ 40 h 40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96" h="40">
                  <a:moveTo>
                    <a:pt x="0" y="13"/>
                  </a:moveTo>
                  <a:lnTo>
                    <a:pt x="5" y="31"/>
                  </a:lnTo>
                  <a:lnTo>
                    <a:pt x="21" y="36"/>
                  </a:lnTo>
                  <a:lnTo>
                    <a:pt x="43" y="36"/>
                  </a:lnTo>
                  <a:lnTo>
                    <a:pt x="80" y="31"/>
                  </a:lnTo>
                  <a:lnTo>
                    <a:pt x="91" y="31"/>
                  </a:lnTo>
                  <a:lnTo>
                    <a:pt x="91" y="40"/>
                  </a:lnTo>
                  <a:lnTo>
                    <a:pt x="122" y="40"/>
                  </a:lnTo>
                  <a:lnTo>
                    <a:pt x="138" y="31"/>
                  </a:lnTo>
                  <a:lnTo>
                    <a:pt x="159" y="31"/>
                  </a:lnTo>
                  <a:lnTo>
                    <a:pt x="176" y="22"/>
                  </a:lnTo>
                  <a:lnTo>
                    <a:pt x="196" y="18"/>
                  </a:lnTo>
                  <a:lnTo>
                    <a:pt x="196" y="0"/>
                  </a:lnTo>
                  <a:lnTo>
                    <a:pt x="181" y="9"/>
                  </a:lnTo>
                  <a:lnTo>
                    <a:pt x="170" y="13"/>
                  </a:lnTo>
                  <a:lnTo>
                    <a:pt x="159" y="13"/>
                  </a:lnTo>
                  <a:lnTo>
                    <a:pt x="154" y="4"/>
                  </a:lnTo>
                  <a:lnTo>
                    <a:pt x="138" y="9"/>
                  </a:lnTo>
                  <a:lnTo>
                    <a:pt x="106" y="13"/>
                  </a:lnTo>
                  <a:lnTo>
                    <a:pt x="106" y="4"/>
                  </a:lnTo>
                  <a:lnTo>
                    <a:pt x="53" y="22"/>
                  </a:lnTo>
                  <a:lnTo>
                    <a:pt x="48" y="9"/>
                  </a:lnTo>
                  <a:lnTo>
                    <a:pt x="37" y="4"/>
                  </a:lnTo>
                  <a:lnTo>
                    <a:pt x="37" y="13"/>
                  </a:lnTo>
                  <a:lnTo>
                    <a:pt x="21" y="13"/>
                  </a:lnTo>
                  <a:lnTo>
                    <a:pt x="10" y="0"/>
                  </a:lnTo>
                  <a:lnTo>
                    <a:pt x="10" y="9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cs-CZ"/>
            </a:p>
          </p:txBody>
        </p:sp>
        <p:sp>
          <p:nvSpPr>
            <p:cNvPr id="7250" name="Freeform 217"/>
            <p:cNvSpPr>
              <a:spLocks noEditPoints="1"/>
            </p:cNvSpPr>
            <p:nvPr/>
          </p:nvSpPr>
          <p:spPr bwMode="auto">
            <a:xfrm>
              <a:off x="4616" y="3211"/>
              <a:ext cx="211" cy="47"/>
            </a:xfrm>
            <a:custGeom>
              <a:avLst/>
              <a:gdLst>
                <a:gd name="T0" fmla="*/ 0 w 880"/>
                <a:gd name="T1" fmla="*/ 0 h 192"/>
                <a:gd name="T2" fmla="*/ 0 w 880"/>
                <a:gd name="T3" fmla="*/ 0 h 192"/>
                <a:gd name="T4" fmla="*/ 0 w 880"/>
                <a:gd name="T5" fmla="*/ 0 h 192"/>
                <a:gd name="T6" fmla="*/ 0 w 880"/>
                <a:gd name="T7" fmla="*/ 0 h 192"/>
                <a:gd name="T8" fmla="*/ 0 w 880"/>
                <a:gd name="T9" fmla="*/ 0 h 192"/>
                <a:gd name="T10" fmla="*/ 0 w 880"/>
                <a:gd name="T11" fmla="*/ 0 h 192"/>
                <a:gd name="T12" fmla="*/ 0 w 880"/>
                <a:gd name="T13" fmla="*/ 0 h 192"/>
                <a:gd name="T14" fmla="*/ 0 w 880"/>
                <a:gd name="T15" fmla="*/ 0 h 192"/>
                <a:gd name="T16" fmla="*/ 0 w 880"/>
                <a:gd name="T17" fmla="*/ 0 h 192"/>
                <a:gd name="T18" fmla="*/ 0 w 880"/>
                <a:gd name="T19" fmla="*/ 0 h 192"/>
                <a:gd name="T20" fmla="*/ 0 w 880"/>
                <a:gd name="T21" fmla="*/ 0 h 192"/>
                <a:gd name="T22" fmla="*/ 0 w 880"/>
                <a:gd name="T23" fmla="*/ 0 h 192"/>
                <a:gd name="T24" fmla="*/ 0 w 880"/>
                <a:gd name="T25" fmla="*/ 0 h 192"/>
                <a:gd name="T26" fmla="*/ 0 w 880"/>
                <a:gd name="T27" fmla="*/ 0 h 192"/>
                <a:gd name="T28" fmla="*/ 0 w 880"/>
                <a:gd name="T29" fmla="*/ 0 h 192"/>
                <a:gd name="T30" fmla="*/ 0 w 880"/>
                <a:gd name="T31" fmla="*/ 0 h 192"/>
                <a:gd name="T32" fmla="*/ 0 w 880"/>
                <a:gd name="T33" fmla="*/ 0 h 192"/>
                <a:gd name="T34" fmla="*/ 0 w 880"/>
                <a:gd name="T35" fmla="*/ 0 h 192"/>
                <a:gd name="T36" fmla="*/ 0 w 880"/>
                <a:gd name="T37" fmla="*/ 0 h 192"/>
                <a:gd name="T38" fmla="*/ 0 w 880"/>
                <a:gd name="T39" fmla="*/ 0 h 192"/>
                <a:gd name="T40" fmla="*/ 0 w 880"/>
                <a:gd name="T41" fmla="*/ 0 h 192"/>
                <a:gd name="T42" fmla="*/ 0 w 880"/>
                <a:gd name="T43" fmla="*/ 0 h 192"/>
                <a:gd name="T44" fmla="*/ 0 w 880"/>
                <a:gd name="T45" fmla="*/ 0 h 192"/>
                <a:gd name="T46" fmla="*/ 0 w 880"/>
                <a:gd name="T47" fmla="*/ 0 h 192"/>
                <a:gd name="T48" fmla="*/ 0 w 880"/>
                <a:gd name="T49" fmla="*/ 0 h 192"/>
                <a:gd name="T50" fmla="*/ 0 w 880"/>
                <a:gd name="T51" fmla="*/ 0 h 192"/>
                <a:gd name="T52" fmla="*/ 0 w 880"/>
                <a:gd name="T53" fmla="*/ 0 h 192"/>
                <a:gd name="T54" fmla="*/ 0 w 880"/>
                <a:gd name="T55" fmla="*/ 0 h 192"/>
                <a:gd name="T56" fmla="*/ 0 w 880"/>
                <a:gd name="T57" fmla="*/ 0 h 192"/>
                <a:gd name="T58" fmla="*/ 0 w 880"/>
                <a:gd name="T59" fmla="*/ 0 h 192"/>
                <a:gd name="T60" fmla="*/ 0 w 880"/>
                <a:gd name="T61" fmla="*/ 0 h 192"/>
                <a:gd name="T62" fmla="*/ 0 w 880"/>
                <a:gd name="T63" fmla="*/ 0 h 192"/>
                <a:gd name="T64" fmla="*/ 0 w 880"/>
                <a:gd name="T65" fmla="*/ 0 h 192"/>
                <a:gd name="T66" fmla="*/ 0 w 880"/>
                <a:gd name="T67" fmla="*/ 0 h 192"/>
                <a:gd name="T68" fmla="*/ 0 w 880"/>
                <a:gd name="T69" fmla="*/ 0 h 192"/>
                <a:gd name="T70" fmla="*/ 0 w 880"/>
                <a:gd name="T71" fmla="*/ 0 h 192"/>
                <a:gd name="T72" fmla="*/ 0 w 880"/>
                <a:gd name="T73" fmla="*/ 0 h 192"/>
                <a:gd name="T74" fmla="*/ 0 w 880"/>
                <a:gd name="T75" fmla="*/ 0 h 192"/>
                <a:gd name="T76" fmla="*/ 0 w 880"/>
                <a:gd name="T77" fmla="*/ 0 h 192"/>
                <a:gd name="T78" fmla="*/ 0 w 880"/>
                <a:gd name="T79" fmla="*/ 0 h 192"/>
                <a:gd name="T80" fmla="*/ 0 w 880"/>
                <a:gd name="T81" fmla="*/ 0 h 192"/>
                <a:gd name="T82" fmla="*/ 0 w 880"/>
                <a:gd name="T83" fmla="*/ 0 h 192"/>
                <a:gd name="T84" fmla="*/ 0 w 880"/>
                <a:gd name="T85" fmla="*/ 0 h 192"/>
                <a:gd name="T86" fmla="*/ 0 w 880"/>
                <a:gd name="T87" fmla="*/ 0 h 192"/>
                <a:gd name="T88" fmla="*/ 0 w 880"/>
                <a:gd name="T89" fmla="*/ 0 h 192"/>
                <a:gd name="T90" fmla="*/ 0 w 880"/>
                <a:gd name="T91" fmla="*/ 0 h 192"/>
                <a:gd name="T92" fmla="*/ 0 w 880"/>
                <a:gd name="T93" fmla="*/ 0 h 192"/>
                <a:gd name="T94" fmla="*/ 0 w 880"/>
                <a:gd name="T95" fmla="*/ 0 h 192"/>
                <a:gd name="T96" fmla="*/ 0 w 880"/>
                <a:gd name="T97" fmla="*/ 0 h 192"/>
                <a:gd name="T98" fmla="*/ 0 w 880"/>
                <a:gd name="T99" fmla="*/ 0 h 192"/>
                <a:gd name="T100" fmla="*/ 0 w 880"/>
                <a:gd name="T101" fmla="*/ 0 h 192"/>
                <a:gd name="T102" fmla="*/ 0 w 880"/>
                <a:gd name="T103" fmla="*/ 0 h 192"/>
                <a:gd name="T104" fmla="*/ 0 w 880"/>
                <a:gd name="T105" fmla="*/ 0 h 19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880"/>
                <a:gd name="T160" fmla="*/ 0 h 192"/>
                <a:gd name="T161" fmla="*/ 880 w 880"/>
                <a:gd name="T162" fmla="*/ 192 h 19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880" h="192">
                  <a:moveTo>
                    <a:pt x="12" y="74"/>
                  </a:moveTo>
                  <a:lnTo>
                    <a:pt x="16" y="65"/>
                  </a:lnTo>
                  <a:lnTo>
                    <a:pt x="38" y="143"/>
                  </a:lnTo>
                  <a:lnTo>
                    <a:pt x="33" y="138"/>
                  </a:lnTo>
                  <a:lnTo>
                    <a:pt x="102" y="157"/>
                  </a:lnTo>
                  <a:lnTo>
                    <a:pt x="100" y="157"/>
                  </a:lnTo>
                  <a:lnTo>
                    <a:pt x="195" y="157"/>
                  </a:lnTo>
                  <a:lnTo>
                    <a:pt x="358" y="137"/>
                  </a:lnTo>
                  <a:lnTo>
                    <a:pt x="406" y="137"/>
                  </a:lnTo>
                  <a:cubicBezTo>
                    <a:pt x="410" y="137"/>
                    <a:pt x="414" y="141"/>
                    <a:pt x="414" y="145"/>
                  </a:cubicBezTo>
                  <a:lnTo>
                    <a:pt x="414" y="184"/>
                  </a:lnTo>
                  <a:lnTo>
                    <a:pt x="406" y="176"/>
                  </a:lnTo>
                  <a:lnTo>
                    <a:pt x="545" y="176"/>
                  </a:lnTo>
                  <a:lnTo>
                    <a:pt x="541" y="177"/>
                  </a:lnTo>
                  <a:lnTo>
                    <a:pt x="613" y="138"/>
                  </a:lnTo>
                  <a:cubicBezTo>
                    <a:pt x="614" y="138"/>
                    <a:pt x="616" y="137"/>
                    <a:pt x="617" y="137"/>
                  </a:cubicBezTo>
                  <a:lnTo>
                    <a:pt x="709" y="137"/>
                  </a:lnTo>
                  <a:lnTo>
                    <a:pt x="705" y="138"/>
                  </a:lnTo>
                  <a:lnTo>
                    <a:pt x="777" y="99"/>
                  </a:lnTo>
                  <a:cubicBezTo>
                    <a:pt x="778" y="99"/>
                    <a:pt x="778" y="99"/>
                    <a:pt x="779" y="98"/>
                  </a:cubicBezTo>
                  <a:lnTo>
                    <a:pt x="871" y="79"/>
                  </a:lnTo>
                  <a:lnTo>
                    <a:pt x="864" y="87"/>
                  </a:lnTo>
                  <a:lnTo>
                    <a:pt x="864" y="8"/>
                  </a:lnTo>
                  <a:lnTo>
                    <a:pt x="876" y="15"/>
                  </a:lnTo>
                  <a:lnTo>
                    <a:pt x="807" y="55"/>
                  </a:lnTo>
                  <a:lnTo>
                    <a:pt x="759" y="75"/>
                  </a:lnTo>
                  <a:cubicBezTo>
                    <a:pt x="758" y="75"/>
                    <a:pt x="757" y="75"/>
                    <a:pt x="756" y="75"/>
                  </a:cubicBezTo>
                  <a:lnTo>
                    <a:pt x="709" y="75"/>
                  </a:lnTo>
                  <a:cubicBezTo>
                    <a:pt x="706" y="75"/>
                    <a:pt x="703" y="74"/>
                    <a:pt x="702" y="71"/>
                  </a:cubicBezTo>
                  <a:lnTo>
                    <a:pt x="679" y="32"/>
                  </a:lnTo>
                  <a:lnTo>
                    <a:pt x="688" y="36"/>
                  </a:lnTo>
                  <a:lnTo>
                    <a:pt x="619" y="55"/>
                  </a:lnTo>
                  <a:lnTo>
                    <a:pt x="476" y="75"/>
                  </a:lnTo>
                  <a:cubicBezTo>
                    <a:pt x="474" y="75"/>
                    <a:pt x="472" y="75"/>
                    <a:pt x="470" y="73"/>
                  </a:cubicBezTo>
                  <a:cubicBezTo>
                    <a:pt x="468" y="72"/>
                    <a:pt x="467" y="69"/>
                    <a:pt x="467" y="67"/>
                  </a:cubicBezTo>
                  <a:lnTo>
                    <a:pt x="467" y="28"/>
                  </a:lnTo>
                  <a:lnTo>
                    <a:pt x="478" y="36"/>
                  </a:lnTo>
                  <a:lnTo>
                    <a:pt x="244" y="114"/>
                  </a:lnTo>
                  <a:cubicBezTo>
                    <a:pt x="240" y="115"/>
                    <a:pt x="236" y="113"/>
                    <a:pt x="234" y="109"/>
                  </a:cubicBezTo>
                  <a:lnTo>
                    <a:pt x="209" y="51"/>
                  </a:lnTo>
                  <a:lnTo>
                    <a:pt x="214" y="55"/>
                  </a:lnTo>
                  <a:lnTo>
                    <a:pt x="169" y="35"/>
                  </a:lnTo>
                  <a:lnTo>
                    <a:pt x="180" y="28"/>
                  </a:lnTo>
                  <a:lnTo>
                    <a:pt x="180" y="67"/>
                  </a:lnTo>
                  <a:cubicBezTo>
                    <a:pt x="180" y="72"/>
                    <a:pt x="177" y="75"/>
                    <a:pt x="172" y="75"/>
                  </a:cubicBezTo>
                  <a:lnTo>
                    <a:pt x="100" y="75"/>
                  </a:lnTo>
                  <a:cubicBezTo>
                    <a:pt x="98" y="75"/>
                    <a:pt x="95" y="74"/>
                    <a:pt x="94" y="72"/>
                  </a:cubicBezTo>
                  <a:lnTo>
                    <a:pt x="47" y="13"/>
                  </a:lnTo>
                  <a:lnTo>
                    <a:pt x="61" y="8"/>
                  </a:lnTo>
                  <a:lnTo>
                    <a:pt x="61" y="48"/>
                  </a:lnTo>
                  <a:cubicBezTo>
                    <a:pt x="61" y="51"/>
                    <a:pt x="59" y="54"/>
                    <a:pt x="56" y="55"/>
                  </a:cubicBezTo>
                  <a:lnTo>
                    <a:pt x="12" y="74"/>
                  </a:lnTo>
                  <a:close/>
                  <a:moveTo>
                    <a:pt x="50" y="40"/>
                  </a:moveTo>
                  <a:lnTo>
                    <a:pt x="45" y="48"/>
                  </a:lnTo>
                  <a:lnTo>
                    <a:pt x="45" y="8"/>
                  </a:lnTo>
                  <a:cubicBezTo>
                    <a:pt x="45" y="5"/>
                    <a:pt x="47" y="2"/>
                    <a:pt x="50" y="1"/>
                  </a:cubicBezTo>
                  <a:cubicBezTo>
                    <a:pt x="53" y="0"/>
                    <a:pt x="57" y="1"/>
                    <a:pt x="59" y="3"/>
                  </a:cubicBezTo>
                  <a:lnTo>
                    <a:pt x="106" y="62"/>
                  </a:lnTo>
                  <a:lnTo>
                    <a:pt x="100" y="59"/>
                  </a:lnTo>
                  <a:lnTo>
                    <a:pt x="172" y="59"/>
                  </a:lnTo>
                  <a:lnTo>
                    <a:pt x="164" y="67"/>
                  </a:lnTo>
                  <a:lnTo>
                    <a:pt x="164" y="28"/>
                  </a:lnTo>
                  <a:cubicBezTo>
                    <a:pt x="164" y="25"/>
                    <a:pt x="166" y="23"/>
                    <a:pt x="168" y="21"/>
                  </a:cubicBezTo>
                  <a:cubicBezTo>
                    <a:pt x="170" y="20"/>
                    <a:pt x="173" y="20"/>
                    <a:pt x="176" y="21"/>
                  </a:cubicBezTo>
                  <a:lnTo>
                    <a:pt x="220" y="40"/>
                  </a:lnTo>
                  <a:cubicBezTo>
                    <a:pt x="222" y="41"/>
                    <a:pt x="223" y="43"/>
                    <a:pt x="224" y="44"/>
                  </a:cubicBezTo>
                  <a:lnTo>
                    <a:pt x="249" y="103"/>
                  </a:lnTo>
                  <a:lnTo>
                    <a:pt x="239" y="99"/>
                  </a:lnTo>
                  <a:lnTo>
                    <a:pt x="473" y="20"/>
                  </a:lnTo>
                  <a:cubicBezTo>
                    <a:pt x="475" y="20"/>
                    <a:pt x="478" y="20"/>
                    <a:pt x="480" y="22"/>
                  </a:cubicBezTo>
                  <a:cubicBezTo>
                    <a:pt x="482" y="23"/>
                    <a:pt x="483" y="25"/>
                    <a:pt x="483" y="28"/>
                  </a:cubicBezTo>
                  <a:lnTo>
                    <a:pt x="483" y="67"/>
                  </a:lnTo>
                  <a:lnTo>
                    <a:pt x="474" y="59"/>
                  </a:lnTo>
                  <a:lnTo>
                    <a:pt x="615" y="40"/>
                  </a:lnTo>
                  <a:lnTo>
                    <a:pt x="684" y="20"/>
                  </a:lnTo>
                  <a:cubicBezTo>
                    <a:pt x="688" y="19"/>
                    <a:pt x="691" y="21"/>
                    <a:pt x="693" y="24"/>
                  </a:cubicBezTo>
                  <a:lnTo>
                    <a:pt x="716" y="63"/>
                  </a:lnTo>
                  <a:lnTo>
                    <a:pt x="709" y="59"/>
                  </a:lnTo>
                  <a:lnTo>
                    <a:pt x="756" y="59"/>
                  </a:lnTo>
                  <a:lnTo>
                    <a:pt x="753" y="60"/>
                  </a:lnTo>
                  <a:lnTo>
                    <a:pt x="799" y="41"/>
                  </a:lnTo>
                  <a:lnTo>
                    <a:pt x="869" y="1"/>
                  </a:lnTo>
                  <a:cubicBezTo>
                    <a:pt x="871" y="0"/>
                    <a:pt x="874" y="0"/>
                    <a:pt x="877" y="2"/>
                  </a:cubicBezTo>
                  <a:cubicBezTo>
                    <a:pt x="879" y="3"/>
                    <a:pt x="880" y="6"/>
                    <a:pt x="880" y="8"/>
                  </a:cubicBezTo>
                  <a:lnTo>
                    <a:pt x="880" y="87"/>
                  </a:lnTo>
                  <a:cubicBezTo>
                    <a:pt x="880" y="90"/>
                    <a:pt x="878" y="94"/>
                    <a:pt x="874" y="95"/>
                  </a:cubicBezTo>
                  <a:lnTo>
                    <a:pt x="782" y="114"/>
                  </a:lnTo>
                  <a:lnTo>
                    <a:pt x="785" y="113"/>
                  </a:lnTo>
                  <a:lnTo>
                    <a:pt x="712" y="152"/>
                  </a:lnTo>
                  <a:cubicBezTo>
                    <a:pt x="711" y="153"/>
                    <a:pt x="710" y="153"/>
                    <a:pt x="709" y="153"/>
                  </a:cubicBezTo>
                  <a:lnTo>
                    <a:pt x="617" y="153"/>
                  </a:lnTo>
                  <a:lnTo>
                    <a:pt x="621" y="152"/>
                  </a:lnTo>
                  <a:lnTo>
                    <a:pt x="548" y="192"/>
                  </a:lnTo>
                  <a:cubicBezTo>
                    <a:pt x="547" y="192"/>
                    <a:pt x="546" y="192"/>
                    <a:pt x="545" y="192"/>
                  </a:cubicBezTo>
                  <a:lnTo>
                    <a:pt x="406" y="192"/>
                  </a:lnTo>
                  <a:cubicBezTo>
                    <a:pt x="401" y="192"/>
                    <a:pt x="398" y="189"/>
                    <a:pt x="398" y="184"/>
                  </a:cubicBezTo>
                  <a:lnTo>
                    <a:pt x="398" y="145"/>
                  </a:lnTo>
                  <a:lnTo>
                    <a:pt x="406" y="153"/>
                  </a:lnTo>
                  <a:lnTo>
                    <a:pt x="359" y="153"/>
                  </a:lnTo>
                  <a:lnTo>
                    <a:pt x="195" y="173"/>
                  </a:lnTo>
                  <a:lnTo>
                    <a:pt x="100" y="173"/>
                  </a:lnTo>
                  <a:cubicBezTo>
                    <a:pt x="99" y="173"/>
                    <a:pt x="99" y="173"/>
                    <a:pt x="98" y="173"/>
                  </a:cubicBezTo>
                  <a:lnTo>
                    <a:pt x="29" y="153"/>
                  </a:lnTo>
                  <a:cubicBezTo>
                    <a:pt x="26" y="152"/>
                    <a:pt x="24" y="150"/>
                    <a:pt x="23" y="148"/>
                  </a:cubicBezTo>
                  <a:lnTo>
                    <a:pt x="1" y="69"/>
                  </a:lnTo>
                  <a:cubicBezTo>
                    <a:pt x="0" y="65"/>
                    <a:pt x="2" y="61"/>
                    <a:pt x="5" y="60"/>
                  </a:cubicBezTo>
                  <a:lnTo>
                    <a:pt x="50" y="40"/>
                  </a:lnTo>
                  <a:close/>
                </a:path>
              </a:pathLst>
            </a:custGeom>
            <a:solidFill>
              <a:srgbClr val="000000"/>
            </a:solidFill>
            <a:ln w="0" cap="flat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251" name="Freeform 218"/>
            <p:cNvSpPr>
              <a:spLocks/>
            </p:cNvSpPr>
            <p:nvPr/>
          </p:nvSpPr>
          <p:spPr bwMode="auto">
            <a:xfrm>
              <a:off x="4321" y="2710"/>
              <a:ext cx="397" cy="424"/>
            </a:xfrm>
            <a:custGeom>
              <a:avLst/>
              <a:gdLst>
                <a:gd name="T0" fmla="*/ 681 w 378"/>
                <a:gd name="T1" fmla="*/ 26 h 404"/>
                <a:gd name="T2" fmla="*/ 622 w 378"/>
                <a:gd name="T3" fmla="*/ 0 h 404"/>
                <a:gd name="T4" fmla="*/ 592 w 378"/>
                <a:gd name="T5" fmla="*/ 58 h 404"/>
                <a:gd name="T6" fmla="*/ 502 w 378"/>
                <a:gd name="T7" fmla="*/ 72 h 404"/>
                <a:gd name="T8" fmla="*/ 424 w 378"/>
                <a:gd name="T9" fmla="*/ 58 h 404"/>
                <a:gd name="T10" fmla="*/ 320 w 378"/>
                <a:gd name="T11" fmla="*/ 107 h 404"/>
                <a:gd name="T12" fmla="*/ 264 w 378"/>
                <a:gd name="T13" fmla="*/ 139 h 404"/>
                <a:gd name="T14" fmla="*/ 149 w 378"/>
                <a:gd name="T15" fmla="*/ 188 h 404"/>
                <a:gd name="T16" fmla="*/ 83 w 378"/>
                <a:gd name="T17" fmla="*/ 206 h 404"/>
                <a:gd name="T18" fmla="*/ 83 w 378"/>
                <a:gd name="T19" fmla="*/ 238 h 404"/>
                <a:gd name="T20" fmla="*/ 57 w 378"/>
                <a:gd name="T21" fmla="*/ 294 h 404"/>
                <a:gd name="T22" fmla="*/ 22 w 378"/>
                <a:gd name="T23" fmla="*/ 352 h 404"/>
                <a:gd name="T24" fmla="*/ 34 w 378"/>
                <a:gd name="T25" fmla="*/ 402 h 404"/>
                <a:gd name="T26" fmla="*/ 65 w 378"/>
                <a:gd name="T27" fmla="*/ 475 h 404"/>
                <a:gd name="T28" fmla="*/ 131 w 378"/>
                <a:gd name="T29" fmla="*/ 491 h 404"/>
                <a:gd name="T30" fmla="*/ 320 w 378"/>
                <a:gd name="T31" fmla="*/ 484 h 404"/>
                <a:gd name="T32" fmla="*/ 379 w 378"/>
                <a:gd name="T33" fmla="*/ 510 h 404"/>
                <a:gd name="T34" fmla="*/ 330 w 378"/>
                <a:gd name="T35" fmla="*/ 527 h 404"/>
                <a:gd name="T36" fmla="*/ 236 w 378"/>
                <a:gd name="T37" fmla="*/ 502 h 404"/>
                <a:gd name="T38" fmla="*/ 180 w 378"/>
                <a:gd name="T39" fmla="*/ 527 h 404"/>
                <a:gd name="T40" fmla="*/ 180 w 378"/>
                <a:gd name="T41" fmla="*/ 585 h 404"/>
                <a:gd name="T42" fmla="*/ 226 w 378"/>
                <a:gd name="T43" fmla="*/ 609 h 404"/>
                <a:gd name="T44" fmla="*/ 264 w 378"/>
                <a:gd name="T45" fmla="*/ 686 h 404"/>
                <a:gd name="T46" fmla="*/ 313 w 378"/>
                <a:gd name="T47" fmla="*/ 675 h 404"/>
                <a:gd name="T48" fmla="*/ 379 w 378"/>
                <a:gd name="T49" fmla="*/ 675 h 404"/>
                <a:gd name="T50" fmla="*/ 367 w 378"/>
                <a:gd name="T51" fmla="*/ 585 h 404"/>
                <a:gd name="T52" fmla="*/ 415 w 378"/>
                <a:gd name="T53" fmla="*/ 597 h 404"/>
                <a:gd name="T54" fmla="*/ 434 w 378"/>
                <a:gd name="T55" fmla="*/ 589 h 404"/>
                <a:gd name="T56" fmla="*/ 396 w 378"/>
                <a:gd name="T57" fmla="*/ 540 h 404"/>
                <a:gd name="T58" fmla="*/ 510 w 378"/>
                <a:gd name="T59" fmla="*/ 540 h 404"/>
                <a:gd name="T60" fmla="*/ 490 w 378"/>
                <a:gd name="T61" fmla="*/ 475 h 404"/>
                <a:gd name="T62" fmla="*/ 490 w 378"/>
                <a:gd name="T63" fmla="*/ 460 h 404"/>
                <a:gd name="T64" fmla="*/ 537 w 378"/>
                <a:gd name="T65" fmla="*/ 491 h 404"/>
                <a:gd name="T66" fmla="*/ 524 w 378"/>
                <a:gd name="T67" fmla="*/ 448 h 404"/>
                <a:gd name="T68" fmla="*/ 396 w 378"/>
                <a:gd name="T69" fmla="*/ 394 h 404"/>
                <a:gd name="T70" fmla="*/ 379 w 378"/>
                <a:gd name="T71" fmla="*/ 412 h 404"/>
                <a:gd name="T72" fmla="*/ 349 w 378"/>
                <a:gd name="T73" fmla="*/ 418 h 404"/>
                <a:gd name="T74" fmla="*/ 330 w 378"/>
                <a:gd name="T75" fmla="*/ 386 h 404"/>
                <a:gd name="T76" fmla="*/ 379 w 378"/>
                <a:gd name="T77" fmla="*/ 369 h 404"/>
                <a:gd name="T78" fmla="*/ 359 w 378"/>
                <a:gd name="T79" fmla="*/ 330 h 404"/>
                <a:gd name="T80" fmla="*/ 264 w 378"/>
                <a:gd name="T81" fmla="*/ 248 h 404"/>
                <a:gd name="T82" fmla="*/ 295 w 378"/>
                <a:gd name="T83" fmla="*/ 206 h 404"/>
                <a:gd name="T84" fmla="*/ 330 w 378"/>
                <a:gd name="T85" fmla="*/ 238 h 404"/>
                <a:gd name="T86" fmla="*/ 379 w 378"/>
                <a:gd name="T87" fmla="*/ 270 h 404"/>
                <a:gd name="T88" fmla="*/ 404 w 378"/>
                <a:gd name="T89" fmla="*/ 212 h 404"/>
                <a:gd name="T90" fmla="*/ 434 w 378"/>
                <a:gd name="T91" fmla="*/ 148 h 404"/>
                <a:gd name="T92" fmla="*/ 558 w 378"/>
                <a:gd name="T93" fmla="*/ 113 h 404"/>
                <a:gd name="T94" fmla="*/ 638 w 378"/>
                <a:gd name="T95" fmla="*/ 113 h 404"/>
                <a:gd name="T96" fmla="*/ 673 w 378"/>
                <a:gd name="T97" fmla="*/ 98 h 40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378"/>
                <a:gd name="T148" fmla="*/ 0 h 404"/>
                <a:gd name="T149" fmla="*/ 378 w 378"/>
                <a:gd name="T150" fmla="*/ 404 h 40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378" h="404">
                  <a:moveTo>
                    <a:pt x="367" y="41"/>
                  </a:moveTo>
                  <a:lnTo>
                    <a:pt x="378" y="14"/>
                  </a:lnTo>
                  <a:lnTo>
                    <a:pt x="362" y="0"/>
                  </a:lnTo>
                  <a:lnTo>
                    <a:pt x="347" y="0"/>
                  </a:lnTo>
                  <a:lnTo>
                    <a:pt x="352" y="23"/>
                  </a:lnTo>
                  <a:lnTo>
                    <a:pt x="330" y="32"/>
                  </a:lnTo>
                  <a:lnTo>
                    <a:pt x="294" y="41"/>
                  </a:lnTo>
                  <a:lnTo>
                    <a:pt x="278" y="41"/>
                  </a:lnTo>
                  <a:lnTo>
                    <a:pt x="257" y="41"/>
                  </a:lnTo>
                  <a:lnTo>
                    <a:pt x="236" y="32"/>
                  </a:lnTo>
                  <a:lnTo>
                    <a:pt x="204" y="51"/>
                  </a:lnTo>
                  <a:lnTo>
                    <a:pt x="178" y="60"/>
                  </a:lnTo>
                  <a:lnTo>
                    <a:pt x="152" y="60"/>
                  </a:lnTo>
                  <a:lnTo>
                    <a:pt x="147" y="78"/>
                  </a:lnTo>
                  <a:lnTo>
                    <a:pt x="105" y="83"/>
                  </a:lnTo>
                  <a:lnTo>
                    <a:pt x="83" y="106"/>
                  </a:lnTo>
                  <a:lnTo>
                    <a:pt x="68" y="106"/>
                  </a:lnTo>
                  <a:lnTo>
                    <a:pt x="46" y="115"/>
                  </a:lnTo>
                  <a:lnTo>
                    <a:pt x="41" y="115"/>
                  </a:lnTo>
                  <a:lnTo>
                    <a:pt x="46" y="133"/>
                  </a:lnTo>
                  <a:lnTo>
                    <a:pt x="31" y="142"/>
                  </a:lnTo>
                  <a:lnTo>
                    <a:pt x="31" y="165"/>
                  </a:lnTo>
                  <a:lnTo>
                    <a:pt x="10" y="174"/>
                  </a:lnTo>
                  <a:lnTo>
                    <a:pt x="10" y="197"/>
                  </a:lnTo>
                  <a:lnTo>
                    <a:pt x="0" y="202"/>
                  </a:lnTo>
                  <a:lnTo>
                    <a:pt x="20" y="225"/>
                  </a:lnTo>
                  <a:lnTo>
                    <a:pt x="46" y="243"/>
                  </a:lnTo>
                  <a:lnTo>
                    <a:pt x="36" y="266"/>
                  </a:lnTo>
                  <a:lnTo>
                    <a:pt x="57" y="266"/>
                  </a:lnTo>
                  <a:lnTo>
                    <a:pt x="73" y="275"/>
                  </a:lnTo>
                  <a:lnTo>
                    <a:pt x="126" y="275"/>
                  </a:lnTo>
                  <a:lnTo>
                    <a:pt x="178" y="271"/>
                  </a:lnTo>
                  <a:lnTo>
                    <a:pt x="225" y="275"/>
                  </a:lnTo>
                  <a:lnTo>
                    <a:pt x="210" y="285"/>
                  </a:lnTo>
                  <a:lnTo>
                    <a:pt x="204" y="294"/>
                  </a:lnTo>
                  <a:lnTo>
                    <a:pt x="183" y="294"/>
                  </a:lnTo>
                  <a:lnTo>
                    <a:pt x="163" y="289"/>
                  </a:lnTo>
                  <a:lnTo>
                    <a:pt x="131" y="280"/>
                  </a:lnTo>
                  <a:lnTo>
                    <a:pt x="115" y="289"/>
                  </a:lnTo>
                  <a:lnTo>
                    <a:pt x="100" y="294"/>
                  </a:lnTo>
                  <a:lnTo>
                    <a:pt x="83" y="317"/>
                  </a:lnTo>
                  <a:lnTo>
                    <a:pt x="100" y="326"/>
                  </a:lnTo>
                  <a:lnTo>
                    <a:pt x="115" y="335"/>
                  </a:lnTo>
                  <a:lnTo>
                    <a:pt x="126" y="340"/>
                  </a:lnTo>
                  <a:lnTo>
                    <a:pt x="131" y="358"/>
                  </a:lnTo>
                  <a:lnTo>
                    <a:pt x="147" y="385"/>
                  </a:lnTo>
                  <a:lnTo>
                    <a:pt x="157" y="372"/>
                  </a:lnTo>
                  <a:lnTo>
                    <a:pt x="173" y="376"/>
                  </a:lnTo>
                  <a:lnTo>
                    <a:pt x="194" y="404"/>
                  </a:lnTo>
                  <a:lnTo>
                    <a:pt x="210" y="376"/>
                  </a:lnTo>
                  <a:lnTo>
                    <a:pt x="247" y="395"/>
                  </a:lnTo>
                  <a:lnTo>
                    <a:pt x="204" y="326"/>
                  </a:lnTo>
                  <a:lnTo>
                    <a:pt x="220" y="330"/>
                  </a:lnTo>
                  <a:lnTo>
                    <a:pt x="230" y="335"/>
                  </a:lnTo>
                  <a:lnTo>
                    <a:pt x="230" y="344"/>
                  </a:lnTo>
                  <a:lnTo>
                    <a:pt x="241" y="330"/>
                  </a:lnTo>
                  <a:lnTo>
                    <a:pt x="257" y="321"/>
                  </a:lnTo>
                  <a:lnTo>
                    <a:pt x="220" y="303"/>
                  </a:lnTo>
                  <a:lnTo>
                    <a:pt x="252" y="294"/>
                  </a:lnTo>
                  <a:lnTo>
                    <a:pt x="284" y="303"/>
                  </a:lnTo>
                  <a:lnTo>
                    <a:pt x="278" y="280"/>
                  </a:lnTo>
                  <a:lnTo>
                    <a:pt x="273" y="266"/>
                  </a:lnTo>
                  <a:lnTo>
                    <a:pt x="257" y="257"/>
                  </a:lnTo>
                  <a:lnTo>
                    <a:pt x="273" y="257"/>
                  </a:lnTo>
                  <a:lnTo>
                    <a:pt x="284" y="266"/>
                  </a:lnTo>
                  <a:lnTo>
                    <a:pt x="299" y="275"/>
                  </a:lnTo>
                  <a:lnTo>
                    <a:pt x="320" y="271"/>
                  </a:lnTo>
                  <a:lnTo>
                    <a:pt x="289" y="252"/>
                  </a:lnTo>
                  <a:lnTo>
                    <a:pt x="262" y="234"/>
                  </a:lnTo>
                  <a:lnTo>
                    <a:pt x="220" y="220"/>
                  </a:lnTo>
                  <a:lnTo>
                    <a:pt x="210" y="220"/>
                  </a:lnTo>
                  <a:lnTo>
                    <a:pt x="210" y="230"/>
                  </a:lnTo>
                  <a:lnTo>
                    <a:pt x="215" y="239"/>
                  </a:lnTo>
                  <a:lnTo>
                    <a:pt x="194" y="234"/>
                  </a:lnTo>
                  <a:lnTo>
                    <a:pt x="183" y="230"/>
                  </a:lnTo>
                  <a:lnTo>
                    <a:pt x="183" y="216"/>
                  </a:lnTo>
                  <a:lnTo>
                    <a:pt x="183" y="202"/>
                  </a:lnTo>
                  <a:lnTo>
                    <a:pt x="210" y="207"/>
                  </a:lnTo>
                  <a:lnTo>
                    <a:pt x="210" y="193"/>
                  </a:lnTo>
                  <a:lnTo>
                    <a:pt x="199" y="184"/>
                  </a:lnTo>
                  <a:lnTo>
                    <a:pt x="168" y="165"/>
                  </a:lnTo>
                  <a:lnTo>
                    <a:pt x="147" y="138"/>
                  </a:lnTo>
                  <a:lnTo>
                    <a:pt x="152" y="129"/>
                  </a:lnTo>
                  <a:lnTo>
                    <a:pt x="163" y="115"/>
                  </a:lnTo>
                  <a:lnTo>
                    <a:pt x="168" y="129"/>
                  </a:lnTo>
                  <a:lnTo>
                    <a:pt x="183" y="133"/>
                  </a:lnTo>
                  <a:lnTo>
                    <a:pt x="199" y="138"/>
                  </a:lnTo>
                  <a:lnTo>
                    <a:pt x="210" y="151"/>
                  </a:lnTo>
                  <a:lnTo>
                    <a:pt x="210" y="133"/>
                  </a:lnTo>
                  <a:lnTo>
                    <a:pt x="225" y="119"/>
                  </a:lnTo>
                  <a:lnTo>
                    <a:pt x="230" y="92"/>
                  </a:lnTo>
                  <a:lnTo>
                    <a:pt x="241" y="83"/>
                  </a:lnTo>
                  <a:lnTo>
                    <a:pt x="257" y="78"/>
                  </a:lnTo>
                  <a:lnTo>
                    <a:pt x="310" y="64"/>
                  </a:lnTo>
                  <a:lnTo>
                    <a:pt x="336" y="64"/>
                  </a:lnTo>
                  <a:lnTo>
                    <a:pt x="352" y="64"/>
                  </a:lnTo>
                  <a:lnTo>
                    <a:pt x="357" y="74"/>
                  </a:lnTo>
                  <a:lnTo>
                    <a:pt x="373" y="55"/>
                  </a:lnTo>
                  <a:lnTo>
                    <a:pt x="367" y="41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cs-CZ"/>
            </a:p>
          </p:txBody>
        </p:sp>
        <p:sp>
          <p:nvSpPr>
            <p:cNvPr id="7252" name="Freeform 219"/>
            <p:cNvSpPr>
              <a:spLocks noEditPoints="1"/>
            </p:cNvSpPr>
            <p:nvPr/>
          </p:nvSpPr>
          <p:spPr bwMode="auto">
            <a:xfrm>
              <a:off x="4319" y="2708"/>
              <a:ext cx="402" cy="428"/>
            </a:xfrm>
            <a:custGeom>
              <a:avLst/>
              <a:gdLst>
                <a:gd name="T0" fmla="*/ 0 w 1681"/>
                <a:gd name="T1" fmla="*/ 0 h 1793"/>
                <a:gd name="T2" fmla="*/ 0 w 1681"/>
                <a:gd name="T3" fmla="*/ 0 h 1793"/>
                <a:gd name="T4" fmla="*/ 0 w 1681"/>
                <a:gd name="T5" fmla="*/ 0 h 1793"/>
                <a:gd name="T6" fmla="*/ 0 w 1681"/>
                <a:gd name="T7" fmla="*/ 0 h 1793"/>
                <a:gd name="T8" fmla="*/ 0 w 1681"/>
                <a:gd name="T9" fmla="*/ 0 h 1793"/>
                <a:gd name="T10" fmla="*/ 0 w 1681"/>
                <a:gd name="T11" fmla="*/ 0 h 1793"/>
                <a:gd name="T12" fmla="*/ 0 w 1681"/>
                <a:gd name="T13" fmla="*/ 0 h 1793"/>
                <a:gd name="T14" fmla="*/ 0 w 1681"/>
                <a:gd name="T15" fmla="*/ 0 h 1793"/>
                <a:gd name="T16" fmla="*/ 0 w 1681"/>
                <a:gd name="T17" fmla="*/ 0 h 1793"/>
                <a:gd name="T18" fmla="*/ 0 w 1681"/>
                <a:gd name="T19" fmla="*/ 0 h 1793"/>
                <a:gd name="T20" fmla="*/ 0 w 1681"/>
                <a:gd name="T21" fmla="*/ 0 h 1793"/>
                <a:gd name="T22" fmla="*/ 0 w 1681"/>
                <a:gd name="T23" fmla="*/ 0 h 1793"/>
                <a:gd name="T24" fmla="*/ 0 w 1681"/>
                <a:gd name="T25" fmla="*/ 0 h 1793"/>
                <a:gd name="T26" fmla="*/ 0 w 1681"/>
                <a:gd name="T27" fmla="*/ 0 h 1793"/>
                <a:gd name="T28" fmla="*/ 0 w 1681"/>
                <a:gd name="T29" fmla="*/ 0 h 1793"/>
                <a:gd name="T30" fmla="*/ 0 w 1681"/>
                <a:gd name="T31" fmla="*/ 0 h 1793"/>
                <a:gd name="T32" fmla="*/ 0 w 1681"/>
                <a:gd name="T33" fmla="*/ 0 h 1793"/>
                <a:gd name="T34" fmla="*/ 0 w 1681"/>
                <a:gd name="T35" fmla="*/ 0 h 1793"/>
                <a:gd name="T36" fmla="*/ 0 w 1681"/>
                <a:gd name="T37" fmla="*/ 0 h 1793"/>
                <a:gd name="T38" fmla="*/ 0 w 1681"/>
                <a:gd name="T39" fmla="*/ 0 h 1793"/>
                <a:gd name="T40" fmla="*/ 0 w 1681"/>
                <a:gd name="T41" fmla="*/ 0 h 1793"/>
                <a:gd name="T42" fmla="*/ 0 w 1681"/>
                <a:gd name="T43" fmla="*/ 0 h 1793"/>
                <a:gd name="T44" fmla="*/ 0 w 1681"/>
                <a:gd name="T45" fmla="*/ 0 h 1793"/>
                <a:gd name="T46" fmla="*/ 0 w 1681"/>
                <a:gd name="T47" fmla="*/ 0 h 1793"/>
                <a:gd name="T48" fmla="*/ 0 w 1681"/>
                <a:gd name="T49" fmla="*/ 0 h 1793"/>
                <a:gd name="T50" fmla="*/ 0 w 1681"/>
                <a:gd name="T51" fmla="*/ 0 h 1793"/>
                <a:gd name="T52" fmla="*/ 0 w 1681"/>
                <a:gd name="T53" fmla="*/ 0 h 1793"/>
                <a:gd name="T54" fmla="*/ 0 w 1681"/>
                <a:gd name="T55" fmla="*/ 0 h 1793"/>
                <a:gd name="T56" fmla="*/ 0 w 1681"/>
                <a:gd name="T57" fmla="*/ 0 h 1793"/>
                <a:gd name="T58" fmla="*/ 0 w 1681"/>
                <a:gd name="T59" fmla="*/ 0 h 1793"/>
                <a:gd name="T60" fmla="*/ 0 w 1681"/>
                <a:gd name="T61" fmla="*/ 0 h 1793"/>
                <a:gd name="T62" fmla="*/ 0 w 1681"/>
                <a:gd name="T63" fmla="*/ 0 h 1793"/>
                <a:gd name="T64" fmla="*/ 0 w 1681"/>
                <a:gd name="T65" fmla="*/ 0 h 1793"/>
                <a:gd name="T66" fmla="*/ 0 w 1681"/>
                <a:gd name="T67" fmla="*/ 0 h 1793"/>
                <a:gd name="T68" fmla="*/ 0 w 1681"/>
                <a:gd name="T69" fmla="*/ 0 h 1793"/>
                <a:gd name="T70" fmla="*/ 0 w 1681"/>
                <a:gd name="T71" fmla="*/ 0 h 1793"/>
                <a:gd name="T72" fmla="*/ 0 w 1681"/>
                <a:gd name="T73" fmla="*/ 0 h 1793"/>
                <a:gd name="T74" fmla="*/ 0 w 1681"/>
                <a:gd name="T75" fmla="*/ 0 h 1793"/>
                <a:gd name="T76" fmla="*/ 0 w 1681"/>
                <a:gd name="T77" fmla="*/ 0 h 1793"/>
                <a:gd name="T78" fmla="*/ 0 w 1681"/>
                <a:gd name="T79" fmla="*/ 0 h 1793"/>
                <a:gd name="T80" fmla="*/ 0 w 1681"/>
                <a:gd name="T81" fmla="*/ 0 h 1793"/>
                <a:gd name="T82" fmla="*/ 0 w 1681"/>
                <a:gd name="T83" fmla="*/ 0 h 1793"/>
                <a:gd name="T84" fmla="*/ 0 w 1681"/>
                <a:gd name="T85" fmla="*/ 0 h 1793"/>
                <a:gd name="T86" fmla="*/ 0 w 1681"/>
                <a:gd name="T87" fmla="*/ 0 h 1793"/>
                <a:gd name="T88" fmla="*/ 0 w 1681"/>
                <a:gd name="T89" fmla="*/ 0 h 1793"/>
                <a:gd name="T90" fmla="*/ 0 w 1681"/>
                <a:gd name="T91" fmla="*/ 0 h 1793"/>
                <a:gd name="T92" fmla="*/ 0 w 1681"/>
                <a:gd name="T93" fmla="*/ 0 h 1793"/>
                <a:gd name="T94" fmla="*/ 0 w 1681"/>
                <a:gd name="T95" fmla="*/ 0 h 1793"/>
                <a:gd name="T96" fmla="*/ 0 w 1681"/>
                <a:gd name="T97" fmla="*/ 0 h 1793"/>
                <a:gd name="T98" fmla="*/ 0 w 1681"/>
                <a:gd name="T99" fmla="*/ 0 h 1793"/>
                <a:gd name="T100" fmla="*/ 0 w 1681"/>
                <a:gd name="T101" fmla="*/ 0 h 1793"/>
                <a:gd name="T102" fmla="*/ 0 w 1681"/>
                <a:gd name="T103" fmla="*/ 0 h 1793"/>
                <a:gd name="T104" fmla="*/ 0 w 1681"/>
                <a:gd name="T105" fmla="*/ 0 h 1793"/>
                <a:gd name="T106" fmla="*/ 0 w 1681"/>
                <a:gd name="T107" fmla="*/ 0 h 1793"/>
                <a:gd name="T108" fmla="*/ 0 w 1681"/>
                <a:gd name="T109" fmla="*/ 0 h 1793"/>
                <a:gd name="T110" fmla="*/ 0 w 1681"/>
                <a:gd name="T111" fmla="*/ 0 h 179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681"/>
                <a:gd name="T169" fmla="*/ 0 h 1793"/>
                <a:gd name="T170" fmla="*/ 1681 w 1681"/>
                <a:gd name="T171" fmla="*/ 1793 h 179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681" h="1793">
                  <a:moveTo>
                    <a:pt x="1618" y="193"/>
                  </a:moveTo>
                  <a:cubicBezTo>
                    <a:pt x="1618" y="191"/>
                    <a:pt x="1618" y="189"/>
                    <a:pt x="1618" y="187"/>
                  </a:cubicBezTo>
                  <a:lnTo>
                    <a:pt x="1665" y="66"/>
                  </a:lnTo>
                  <a:lnTo>
                    <a:pt x="1667" y="75"/>
                  </a:lnTo>
                  <a:lnTo>
                    <a:pt x="1599" y="14"/>
                  </a:lnTo>
                  <a:lnTo>
                    <a:pt x="1604" y="16"/>
                  </a:lnTo>
                  <a:lnTo>
                    <a:pt x="1535" y="16"/>
                  </a:lnTo>
                  <a:lnTo>
                    <a:pt x="1543" y="7"/>
                  </a:lnTo>
                  <a:lnTo>
                    <a:pt x="1565" y="108"/>
                  </a:lnTo>
                  <a:cubicBezTo>
                    <a:pt x="1566" y="111"/>
                    <a:pt x="1564" y="115"/>
                    <a:pt x="1560" y="117"/>
                  </a:cubicBezTo>
                  <a:lnTo>
                    <a:pt x="1467" y="157"/>
                  </a:lnTo>
                  <a:cubicBezTo>
                    <a:pt x="1467" y="157"/>
                    <a:pt x="1466" y="157"/>
                    <a:pt x="1466" y="158"/>
                  </a:cubicBezTo>
                  <a:lnTo>
                    <a:pt x="1304" y="198"/>
                  </a:lnTo>
                  <a:cubicBezTo>
                    <a:pt x="1303" y="198"/>
                    <a:pt x="1302" y="198"/>
                    <a:pt x="1302" y="198"/>
                  </a:cubicBezTo>
                  <a:lnTo>
                    <a:pt x="1233" y="198"/>
                  </a:lnTo>
                  <a:lnTo>
                    <a:pt x="1140" y="198"/>
                  </a:lnTo>
                  <a:cubicBezTo>
                    <a:pt x="1139" y="198"/>
                    <a:pt x="1138" y="198"/>
                    <a:pt x="1137" y="197"/>
                  </a:cubicBezTo>
                  <a:lnTo>
                    <a:pt x="1046" y="157"/>
                  </a:lnTo>
                  <a:lnTo>
                    <a:pt x="1053" y="157"/>
                  </a:lnTo>
                  <a:lnTo>
                    <a:pt x="913" y="237"/>
                  </a:lnTo>
                  <a:cubicBezTo>
                    <a:pt x="913" y="238"/>
                    <a:pt x="912" y="238"/>
                    <a:pt x="912" y="238"/>
                  </a:cubicBezTo>
                  <a:lnTo>
                    <a:pt x="796" y="278"/>
                  </a:lnTo>
                  <a:cubicBezTo>
                    <a:pt x="796" y="279"/>
                    <a:pt x="795" y="279"/>
                    <a:pt x="794" y="279"/>
                  </a:cubicBezTo>
                  <a:lnTo>
                    <a:pt x="678" y="279"/>
                  </a:lnTo>
                  <a:lnTo>
                    <a:pt x="686" y="273"/>
                  </a:lnTo>
                  <a:lnTo>
                    <a:pt x="664" y="354"/>
                  </a:lnTo>
                  <a:cubicBezTo>
                    <a:pt x="663" y="357"/>
                    <a:pt x="661" y="359"/>
                    <a:pt x="657" y="360"/>
                  </a:cubicBezTo>
                  <a:lnTo>
                    <a:pt x="471" y="380"/>
                  </a:lnTo>
                  <a:lnTo>
                    <a:pt x="476" y="377"/>
                  </a:lnTo>
                  <a:lnTo>
                    <a:pt x="382" y="478"/>
                  </a:lnTo>
                  <a:cubicBezTo>
                    <a:pt x="381" y="480"/>
                    <a:pt x="379" y="481"/>
                    <a:pt x="376" y="481"/>
                  </a:cubicBezTo>
                  <a:lnTo>
                    <a:pt x="308" y="481"/>
                  </a:lnTo>
                  <a:lnTo>
                    <a:pt x="311" y="480"/>
                  </a:lnTo>
                  <a:lnTo>
                    <a:pt x="218" y="520"/>
                  </a:lnTo>
                  <a:cubicBezTo>
                    <a:pt x="217" y="521"/>
                    <a:pt x="215" y="521"/>
                    <a:pt x="214" y="521"/>
                  </a:cubicBezTo>
                  <a:lnTo>
                    <a:pt x="192" y="521"/>
                  </a:lnTo>
                  <a:lnTo>
                    <a:pt x="200" y="511"/>
                  </a:lnTo>
                  <a:lnTo>
                    <a:pt x="222" y="592"/>
                  </a:lnTo>
                  <a:cubicBezTo>
                    <a:pt x="223" y="595"/>
                    <a:pt x="222" y="599"/>
                    <a:pt x="218" y="601"/>
                  </a:cubicBezTo>
                  <a:lnTo>
                    <a:pt x="150" y="641"/>
                  </a:lnTo>
                  <a:lnTo>
                    <a:pt x="154" y="634"/>
                  </a:lnTo>
                  <a:lnTo>
                    <a:pt x="154" y="735"/>
                  </a:lnTo>
                  <a:cubicBezTo>
                    <a:pt x="154" y="738"/>
                    <a:pt x="152" y="741"/>
                    <a:pt x="149" y="742"/>
                  </a:cubicBezTo>
                  <a:lnTo>
                    <a:pt x="56" y="783"/>
                  </a:lnTo>
                  <a:lnTo>
                    <a:pt x="60" y="775"/>
                  </a:lnTo>
                  <a:lnTo>
                    <a:pt x="60" y="876"/>
                  </a:lnTo>
                  <a:cubicBezTo>
                    <a:pt x="60" y="879"/>
                    <a:pt x="59" y="882"/>
                    <a:pt x="56" y="884"/>
                  </a:cubicBezTo>
                  <a:lnTo>
                    <a:pt x="12" y="904"/>
                  </a:lnTo>
                  <a:lnTo>
                    <a:pt x="14" y="891"/>
                  </a:lnTo>
                  <a:lnTo>
                    <a:pt x="105" y="992"/>
                  </a:lnTo>
                  <a:lnTo>
                    <a:pt x="104" y="991"/>
                  </a:lnTo>
                  <a:lnTo>
                    <a:pt x="219" y="1072"/>
                  </a:lnTo>
                  <a:cubicBezTo>
                    <a:pt x="222" y="1074"/>
                    <a:pt x="223" y="1078"/>
                    <a:pt x="222" y="1081"/>
                  </a:cubicBezTo>
                  <a:lnTo>
                    <a:pt x="178" y="1182"/>
                  </a:lnTo>
                  <a:lnTo>
                    <a:pt x="170" y="1171"/>
                  </a:lnTo>
                  <a:lnTo>
                    <a:pt x="261" y="1171"/>
                  </a:lnTo>
                  <a:cubicBezTo>
                    <a:pt x="262" y="1171"/>
                    <a:pt x="264" y="1171"/>
                    <a:pt x="265" y="1172"/>
                  </a:cubicBezTo>
                  <a:lnTo>
                    <a:pt x="336" y="1212"/>
                  </a:lnTo>
                  <a:lnTo>
                    <a:pt x="332" y="1211"/>
                  </a:lnTo>
                  <a:lnTo>
                    <a:pt x="563" y="1211"/>
                  </a:lnTo>
                  <a:lnTo>
                    <a:pt x="793" y="1191"/>
                  </a:lnTo>
                  <a:cubicBezTo>
                    <a:pt x="794" y="1191"/>
                    <a:pt x="794" y="1191"/>
                    <a:pt x="795" y="1191"/>
                  </a:cubicBezTo>
                  <a:lnTo>
                    <a:pt x="1003" y="1211"/>
                  </a:lnTo>
                  <a:cubicBezTo>
                    <a:pt x="1007" y="1212"/>
                    <a:pt x="1010" y="1214"/>
                    <a:pt x="1010" y="1218"/>
                  </a:cubicBezTo>
                  <a:cubicBezTo>
                    <a:pt x="1011" y="1221"/>
                    <a:pt x="1010" y="1225"/>
                    <a:pt x="1007" y="1226"/>
                  </a:cubicBezTo>
                  <a:lnTo>
                    <a:pt x="938" y="1267"/>
                  </a:lnTo>
                  <a:lnTo>
                    <a:pt x="941" y="1264"/>
                  </a:lnTo>
                  <a:lnTo>
                    <a:pt x="916" y="1304"/>
                  </a:lnTo>
                  <a:cubicBezTo>
                    <a:pt x="914" y="1307"/>
                    <a:pt x="912" y="1308"/>
                    <a:pt x="909" y="1308"/>
                  </a:cubicBezTo>
                  <a:lnTo>
                    <a:pt x="816" y="1308"/>
                  </a:lnTo>
                  <a:cubicBezTo>
                    <a:pt x="815" y="1308"/>
                    <a:pt x="815" y="1308"/>
                    <a:pt x="814" y="1308"/>
                  </a:cubicBezTo>
                  <a:lnTo>
                    <a:pt x="723" y="1288"/>
                  </a:lnTo>
                  <a:lnTo>
                    <a:pt x="583" y="1247"/>
                  </a:lnTo>
                  <a:lnTo>
                    <a:pt x="589" y="1246"/>
                  </a:lnTo>
                  <a:lnTo>
                    <a:pt x="521" y="1287"/>
                  </a:lnTo>
                  <a:cubicBezTo>
                    <a:pt x="520" y="1287"/>
                    <a:pt x="519" y="1287"/>
                    <a:pt x="519" y="1288"/>
                  </a:cubicBezTo>
                  <a:lnTo>
                    <a:pt x="450" y="1308"/>
                  </a:lnTo>
                  <a:lnTo>
                    <a:pt x="454" y="1305"/>
                  </a:lnTo>
                  <a:lnTo>
                    <a:pt x="383" y="1406"/>
                  </a:lnTo>
                  <a:lnTo>
                    <a:pt x="380" y="1394"/>
                  </a:lnTo>
                  <a:lnTo>
                    <a:pt x="452" y="1434"/>
                  </a:lnTo>
                  <a:lnTo>
                    <a:pt x="521" y="1475"/>
                  </a:lnTo>
                  <a:lnTo>
                    <a:pt x="566" y="1495"/>
                  </a:lnTo>
                  <a:cubicBezTo>
                    <a:pt x="569" y="1496"/>
                    <a:pt x="570" y="1497"/>
                    <a:pt x="571" y="1500"/>
                  </a:cubicBezTo>
                  <a:lnTo>
                    <a:pt x="593" y="1581"/>
                  </a:lnTo>
                  <a:lnTo>
                    <a:pt x="592" y="1579"/>
                  </a:lnTo>
                  <a:lnTo>
                    <a:pt x="663" y="1700"/>
                  </a:lnTo>
                  <a:lnTo>
                    <a:pt x="650" y="1699"/>
                  </a:lnTo>
                  <a:lnTo>
                    <a:pt x="694" y="1638"/>
                  </a:lnTo>
                  <a:cubicBezTo>
                    <a:pt x="696" y="1636"/>
                    <a:pt x="699" y="1635"/>
                    <a:pt x="703" y="1635"/>
                  </a:cubicBezTo>
                  <a:lnTo>
                    <a:pt x="774" y="1656"/>
                  </a:lnTo>
                  <a:cubicBezTo>
                    <a:pt x="776" y="1656"/>
                    <a:pt x="777" y="1657"/>
                    <a:pt x="778" y="1659"/>
                  </a:cubicBezTo>
                  <a:lnTo>
                    <a:pt x="869" y="1780"/>
                  </a:lnTo>
                  <a:lnTo>
                    <a:pt x="856" y="1780"/>
                  </a:lnTo>
                  <a:lnTo>
                    <a:pt x="927" y="1659"/>
                  </a:lnTo>
                  <a:cubicBezTo>
                    <a:pt x="929" y="1656"/>
                    <a:pt x="934" y="1654"/>
                    <a:pt x="937" y="1656"/>
                  </a:cubicBezTo>
                  <a:lnTo>
                    <a:pt x="1099" y="1737"/>
                  </a:lnTo>
                  <a:lnTo>
                    <a:pt x="1089" y="1748"/>
                  </a:lnTo>
                  <a:lnTo>
                    <a:pt x="902" y="1446"/>
                  </a:lnTo>
                  <a:cubicBezTo>
                    <a:pt x="901" y="1443"/>
                    <a:pt x="901" y="1439"/>
                    <a:pt x="903" y="1437"/>
                  </a:cubicBezTo>
                  <a:cubicBezTo>
                    <a:pt x="905" y="1434"/>
                    <a:pt x="908" y="1433"/>
                    <a:pt x="911" y="1434"/>
                  </a:cubicBezTo>
                  <a:lnTo>
                    <a:pt x="980" y="1454"/>
                  </a:lnTo>
                  <a:lnTo>
                    <a:pt x="1028" y="1474"/>
                  </a:lnTo>
                  <a:cubicBezTo>
                    <a:pt x="1031" y="1476"/>
                    <a:pt x="1032" y="1479"/>
                    <a:pt x="1032" y="1482"/>
                  </a:cubicBezTo>
                  <a:lnTo>
                    <a:pt x="1032" y="1522"/>
                  </a:lnTo>
                  <a:lnTo>
                    <a:pt x="1018" y="1517"/>
                  </a:lnTo>
                  <a:lnTo>
                    <a:pt x="1065" y="1457"/>
                  </a:lnTo>
                  <a:cubicBezTo>
                    <a:pt x="1065" y="1456"/>
                    <a:pt x="1066" y="1455"/>
                    <a:pt x="1067" y="1455"/>
                  </a:cubicBezTo>
                  <a:lnTo>
                    <a:pt x="1136" y="1414"/>
                  </a:lnTo>
                  <a:lnTo>
                    <a:pt x="1136" y="1428"/>
                  </a:lnTo>
                  <a:lnTo>
                    <a:pt x="974" y="1348"/>
                  </a:lnTo>
                  <a:cubicBezTo>
                    <a:pt x="971" y="1346"/>
                    <a:pt x="969" y="1343"/>
                    <a:pt x="970" y="1340"/>
                  </a:cubicBezTo>
                  <a:cubicBezTo>
                    <a:pt x="970" y="1336"/>
                    <a:pt x="972" y="1334"/>
                    <a:pt x="976" y="1333"/>
                  </a:cubicBezTo>
                  <a:lnTo>
                    <a:pt x="1116" y="1292"/>
                  </a:lnTo>
                  <a:cubicBezTo>
                    <a:pt x="1117" y="1292"/>
                    <a:pt x="1119" y="1292"/>
                    <a:pt x="1120" y="1292"/>
                  </a:cubicBezTo>
                  <a:lnTo>
                    <a:pt x="1260" y="1333"/>
                  </a:lnTo>
                  <a:lnTo>
                    <a:pt x="1250" y="1342"/>
                  </a:lnTo>
                  <a:lnTo>
                    <a:pt x="1225" y="1241"/>
                  </a:lnTo>
                  <a:lnTo>
                    <a:pt x="1204" y="1182"/>
                  </a:lnTo>
                  <a:lnTo>
                    <a:pt x="1207" y="1186"/>
                  </a:lnTo>
                  <a:lnTo>
                    <a:pt x="1136" y="1146"/>
                  </a:lnTo>
                  <a:cubicBezTo>
                    <a:pt x="1133" y="1144"/>
                    <a:pt x="1131" y="1140"/>
                    <a:pt x="1132" y="1137"/>
                  </a:cubicBezTo>
                  <a:cubicBezTo>
                    <a:pt x="1133" y="1133"/>
                    <a:pt x="1136" y="1131"/>
                    <a:pt x="1140" y="1131"/>
                  </a:cubicBezTo>
                  <a:lnTo>
                    <a:pt x="1211" y="1131"/>
                  </a:lnTo>
                  <a:cubicBezTo>
                    <a:pt x="1213" y="1131"/>
                    <a:pt x="1215" y="1131"/>
                    <a:pt x="1216" y="1133"/>
                  </a:cubicBezTo>
                  <a:lnTo>
                    <a:pt x="1263" y="1173"/>
                  </a:lnTo>
                  <a:lnTo>
                    <a:pt x="1262" y="1172"/>
                  </a:lnTo>
                  <a:lnTo>
                    <a:pt x="1331" y="1212"/>
                  </a:lnTo>
                  <a:lnTo>
                    <a:pt x="1325" y="1212"/>
                  </a:lnTo>
                  <a:lnTo>
                    <a:pt x="1418" y="1191"/>
                  </a:lnTo>
                  <a:lnTo>
                    <a:pt x="1416" y="1206"/>
                  </a:lnTo>
                  <a:lnTo>
                    <a:pt x="1276" y="1125"/>
                  </a:lnTo>
                  <a:lnTo>
                    <a:pt x="1160" y="1044"/>
                  </a:lnTo>
                  <a:lnTo>
                    <a:pt x="1162" y="1045"/>
                  </a:lnTo>
                  <a:lnTo>
                    <a:pt x="975" y="985"/>
                  </a:lnTo>
                  <a:lnTo>
                    <a:pt x="978" y="985"/>
                  </a:lnTo>
                  <a:lnTo>
                    <a:pt x="934" y="985"/>
                  </a:lnTo>
                  <a:lnTo>
                    <a:pt x="942" y="977"/>
                  </a:lnTo>
                  <a:lnTo>
                    <a:pt x="942" y="1018"/>
                  </a:lnTo>
                  <a:lnTo>
                    <a:pt x="941" y="1014"/>
                  </a:lnTo>
                  <a:lnTo>
                    <a:pt x="963" y="1054"/>
                  </a:lnTo>
                  <a:cubicBezTo>
                    <a:pt x="964" y="1057"/>
                    <a:pt x="964" y="1060"/>
                    <a:pt x="962" y="1063"/>
                  </a:cubicBezTo>
                  <a:cubicBezTo>
                    <a:pt x="960" y="1065"/>
                    <a:pt x="957" y="1066"/>
                    <a:pt x="954" y="1066"/>
                  </a:cubicBezTo>
                  <a:lnTo>
                    <a:pt x="861" y="1046"/>
                  </a:lnTo>
                  <a:cubicBezTo>
                    <a:pt x="860" y="1045"/>
                    <a:pt x="860" y="1045"/>
                    <a:pt x="859" y="1045"/>
                  </a:cubicBezTo>
                  <a:lnTo>
                    <a:pt x="813" y="1025"/>
                  </a:lnTo>
                  <a:cubicBezTo>
                    <a:pt x="810" y="1024"/>
                    <a:pt x="808" y="1021"/>
                    <a:pt x="808" y="1018"/>
                  </a:cubicBezTo>
                  <a:lnTo>
                    <a:pt x="808" y="957"/>
                  </a:lnTo>
                  <a:lnTo>
                    <a:pt x="808" y="896"/>
                  </a:lnTo>
                  <a:cubicBezTo>
                    <a:pt x="808" y="894"/>
                    <a:pt x="809" y="892"/>
                    <a:pt x="811" y="890"/>
                  </a:cubicBezTo>
                  <a:cubicBezTo>
                    <a:pt x="812" y="889"/>
                    <a:pt x="815" y="888"/>
                    <a:pt x="817" y="889"/>
                  </a:cubicBezTo>
                  <a:lnTo>
                    <a:pt x="935" y="909"/>
                  </a:lnTo>
                  <a:lnTo>
                    <a:pt x="926" y="917"/>
                  </a:lnTo>
                  <a:lnTo>
                    <a:pt x="926" y="856"/>
                  </a:lnTo>
                  <a:lnTo>
                    <a:pt x="929" y="862"/>
                  </a:lnTo>
                  <a:lnTo>
                    <a:pt x="882" y="822"/>
                  </a:lnTo>
                  <a:lnTo>
                    <a:pt x="883" y="823"/>
                  </a:lnTo>
                  <a:lnTo>
                    <a:pt x="743" y="742"/>
                  </a:lnTo>
                  <a:cubicBezTo>
                    <a:pt x="742" y="741"/>
                    <a:pt x="741" y="741"/>
                    <a:pt x="741" y="740"/>
                  </a:cubicBezTo>
                  <a:lnTo>
                    <a:pt x="650" y="619"/>
                  </a:lnTo>
                  <a:cubicBezTo>
                    <a:pt x="648" y="616"/>
                    <a:pt x="648" y="613"/>
                    <a:pt x="649" y="610"/>
                  </a:cubicBezTo>
                  <a:lnTo>
                    <a:pt x="671" y="570"/>
                  </a:lnTo>
                  <a:cubicBezTo>
                    <a:pt x="672" y="569"/>
                    <a:pt x="672" y="569"/>
                    <a:pt x="672" y="569"/>
                  </a:cubicBezTo>
                  <a:lnTo>
                    <a:pt x="719" y="508"/>
                  </a:lnTo>
                  <a:cubicBezTo>
                    <a:pt x="721" y="506"/>
                    <a:pt x="723" y="505"/>
                    <a:pt x="726" y="505"/>
                  </a:cubicBezTo>
                  <a:cubicBezTo>
                    <a:pt x="729" y="506"/>
                    <a:pt x="732" y="508"/>
                    <a:pt x="733" y="510"/>
                  </a:cubicBezTo>
                  <a:lnTo>
                    <a:pt x="755" y="571"/>
                  </a:lnTo>
                  <a:lnTo>
                    <a:pt x="749" y="566"/>
                  </a:lnTo>
                  <a:lnTo>
                    <a:pt x="818" y="586"/>
                  </a:lnTo>
                  <a:lnTo>
                    <a:pt x="889" y="606"/>
                  </a:lnTo>
                  <a:cubicBezTo>
                    <a:pt x="891" y="607"/>
                    <a:pt x="892" y="608"/>
                    <a:pt x="893" y="609"/>
                  </a:cubicBezTo>
                  <a:lnTo>
                    <a:pt x="940" y="670"/>
                  </a:lnTo>
                  <a:lnTo>
                    <a:pt x="926" y="674"/>
                  </a:lnTo>
                  <a:lnTo>
                    <a:pt x="926" y="594"/>
                  </a:lnTo>
                  <a:cubicBezTo>
                    <a:pt x="926" y="591"/>
                    <a:pt x="927" y="589"/>
                    <a:pt x="929" y="588"/>
                  </a:cubicBezTo>
                  <a:lnTo>
                    <a:pt x="997" y="527"/>
                  </a:lnTo>
                  <a:lnTo>
                    <a:pt x="995" y="532"/>
                  </a:lnTo>
                  <a:lnTo>
                    <a:pt x="1017" y="411"/>
                  </a:lnTo>
                  <a:cubicBezTo>
                    <a:pt x="1017" y="409"/>
                    <a:pt x="1018" y="407"/>
                    <a:pt x="1019" y="406"/>
                  </a:cubicBezTo>
                  <a:lnTo>
                    <a:pt x="1066" y="366"/>
                  </a:lnTo>
                  <a:cubicBezTo>
                    <a:pt x="1067" y="365"/>
                    <a:pt x="1068" y="364"/>
                    <a:pt x="1069" y="364"/>
                  </a:cubicBezTo>
                  <a:lnTo>
                    <a:pt x="1138" y="344"/>
                  </a:lnTo>
                  <a:lnTo>
                    <a:pt x="1371" y="283"/>
                  </a:lnTo>
                  <a:cubicBezTo>
                    <a:pt x="1372" y="283"/>
                    <a:pt x="1372" y="283"/>
                    <a:pt x="1373" y="283"/>
                  </a:cubicBezTo>
                  <a:lnTo>
                    <a:pt x="1488" y="283"/>
                  </a:lnTo>
                  <a:lnTo>
                    <a:pt x="1557" y="283"/>
                  </a:lnTo>
                  <a:cubicBezTo>
                    <a:pt x="1560" y="283"/>
                    <a:pt x="1563" y="284"/>
                    <a:pt x="1564" y="287"/>
                  </a:cubicBezTo>
                  <a:lnTo>
                    <a:pt x="1589" y="327"/>
                  </a:lnTo>
                  <a:lnTo>
                    <a:pt x="1576" y="326"/>
                  </a:lnTo>
                  <a:lnTo>
                    <a:pt x="1644" y="245"/>
                  </a:lnTo>
                  <a:lnTo>
                    <a:pt x="1643" y="254"/>
                  </a:lnTo>
                  <a:lnTo>
                    <a:pt x="1618" y="193"/>
                  </a:lnTo>
                  <a:close/>
                  <a:moveTo>
                    <a:pt x="1658" y="248"/>
                  </a:moveTo>
                  <a:cubicBezTo>
                    <a:pt x="1659" y="250"/>
                    <a:pt x="1659" y="254"/>
                    <a:pt x="1657" y="256"/>
                  </a:cubicBezTo>
                  <a:lnTo>
                    <a:pt x="1588" y="337"/>
                  </a:lnTo>
                  <a:cubicBezTo>
                    <a:pt x="1586" y="339"/>
                    <a:pt x="1584" y="340"/>
                    <a:pt x="1581" y="339"/>
                  </a:cubicBezTo>
                  <a:cubicBezTo>
                    <a:pt x="1579" y="339"/>
                    <a:pt x="1576" y="338"/>
                    <a:pt x="1575" y="336"/>
                  </a:cubicBezTo>
                  <a:lnTo>
                    <a:pt x="1550" y="295"/>
                  </a:lnTo>
                  <a:lnTo>
                    <a:pt x="1557" y="299"/>
                  </a:lnTo>
                  <a:lnTo>
                    <a:pt x="1488" y="299"/>
                  </a:lnTo>
                  <a:lnTo>
                    <a:pt x="1373" y="299"/>
                  </a:lnTo>
                  <a:lnTo>
                    <a:pt x="1375" y="299"/>
                  </a:lnTo>
                  <a:lnTo>
                    <a:pt x="1142" y="359"/>
                  </a:lnTo>
                  <a:lnTo>
                    <a:pt x="1073" y="379"/>
                  </a:lnTo>
                  <a:lnTo>
                    <a:pt x="1076" y="378"/>
                  </a:lnTo>
                  <a:lnTo>
                    <a:pt x="1030" y="418"/>
                  </a:lnTo>
                  <a:lnTo>
                    <a:pt x="1032" y="414"/>
                  </a:lnTo>
                  <a:lnTo>
                    <a:pt x="1010" y="535"/>
                  </a:lnTo>
                  <a:cubicBezTo>
                    <a:pt x="1010" y="536"/>
                    <a:pt x="1009" y="538"/>
                    <a:pt x="1008" y="539"/>
                  </a:cubicBezTo>
                  <a:lnTo>
                    <a:pt x="939" y="600"/>
                  </a:lnTo>
                  <a:lnTo>
                    <a:pt x="942" y="594"/>
                  </a:lnTo>
                  <a:lnTo>
                    <a:pt x="942" y="674"/>
                  </a:lnTo>
                  <a:cubicBezTo>
                    <a:pt x="942" y="678"/>
                    <a:pt x="940" y="681"/>
                    <a:pt x="936" y="682"/>
                  </a:cubicBezTo>
                  <a:cubicBezTo>
                    <a:pt x="933" y="683"/>
                    <a:pt x="930" y="682"/>
                    <a:pt x="927" y="679"/>
                  </a:cubicBezTo>
                  <a:lnTo>
                    <a:pt x="881" y="619"/>
                  </a:lnTo>
                  <a:lnTo>
                    <a:pt x="885" y="622"/>
                  </a:lnTo>
                  <a:lnTo>
                    <a:pt x="813" y="601"/>
                  </a:lnTo>
                  <a:lnTo>
                    <a:pt x="745" y="581"/>
                  </a:lnTo>
                  <a:cubicBezTo>
                    <a:pt x="742" y="581"/>
                    <a:pt x="740" y="579"/>
                    <a:pt x="740" y="576"/>
                  </a:cubicBezTo>
                  <a:lnTo>
                    <a:pt x="718" y="516"/>
                  </a:lnTo>
                  <a:lnTo>
                    <a:pt x="731" y="518"/>
                  </a:lnTo>
                  <a:lnTo>
                    <a:pt x="685" y="578"/>
                  </a:lnTo>
                  <a:lnTo>
                    <a:pt x="685" y="577"/>
                  </a:lnTo>
                  <a:lnTo>
                    <a:pt x="664" y="618"/>
                  </a:lnTo>
                  <a:lnTo>
                    <a:pt x="663" y="609"/>
                  </a:lnTo>
                  <a:lnTo>
                    <a:pt x="754" y="730"/>
                  </a:lnTo>
                  <a:lnTo>
                    <a:pt x="751" y="728"/>
                  </a:lnTo>
                  <a:lnTo>
                    <a:pt x="891" y="809"/>
                  </a:lnTo>
                  <a:cubicBezTo>
                    <a:pt x="892" y="809"/>
                    <a:pt x="892" y="809"/>
                    <a:pt x="892" y="810"/>
                  </a:cubicBezTo>
                  <a:lnTo>
                    <a:pt x="939" y="850"/>
                  </a:lnTo>
                  <a:cubicBezTo>
                    <a:pt x="941" y="852"/>
                    <a:pt x="942" y="854"/>
                    <a:pt x="942" y="856"/>
                  </a:cubicBezTo>
                  <a:lnTo>
                    <a:pt x="942" y="917"/>
                  </a:lnTo>
                  <a:cubicBezTo>
                    <a:pt x="942" y="919"/>
                    <a:pt x="941" y="921"/>
                    <a:pt x="939" y="923"/>
                  </a:cubicBezTo>
                  <a:cubicBezTo>
                    <a:pt x="937" y="924"/>
                    <a:pt x="935" y="925"/>
                    <a:pt x="932" y="925"/>
                  </a:cubicBezTo>
                  <a:lnTo>
                    <a:pt x="814" y="904"/>
                  </a:lnTo>
                  <a:lnTo>
                    <a:pt x="824" y="896"/>
                  </a:lnTo>
                  <a:lnTo>
                    <a:pt x="824" y="957"/>
                  </a:lnTo>
                  <a:lnTo>
                    <a:pt x="824" y="1018"/>
                  </a:lnTo>
                  <a:lnTo>
                    <a:pt x="819" y="1010"/>
                  </a:lnTo>
                  <a:lnTo>
                    <a:pt x="866" y="1030"/>
                  </a:lnTo>
                  <a:lnTo>
                    <a:pt x="864" y="1030"/>
                  </a:lnTo>
                  <a:lnTo>
                    <a:pt x="957" y="1050"/>
                  </a:lnTo>
                  <a:lnTo>
                    <a:pt x="949" y="1062"/>
                  </a:lnTo>
                  <a:lnTo>
                    <a:pt x="927" y="1021"/>
                  </a:lnTo>
                  <a:cubicBezTo>
                    <a:pt x="926" y="1020"/>
                    <a:pt x="926" y="1019"/>
                    <a:pt x="926" y="1018"/>
                  </a:cubicBezTo>
                  <a:lnTo>
                    <a:pt x="926" y="977"/>
                  </a:lnTo>
                  <a:cubicBezTo>
                    <a:pt x="926" y="973"/>
                    <a:pt x="929" y="969"/>
                    <a:pt x="934" y="969"/>
                  </a:cubicBezTo>
                  <a:lnTo>
                    <a:pt x="978" y="969"/>
                  </a:lnTo>
                  <a:cubicBezTo>
                    <a:pt x="979" y="969"/>
                    <a:pt x="979" y="969"/>
                    <a:pt x="980" y="970"/>
                  </a:cubicBezTo>
                  <a:lnTo>
                    <a:pt x="1167" y="1030"/>
                  </a:lnTo>
                  <a:cubicBezTo>
                    <a:pt x="1168" y="1030"/>
                    <a:pt x="1168" y="1031"/>
                    <a:pt x="1169" y="1031"/>
                  </a:cubicBezTo>
                  <a:lnTo>
                    <a:pt x="1284" y="1112"/>
                  </a:lnTo>
                  <a:lnTo>
                    <a:pt x="1424" y="1192"/>
                  </a:lnTo>
                  <a:cubicBezTo>
                    <a:pt x="1427" y="1194"/>
                    <a:pt x="1428" y="1197"/>
                    <a:pt x="1428" y="1200"/>
                  </a:cubicBezTo>
                  <a:cubicBezTo>
                    <a:pt x="1427" y="1204"/>
                    <a:pt x="1425" y="1206"/>
                    <a:pt x="1422" y="1207"/>
                  </a:cubicBezTo>
                  <a:lnTo>
                    <a:pt x="1328" y="1227"/>
                  </a:lnTo>
                  <a:cubicBezTo>
                    <a:pt x="1326" y="1228"/>
                    <a:pt x="1324" y="1227"/>
                    <a:pt x="1322" y="1226"/>
                  </a:cubicBezTo>
                  <a:lnTo>
                    <a:pt x="1254" y="1186"/>
                  </a:lnTo>
                  <a:cubicBezTo>
                    <a:pt x="1253" y="1186"/>
                    <a:pt x="1253" y="1185"/>
                    <a:pt x="1253" y="1185"/>
                  </a:cubicBezTo>
                  <a:lnTo>
                    <a:pt x="1206" y="1145"/>
                  </a:lnTo>
                  <a:lnTo>
                    <a:pt x="1211" y="1147"/>
                  </a:lnTo>
                  <a:lnTo>
                    <a:pt x="1140" y="1147"/>
                  </a:lnTo>
                  <a:lnTo>
                    <a:pt x="1144" y="1132"/>
                  </a:lnTo>
                  <a:lnTo>
                    <a:pt x="1215" y="1172"/>
                  </a:lnTo>
                  <a:cubicBezTo>
                    <a:pt x="1217" y="1173"/>
                    <a:pt x="1218" y="1174"/>
                    <a:pt x="1219" y="1176"/>
                  </a:cubicBezTo>
                  <a:lnTo>
                    <a:pt x="1241" y="1238"/>
                  </a:lnTo>
                  <a:lnTo>
                    <a:pt x="1266" y="1339"/>
                  </a:lnTo>
                  <a:cubicBezTo>
                    <a:pt x="1266" y="1341"/>
                    <a:pt x="1265" y="1344"/>
                    <a:pt x="1263" y="1346"/>
                  </a:cubicBezTo>
                  <a:cubicBezTo>
                    <a:pt x="1261" y="1348"/>
                    <a:pt x="1258" y="1349"/>
                    <a:pt x="1256" y="1348"/>
                  </a:cubicBezTo>
                  <a:lnTo>
                    <a:pt x="1116" y="1308"/>
                  </a:lnTo>
                  <a:lnTo>
                    <a:pt x="1120" y="1308"/>
                  </a:lnTo>
                  <a:lnTo>
                    <a:pt x="980" y="1348"/>
                  </a:lnTo>
                  <a:lnTo>
                    <a:pt x="981" y="1333"/>
                  </a:lnTo>
                  <a:lnTo>
                    <a:pt x="1143" y="1414"/>
                  </a:lnTo>
                  <a:cubicBezTo>
                    <a:pt x="1146" y="1415"/>
                    <a:pt x="1148" y="1418"/>
                    <a:pt x="1148" y="1421"/>
                  </a:cubicBezTo>
                  <a:cubicBezTo>
                    <a:pt x="1148" y="1424"/>
                    <a:pt x="1146" y="1427"/>
                    <a:pt x="1144" y="1428"/>
                  </a:cubicBezTo>
                  <a:lnTo>
                    <a:pt x="1075" y="1468"/>
                  </a:lnTo>
                  <a:lnTo>
                    <a:pt x="1077" y="1466"/>
                  </a:lnTo>
                  <a:lnTo>
                    <a:pt x="1031" y="1527"/>
                  </a:lnTo>
                  <a:cubicBezTo>
                    <a:pt x="1029" y="1530"/>
                    <a:pt x="1025" y="1531"/>
                    <a:pt x="1022" y="1530"/>
                  </a:cubicBezTo>
                  <a:cubicBezTo>
                    <a:pt x="1019" y="1529"/>
                    <a:pt x="1016" y="1526"/>
                    <a:pt x="1016" y="1522"/>
                  </a:cubicBezTo>
                  <a:lnTo>
                    <a:pt x="1016" y="1482"/>
                  </a:lnTo>
                  <a:lnTo>
                    <a:pt x="1021" y="1489"/>
                  </a:lnTo>
                  <a:lnTo>
                    <a:pt x="975" y="1469"/>
                  </a:lnTo>
                  <a:lnTo>
                    <a:pt x="907" y="1449"/>
                  </a:lnTo>
                  <a:lnTo>
                    <a:pt x="916" y="1437"/>
                  </a:lnTo>
                  <a:lnTo>
                    <a:pt x="1103" y="1740"/>
                  </a:lnTo>
                  <a:cubicBezTo>
                    <a:pt x="1105" y="1743"/>
                    <a:pt x="1104" y="1747"/>
                    <a:pt x="1102" y="1750"/>
                  </a:cubicBezTo>
                  <a:cubicBezTo>
                    <a:pt x="1099" y="1752"/>
                    <a:pt x="1095" y="1753"/>
                    <a:pt x="1092" y="1751"/>
                  </a:cubicBezTo>
                  <a:lnTo>
                    <a:pt x="930" y="1671"/>
                  </a:lnTo>
                  <a:lnTo>
                    <a:pt x="941" y="1667"/>
                  </a:lnTo>
                  <a:lnTo>
                    <a:pt x="869" y="1789"/>
                  </a:lnTo>
                  <a:cubicBezTo>
                    <a:pt x="868" y="1791"/>
                    <a:pt x="866" y="1792"/>
                    <a:pt x="863" y="1792"/>
                  </a:cubicBezTo>
                  <a:cubicBezTo>
                    <a:pt x="860" y="1793"/>
                    <a:pt x="858" y="1791"/>
                    <a:pt x="856" y="1789"/>
                  </a:cubicBezTo>
                  <a:lnTo>
                    <a:pt x="765" y="1668"/>
                  </a:lnTo>
                  <a:lnTo>
                    <a:pt x="770" y="1671"/>
                  </a:lnTo>
                  <a:lnTo>
                    <a:pt x="698" y="1651"/>
                  </a:lnTo>
                  <a:lnTo>
                    <a:pt x="707" y="1648"/>
                  </a:lnTo>
                  <a:lnTo>
                    <a:pt x="663" y="1708"/>
                  </a:lnTo>
                  <a:cubicBezTo>
                    <a:pt x="661" y="1711"/>
                    <a:pt x="659" y="1712"/>
                    <a:pt x="656" y="1712"/>
                  </a:cubicBezTo>
                  <a:cubicBezTo>
                    <a:pt x="653" y="1712"/>
                    <a:pt x="651" y="1710"/>
                    <a:pt x="650" y="1708"/>
                  </a:cubicBezTo>
                  <a:lnTo>
                    <a:pt x="578" y="1587"/>
                  </a:lnTo>
                  <a:cubicBezTo>
                    <a:pt x="578" y="1586"/>
                    <a:pt x="578" y="1585"/>
                    <a:pt x="577" y="1585"/>
                  </a:cubicBezTo>
                  <a:lnTo>
                    <a:pt x="555" y="1504"/>
                  </a:lnTo>
                  <a:lnTo>
                    <a:pt x="560" y="1509"/>
                  </a:lnTo>
                  <a:lnTo>
                    <a:pt x="512" y="1489"/>
                  </a:lnTo>
                  <a:lnTo>
                    <a:pt x="444" y="1448"/>
                  </a:lnTo>
                  <a:lnTo>
                    <a:pt x="372" y="1408"/>
                  </a:lnTo>
                  <a:cubicBezTo>
                    <a:pt x="370" y="1407"/>
                    <a:pt x="369" y="1405"/>
                    <a:pt x="369" y="1403"/>
                  </a:cubicBezTo>
                  <a:cubicBezTo>
                    <a:pt x="368" y="1401"/>
                    <a:pt x="369" y="1398"/>
                    <a:pt x="370" y="1396"/>
                  </a:cubicBezTo>
                  <a:lnTo>
                    <a:pt x="441" y="1295"/>
                  </a:lnTo>
                  <a:cubicBezTo>
                    <a:pt x="442" y="1294"/>
                    <a:pt x="444" y="1293"/>
                    <a:pt x="446" y="1292"/>
                  </a:cubicBezTo>
                  <a:lnTo>
                    <a:pt x="514" y="1272"/>
                  </a:lnTo>
                  <a:lnTo>
                    <a:pt x="512" y="1273"/>
                  </a:lnTo>
                  <a:lnTo>
                    <a:pt x="581" y="1233"/>
                  </a:lnTo>
                  <a:cubicBezTo>
                    <a:pt x="583" y="1232"/>
                    <a:pt x="585" y="1231"/>
                    <a:pt x="587" y="1232"/>
                  </a:cubicBezTo>
                  <a:lnTo>
                    <a:pt x="727" y="1272"/>
                  </a:lnTo>
                  <a:lnTo>
                    <a:pt x="817" y="1292"/>
                  </a:lnTo>
                  <a:lnTo>
                    <a:pt x="816" y="1292"/>
                  </a:lnTo>
                  <a:lnTo>
                    <a:pt x="909" y="1292"/>
                  </a:lnTo>
                  <a:lnTo>
                    <a:pt x="902" y="1296"/>
                  </a:lnTo>
                  <a:lnTo>
                    <a:pt x="927" y="1256"/>
                  </a:lnTo>
                  <a:cubicBezTo>
                    <a:pt x="928" y="1254"/>
                    <a:pt x="929" y="1253"/>
                    <a:pt x="930" y="1253"/>
                  </a:cubicBezTo>
                  <a:lnTo>
                    <a:pt x="998" y="1212"/>
                  </a:lnTo>
                  <a:lnTo>
                    <a:pt x="1002" y="1227"/>
                  </a:lnTo>
                  <a:lnTo>
                    <a:pt x="793" y="1207"/>
                  </a:lnTo>
                  <a:lnTo>
                    <a:pt x="794" y="1207"/>
                  </a:lnTo>
                  <a:lnTo>
                    <a:pt x="563" y="1227"/>
                  </a:lnTo>
                  <a:lnTo>
                    <a:pt x="332" y="1227"/>
                  </a:lnTo>
                  <a:cubicBezTo>
                    <a:pt x="331" y="1227"/>
                    <a:pt x="330" y="1227"/>
                    <a:pt x="329" y="1226"/>
                  </a:cubicBezTo>
                  <a:lnTo>
                    <a:pt x="257" y="1186"/>
                  </a:lnTo>
                  <a:lnTo>
                    <a:pt x="261" y="1187"/>
                  </a:lnTo>
                  <a:lnTo>
                    <a:pt x="170" y="1187"/>
                  </a:lnTo>
                  <a:cubicBezTo>
                    <a:pt x="168" y="1187"/>
                    <a:pt x="165" y="1186"/>
                    <a:pt x="164" y="1183"/>
                  </a:cubicBezTo>
                  <a:cubicBezTo>
                    <a:pt x="162" y="1181"/>
                    <a:pt x="162" y="1178"/>
                    <a:pt x="163" y="1176"/>
                  </a:cubicBezTo>
                  <a:lnTo>
                    <a:pt x="207" y="1075"/>
                  </a:lnTo>
                  <a:lnTo>
                    <a:pt x="210" y="1085"/>
                  </a:lnTo>
                  <a:lnTo>
                    <a:pt x="94" y="1004"/>
                  </a:lnTo>
                  <a:cubicBezTo>
                    <a:pt x="94" y="1004"/>
                    <a:pt x="94" y="1003"/>
                    <a:pt x="93" y="1003"/>
                  </a:cubicBezTo>
                  <a:lnTo>
                    <a:pt x="3" y="902"/>
                  </a:lnTo>
                  <a:cubicBezTo>
                    <a:pt x="1" y="900"/>
                    <a:pt x="0" y="897"/>
                    <a:pt x="1" y="895"/>
                  </a:cubicBezTo>
                  <a:cubicBezTo>
                    <a:pt x="1" y="892"/>
                    <a:pt x="3" y="890"/>
                    <a:pt x="5" y="889"/>
                  </a:cubicBezTo>
                  <a:lnTo>
                    <a:pt x="49" y="869"/>
                  </a:lnTo>
                  <a:lnTo>
                    <a:pt x="44" y="876"/>
                  </a:lnTo>
                  <a:lnTo>
                    <a:pt x="44" y="775"/>
                  </a:lnTo>
                  <a:cubicBezTo>
                    <a:pt x="44" y="772"/>
                    <a:pt x="46" y="769"/>
                    <a:pt x="49" y="768"/>
                  </a:cubicBezTo>
                  <a:lnTo>
                    <a:pt x="143" y="728"/>
                  </a:lnTo>
                  <a:lnTo>
                    <a:pt x="138" y="735"/>
                  </a:lnTo>
                  <a:lnTo>
                    <a:pt x="138" y="634"/>
                  </a:lnTo>
                  <a:cubicBezTo>
                    <a:pt x="138" y="631"/>
                    <a:pt x="139" y="629"/>
                    <a:pt x="142" y="627"/>
                  </a:cubicBezTo>
                  <a:lnTo>
                    <a:pt x="210" y="587"/>
                  </a:lnTo>
                  <a:lnTo>
                    <a:pt x="207" y="596"/>
                  </a:lnTo>
                  <a:lnTo>
                    <a:pt x="185" y="515"/>
                  </a:lnTo>
                  <a:cubicBezTo>
                    <a:pt x="184" y="513"/>
                    <a:pt x="185" y="510"/>
                    <a:pt x="186" y="508"/>
                  </a:cubicBezTo>
                  <a:cubicBezTo>
                    <a:pt x="188" y="506"/>
                    <a:pt x="190" y="505"/>
                    <a:pt x="192" y="505"/>
                  </a:cubicBezTo>
                  <a:lnTo>
                    <a:pt x="214" y="505"/>
                  </a:lnTo>
                  <a:lnTo>
                    <a:pt x="211" y="506"/>
                  </a:lnTo>
                  <a:lnTo>
                    <a:pt x="305" y="465"/>
                  </a:lnTo>
                  <a:cubicBezTo>
                    <a:pt x="306" y="465"/>
                    <a:pt x="307" y="465"/>
                    <a:pt x="308" y="465"/>
                  </a:cubicBezTo>
                  <a:lnTo>
                    <a:pt x="376" y="465"/>
                  </a:lnTo>
                  <a:lnTo>
                    <a:pt x="371" y="467"/>
                  </a:lnTo>
                  <a:lnTo>
                    <a:pt x="464" y="366"/>
                  </a:lnTo>
                  <a:cubicBezTo>
                    <a:pt x="465" y="365"/>
                    <a:pt x="467" y="364"/>
                    <a:pt x="469" y="364"/>
                  </a:cubicBezTo>
                  <a:lnTo>
                    <a:pt x="656" y="344"/>
                  </a:lnTo>
                  <a:lnTo>
                    <a:pt x="649" y="349"/>
                  </a:lnTo>
                  <a:lnTo>
                    <a:pt x="671" y="269"/>
                  </a:lnTo>
                  <a:cubicBezTo>
                    <a:pt x="672" y="265"/>
                    <a:pt x="675" y="263"/>
                    <a:pt x="678" y="263"/>
                  </a:cubicBezTo>
                  <a:lnTo>
                    <a:pt x="794" y="263"/>
                  </a:lnTo>
                  <a:lnTo>
                    <a:pt x="791" y="263"/>
                  </a:lnTo>
                  <a:lnTo>
                    <a:pt x="906" y="223"/>
                  </a:lnTo>
                  <a:lnTo>
                    <a:pt x="905" y="224"/>
                  </a:lnTo>
                  <a:lnTo>
                    <a:pt x="1045" y="143"/>
                  </a:lnTo>
                  <a:cubicBezTo>
                    <a:pt x="1047" y="142"/>
                    <a:pt x="1050" y="141"/>
                    <a:pt x="1052" y="142"/>
                  </a:cubicBezTo>
                  <a:lnTo>
                    <a:pt x="1143" y="183"/>
                  </a:lnTo>
                  <a:lnTo>
                    <a:pt x="1140" y="182"/>
                  </a:lnTo>
                  <a:lnTo>
                    <a:pt x="1233" y="182"/>
                  </a:lnTo>
                  <a:lnTo>
                    <a:pt x="1302" y="182"/>
                  </a:lnTo>
                  <a:lnTo>
                    <a:pt x="1300" y="182"/>
                  </a:lnTo>
                  <a:lnTo>
                    <a:pt x="1462" y="142"/>
                  </a:lnTo>
                  <a:lnTo>
                    <a:pt x="1461" y="142"/>
                  </a:lnTo>
                  <a:lnTo>
                    <a:pt x="1554" y="102"/>
                  </a:lnTo>
                  <a:lnTo>
                    <a:pt x="1549" y="111"/>
                  </a:lnTo>
                  <a:lnTo>
                    <a:pt x="1527" y="10"/>
                  </a:lnTo>
                  <a:cubicBezTo>
                    <a:pt x="1527" y="8"/>
                    <a:pt x="1527" y="5"/>
                    <a:pt x="1529" y="3"/>
                  </a:cubicBezTo>
                  <a:cubicBezTo>
                    <a:pt x="1530" y="2"/>
                    <a:pt x="1533" y="0"/>
                    <a:pt x="1535" y="0"/>
                  </a:cubicBezTo>
                  <a:lnTo>
                    <a:pt x="1604" y="0"/>
                  </a:lnTo>
                  <a:cubicBezTo>
                    <a:pt x="1606" y="0"/>
                    <a:pt x="1608" y="1"/>
                    <a:pt x="1609" y="2"/>
                  </a:cubicBezTo>
                  <a:lnTo>
                    <a:pt x="1678" y="63"/>
                  </a:lnTo>
                  <a:cubicBezTo>
                    <a:pt x="1680" y="65"/>
                    <a:pt x="1681" y="69"/>
                    <a:pt x="1680" y="72"/>
                  </a:cubicBezTo>
                  <a:lnTo>
                    <a:pt x="1633" y="193"/>
                  </a:lnTo>
                  <a:lnTo>
                    <a:pt x="1633" y="187"/>
                  </a:lnTo>
                  <a:lnTo>
                    <a:pt x="1658" y="248"/>
                  </a:lnTo>
                  <a:close/>
                </a:path>
              </a:pathLst>
            </a:custGeom>
            <a:solidFill>
              <a:srgbClr val="000000"/>
            </a:solidFill>
            <a:ln w="0" cap="flat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253" name="Rectangle 220"/>
            <p:cNvSpPr>
              <a:spLocks noChangeArrowheads="1"/>
            </p:cNvSpPr>
            <p:nvPr/>
          </p:nvSpPr>
          <p:spPr bwMode="auto">
            <a:xfrm>
              <a:off x="4407" y="2889"/>
              <a:ext cx="60" cy="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sz="500" b="1">
                  <a:solidFill>
                    <a:srgbClr val="000000"/>
                  </a:solidFill>
                </a:rPr>
                <a:t>GR</a:t>
              </a:r>
              <a:endParaRPr lang="de-DE"/>
            </a:p>
          </p:txBody>
        </p:sp>
        <p:sp>
          <p:nvSpPr>
            <p:cNvPr id="7254" name="Freeform 221"/>
            <p:cNvSpPr>
              <a:spLocks/>
            </p:cNvSpPr>
            <p:nvPr/>
          </p:nvSpPr>
          <p:spPr bwMode="auto">
            <a:xfrm>
              <a:off x="4321" y="2714"/>
              <a:ext cx="160" cy="117"/>
            </a:xfrm>
            <a:custGeom>
              <a:avLst/>
              <a:gdLst>
                <a:gd name="T0" fmla="*/ 262 w 152"/>
                <a:gd name="T1" fmla="*/ 31 h 112"/>
                <a:gd name="T2" fmla="*/ 214 w 152"/>
                <a:gd name="T3" fmla="*/ 9 h 112"/>
                <a:gd name="T4" fmla="*/ 205 w 152"/>
                <a:gd name="T5" fmla="*/ 0 h 112"/>
                <a:gd name="T6" fmla="*/ 155 w 152"/>
                <a:gd name="T7" fmla="*/ 0 h 112"/>
                <a:gd name="T8" fmla="*/ 87 w 152"/>
                <a:gd name="T9" fmla="*/ 26 h 112"/>
                <a:gd name="T10" fmla="*/ 58 w 152"/>
                <a:gd name="T11" fmla="*/ 31 h 112"/>
                <a:gd name="T12" fmla="*/ 27 w 152"/>
                <a:gd name="T13" fmla="*/ 36 h 112"/>
                <a:gd name="T14" fmla="*/ 22 w 152"/>
                <a:gd name="T15" fmla="*/ 71 h 112"/>
                <a:gd name="T16" fmla="*/ 0 w 152"/>
                <a:gd name="T17" fmla="*/ 63 h 112"/>
                <a:gd name="T18" fmla="*/ 0 w 152"/>
                <a:gd name="T19" fmla="*/ 88 h 112"/>
                <a:gd name="T20" fmla="*/ 5 w 152"/>
                <a:gd name="T21" fmla="*/ 142 h 112"/>
                <a:gd name="T22" fmla="*/ 35 w 152"/>
                <a:gd name="T23" fmla="*/ 174 h 112"/>
                <a:gd name="T24" fmla="*/ 67 w 152"/>
                <a:gd name="T25" fmla="*/ 182 h 112"/>
                <a:gd name="T26" fmla="*/ 77 w 152"/>
                <a:gd name="T27" fmla="*/ 188 h 112"/>
                <a:gd name="T28" fmla="*/ 87 w 152"/>
                <a:gd name="T29" fmla="*/ 188 h 112"/>
                <a:gd name="T30" fmla="*/ 126 w 152"/>
                <a:gd name="T31" fmla="*/ 174 h 112"/>
                <a:gd name="T32" fmla="*/ 155 w 152"/>
                <a:gd name="T33" fmla="*/ 174 h 112"/>
                <a:gd name="T34" fmla="*/ 195 w 152"/>
                <a:gd name="T35" fmla="*/ 136 h 112"/>
                <a:gd name="T36" fmla="*/ 274 w 152"/>
                <a:gd name="T37" fmla="*/ 126 h 112"/>
                <a:gd name="T38" fmla="*/ 280 w 152"/>
                <a:gd name="T39" fmla="*/ 103 h 112"/>
                <a:gd name="T40" fmla="*/ 280 w 152"/>
                <a:gd name="T41" fmla="*/ 63 h 112"/>
                <a:gd name="T42" fmla="*/ 262 w 152"/>
                <a:gd name="T43" fmla="*/ 31 h 11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152"/>
                <a:gd name="T67" fmla="*/ 0 h 112"/>
                <a:gd name="T68" fmla="*/ 152 w 152"/>
                <a:gd name="T69" fmla="*/ 112 h 112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152" h="112">
                  <a:moveTo>
                    <a:pt x="142" y="19"/>
                  </a:moveTo>
                  <a:lnTo>
                    <a:pt x="116" y="9"/>
                  </a:lnTo>
                  <a:lnTo>
                    <a:pt x="111" y="0"/>
                  </a:lnTo>
                  <a:lnTo>
                    <a:pt x="84" y="0"/>
                  </a:lnTo>
                  <a:lnTo>
                    <a:pt x="47" y="14"/>
                  </a:lnTo>
                  <a:lnTo>
                    <a:pt x="31" y="19"/>
                  </a:lnTo>
                  <a:lnTo>
                    <a:pt x="15" y="23"/>
                  </a:lnTo>
                  <a:lnTo>
                    <a:pt x="10" y="42"/>
                  </a:lnTo>
                  <a:lnTo>
                    <a:pt x="0" y="37"/>
                  </a:lnTo>
                  <a:lnTo>
                    <a:pt x="0" y="52"/>
                  </a:lnTo>
                  <a:lnTo>
                    <a:pt x="5" y="84"/>
                  </a:lnTo>
                  <a:lnTo>
                    <a:pt x="20" y="103"/>
                  </a:lnTo>
                  <a:lnTo>
                    <a:pt x="37" y="108"/>
                  </a:lnTo>
                  <a:lnTo>
                    <a:pt x="42" y="112"/>
                  </a:lnTo>
                  <a:lnTo>
                    <a:pt x="47" y="112"/>
                  </a:lnTo>
                  <a:lnTo>
                    <a:pt x="68" y="103"/>
                  </a:lnTo>
                  <a:lnTo>
                    <a:pt x="84" y="103"/>
                  </a:lnTo>
                  <a:lnTo>
                    <a:pt x="105" y="80"/>
                  </a:lnTo>
                  <a:lnTo>
                    <a:pt x="147" y="75"/>
                  </a:lnTo>
                  <a:lnTo>
                    <a:pt x="152" y="61"/>
                  </a:lnTo>
                  <a:lnTo>
                    <a:pt x="152" y="37"/>
                  </a:lnTo>
                  <a:lnTo>
                    <a:pt x="142" y="19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cs-CZ"/>
            </a:p>
          </p:txBody>
        </p:sp>
        <p:sp>
          <p:nvSpPr>
            <p:cNvPr id="7255" name="Freeform 222"/>
            <p:cNvSpPr>
              <a:spLocks noEditPoints="1"/>
            </p:cNvSpPr>
            <p:nvPr/>
          </p:nvSpPr>
          <p:spPr bwMode="auto">
            <a:xfrm>
              <a:off x="4319" y="2712"/>
              <a:ext cx="164" cy="122"/>
            </a:xfrm>
            <a:custGeom>
              <a:avLst/>
              <a:gdLst>
                <a:gd name="T0" fmla="*/ 0 w 688"/>
                <a:gd name="T1" fmla="*/ 0 h 512"/>
                <a:gd name="T2" fmla="*/ 0 w 688"/>
                <a:gd name="T3" fmla="*/ 0 h 512"/>
                <a:gd name="T4" fmla="*/ 0 w 688"/>
                <a:gd name="T5" fmla="*/ 0 h 512"/>
                <a:gd name="T6" fmla="*/ 0 w 688"/>
                <a:gd name="T7" fmla="*/ 0 h 512"/>
                <a:gd name="T8" fmla="*/ 0 w 688"/>
                <a:gd name="T9" fmla="*/ 0 h 512"/>
                <a:gd name="T10" fmla="*/ 0 w 688"/>
                <a:gd name="T11" fmla="*/ 0 h 512"/>
                <a:gd name="T12" fmla="*/ 0 w 688"/>
                <a:gd name="T13" fmla="*/ 0 h 512"/>
                <a:gd name="T14" fmla="*/ 0 w 688"/>
                <a:gd name="T15" fmla="*/ 0 h 512"/>
                <a:gd name="T16" fmla="*/ 0 w 688"/>
                <a:gd name="T17" fmla="*/ 0 h 512"/>
                <a:gd name="T18" fmla="*/ 0 w 688"/>
                <a:gd name="T19" fmla="*/ 0 h 512"/>
                <a:gd name="T20" fmla="*/ 0 w 688"/>
                <a:gd name="T21" fmla="*/ 0 h 512"/>
                <a:gd name="T22" fmla="*/ 0 w 688"/>
                <a:gd name="T23" fmla="*/ 0 h 512"/>
                <a:gd name="T24" fmla="*/ 0 w 688"/>
                <a:gd name="T25" fmla="*/ 0 h 512"/>
                <a:gd name="T26" fmla="*/ 0 w 688"/>
                <a:gd name="T27" fmla="*/ 0 h 512"/>
                <a:gd name="T28" fmla="*/ 0 w 688"/>
                <a:gd name="T29" fmla="*/ 0 h 512"/>
                <a:gd name="T30" fmla="*/ 0 w 688"/>
                <a:gd name="T31" fmla="*/ 0 h 512"/>
                <a:gd name="T32" fmla="*/ 0 w 688"/>
                <a:gd name="T33" fmla="*/ 0 h 512"/>
                <a:gd name="T34" fmla="*/ 0 w 688"/>
                <a:gd name="T35" fmla="*/ 0 h 512"/>
                <a:gd name="T36" fmla="*/ 0 w 688"/>
                <a:gd name="T37" fmla="*/ 0 h 512"/>
                <a:gd name="T38" fmla="*/ 0 w 688"/>
                <a:gd name="T39" fmla="*/ 0 h 512"/>
                <a:gd name="T40" fmla="*/ 0 w 688"/>
                <a:gd name="T41" fmla="*/ 0 h 512"/>
                <a:gd name="T42" fmla="*/ 0 w 688"/>
                <a:gd name="T43" fmla="*/ 0 h 512"/>
                <a:gd name="T44" fmla="*/ 0 w 688"/>
                <a:gd name="T45" fmla="*/ 0 h 512"/>
                <a:gd name="T46" fmla="*/ 0 w 688"/>
                <a:gd name="T47" fmla="*/ 0 h 512"/>
                <a:gd name="T48" fmla="*/ 0 w 688"/>
                <a:gd name="T49" fmla="*/ 0 h 512"/>
                <a:gd name="T50" fmla="*/ 0 w 688"/>
                <a:gd name="T51" fmla="*/ 0 h 512"/>
                <a:gd name="T52" fmla="*/ 0 w 688"/>
                <a:gd name="T53" fmla="*/ 0 h 512"/>
                <a:gd name="T54" fmla="*/ 0 w 688"/>
                <a:gd name="T55" fmla="*/ 0 h 512"/>
                <a:gd name="T56" fmla="*/ 0 w 688"/>
                <a:gd name="T57" fmla="*/ 0 h 512"/>
                <a:gd name="T58" fmla="*/ 0 w 688"/>
                <a:gd name="T59" fmla="*/ 0 h 512"/>
                <a:gd name="T60" fmla="*/ 0 w 688"/>
                <a:gd name="T61" fmla="*/ 0 h 512"/>
                <a:gd name="T62" fmla="*/ 0 w 688"/>
                <a:gd name="T63" fmla="*/ 0 h 512"/>
                <a:gd name="T64" fmla="*/ 0 w 688"/>
                <a:gd name="T65" fmla="*/ 0 h 512"/>
                <a:gd name="T66" fmla="*/ 0 w 688"/>
                <a:gd name="T67" fmla="*/ 0 h 512"/>
                <a:gd name="T68" fmla="*/ 0 w 688"/>
                <a:gd name="T69" fmla="*/ 0 h 512"/>
                <a:gd name="T70" fmla="*/ 0 w 688"/>
                <a:gd name="T71" fmla="*/ 0 h 512"/>
                <a:gd name="T72" fmla="*/ 0 w 688"/>
                <a:gd name="T73" fmla="*/ 0 h 512"/>
                <a:gd name="T74" fmla="*/ 0 w 688"/>
                <a:gd name="T75" fmla="*/ 0 h 512"/>
                <a:gd name="T76" fmla="*/ 0 w 688"/>
                <a:gd name="T77" fmla="*/ 0 h 512"/>
                <a:gd name="T78" fmla="*/ 0 w 688"/>
                <a:gd name="T79" fmla="*/ 0 h 512"/>
                <a:gd name="T80" fmla="*/ 0 w 688"/>
                <a:gd name="T81" fmla="*/ 0 h 512"/>
                <a:gd name="T82" fmla="*/ 0 w 688"/>
                <a:gd name="T83" fmla="*/ 0 h 512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688"/>
                <a:gd name="T127" fmla="*/ 0 h 512"/>
                <a:gd name="T128" fmla="*/ 688 w 688"/>
                <a:gd name="T129" fmla="*/ 512 h 512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688" h="512">
                  <a:moveTo>
                    <a:pt x="627" y="95"/>
                  </a:moveTo>
                  <a:lnTo>
                    <a:pt x="631" y="99"/>
                  </a:lnTo>
                  <a:lnTo>
                    <a:pt x="515" y="57"/>
                  </a:lnTo>
                  <a:cubicBezTo>
                    <a:pt x="513" y="57"/>
                    <a:pt x="512" y="55"/>
                    <a:pt x="511" y="54"/>
                  </a:cubicBezTo>
                  <a:lnTo>
                    <a:pt x="489" y="12"/>
                  </a:lnTo>
                  <a:lnTo>
                    <a:pt x="496" y="16"/>
                  </a:lnTo>
                  <a:lnTo>
                    <a:pt x="378" y="16"/>
                  </a:lnTo>
                  <a:lnTo>
                    <a:pt x="380" y="16"/>
                  </a:lnTo>
                  <a:lnTo>
                    <a:pt x="218" y="78"/>
                  </a:lnTo>
                  <a:lnTo>
                    <a:pt x="148" y="99"/>
                  </a:lnTo>
                  <a:lnTo>
                    <a:pt x="80" y="119"/>
                  </a:lnTo>
                  <a:lnTo>
                    <a:pt x="85" y="114"/>
                  </a:lnTo>
                  <a:lnTo>
                    <a:pt x="60" y="197"/>
                  </a:lnTo>
                  <a:cubicBezTo>
                    <a:pt x="60" y="199"/>
                    <a:pt x="58" y="201"/>
                    <a:pt x="56" y="202"/>
                  </a:cubicBezTo>
                  <a:cubicBezTo>
                    <a:pt x="54" y="203"/>
                    <a:pt x="51" y="203"/>
                    <a:pt x="49" y="202"/>
                  </a:cubicBezTo>
                  <a:lnTo>
                    <a:pt x="5" y="181"/>
                  </a:lnTo>
                  <a:lnTo>
                    <a:pt x="16" y="174"/>
                  </a:lnTo>
                  <a:lnTo>
                    <a:pt x="16" y="236"/>
                  </a:lnTo>
                  <a:lnTo>
                    <a:pt x="16" y="235"/>
                  </a:lnTo>
                  <a:lnTo>
                    <a:pt x="38" y="379"/>
                  </a:lnTo>
                  <a:lnTo>
                    <a:pt x="37" y="375"/>
                  </a:lnTo>
                  <a:lnTo>
                    <a:pt x="106" y="458"/>
                  </a:lnTo>
                  <a:lnTo>
                    <a:pt x="102" y="455"/>
                  </a:lnTo>
                  <a:lnTo>
                    <a:pt x="173" y="476"/>
                  </a:lnTo>
                  <a:cubicBezTo>
                    <a:pt x="174" y="476"/>
                    <a:pt x="176" y="477"/>
                    <a:pt x="176" y="478"/>
                  </a:cubicBezTo>
                  <a:lnTo>
                    <a:pt x="198" y="499"/>
                  </a:lnTo>
                  <a:lnTo>
                    <a:pt x="193" y="496"/>
                  </a:lnTo>
                  <a:lnTo>
                    <a:pt x="215" y="496"/>
                  </a:lnTo>
                  <a:lnTo>
                    <a:pt x="212" y="497"/>
                  </a:lnTo>
                  <a:lnTo>
                    <a:pt x="305" y="456"/>
                  </a:lnTo>
                  <a:cubicBezTo>
                    <a:pt x="306" y="455"/>
                    <a:pt x="308" y="455"/>
                    <a:pt x="309" y="455"/>
                  </a:cubicBezTo>
                  <a:lnTo>
                    <a:pt x="378" y="455"/>
                  </a:lnTo>
                  <a:lnTo>
                    <a:pt x="372" y="458"/>
                  </a:lnTo>
                  <a:lnTo>
                    <a:pt x="465" y="354"/>
                  </a:lnTo>
                  <a:cubicBezTo>
                    <a:pt x="467" y="353"/>
                    <a:pt x="468" y="352"/>
                    <a:pt x="470" y="352"/>
                  </a:cubicBezTo>
                  <a:lnTo>
                    <a:pt x="658" y="331"/>
                  </a:lnTo>
                  <a:lnTo>
                    <a:pt x="651" y="336"/>
                  </a:lnTo>
                  <a:lnTo>
                    <a:pt x="673" y="274"/>
                  </a:lnTo>
                  <a:lnTo>
                    <a:pt x="672" y="277"/>
                  </a:lnTo>
                  <a:lnTo>
                    <a:pt x="672" y="174"/>
                  </a:lnTo>
                  <a:lnTo>
                    <a:pt x="673" y="178"/>
                  </a:lnTo>
                  <a:lnTo>
                    <a:pt x="627" y="95"/>
                  </a:lnTo>
                  <a:close/>
                  <a:moveTo>
                    <a:pt x="687" y="170"/>
                  </a:moveTo>
                  <a:cubicBezTo>
                    <a:pt x="688" y="171"/>
                    <a:pt x="688" y="172"/>
                    <a:pt x="688" y="174"/>
                  </a:cubicBezTo>
                  <a:lnTo>
                    <a:pt x="688" y="277"/>
                  </a:lnTo>
                  <a:cubicBezTo>
                    <a:pt x="688" y="278"/>
                    <a:pt x="688" y="279"/>
                    <a:pt x="688" y="280"/>
                  </a:cubicBezTo>
                  <a:lnTo>
                    <a:pt x="666" y="342"/>
                  </a:lnTo>
                  <a:cubicBezTo>
                    <a:pt x="665" y="345"/>
                    <a:pt x="662" y="347"/>
                    <a:pt x="659" y="347"/>
                  </a:cubicBezTo>
                  <a:lnTo>
                    <a:pt x="472" y="368"/>
                  </a:lnTo>
                  <a:lnTo>
                    <a:pt x="477" y="365"/>
                  </a:lnTo>
                  <a:lnTo>
                    <a:pt x="383" y="469"/>
                  </a:lnTo>
                  <a:cubicBezTo>
                    <a:pt x="382" y="470"/>
                    <a:pt x="380" y="471"/>
                    <a:pt x="378" y="471"/>
                  </a:cubicBezTo>
                  <a:lnTo>
                    <a:pt x="309" y="471"/>
                  </a:lnTo>
                  <a:lnTo>
                    <a:pt x="312" y="470"/>
                  </a:lnTo>
                  <a:lnTo>
                    <a:pt x="218" y="512"/>
                  </a:lnTo>
                  <a:cubicBezTo>
                    <a:pt x="217" y="512"/>
                    <a:pt x="216" y="512"/>
                    <a:pt x="215" y="512"/>
                  </a:cubicBezTo>
                  <a:lnTo>
                    <a:pt x="193" y="512"/>
                  </a:lnTo>
                  <a:cubicBezTo>
                    <a:pt x="191" y="512"/>
                    <a:pt x="189" y="512"/>
                    <a:pt x="188" y="510"/>
                  </a:cubicBezTo>
                  <a:lnTo>
                    <a:pt x="165" y="490"/>
                  </a:lnTo>
                  <a:lnTo>
                    <a:pt x="169" y="491"/>
                  </a:lnTo>
                  <a:lnTo>
                    <a:pt x="97" y="471"/>
                  </a:lnTo>
                  <a:cubicBezTo>
                    <a:pt x="96" y="470"/>
                    <a:pt x="94" y="469"/>
                    <a:pt x="93" y="468"/>
                  </a:cubicBezTo>
                  <a:lnTo>
                    <a:pt x="24" y="386"/>
                  </a:lnTo>
                  <a:cubicBezTo>
                    <a:pt x="23" y="384"/>
                    <a:pt x="23" y="383"/>
                    <a:pt x="23" y="382"/>
                  </a:cubicBezTo>
                  <a:lnTo>
                    <a:pt x="1" y="237"/>
                  </a:lnTo>
                  <a:cubicBezTo>
                    <a:pt x="0" y="237"/>
                    <a:pt x="0" y="236"/>
                    <a:pt x="0" y="236"/>
                  </a:cubicBezTo>
                  <a:lnTo>
                    <a:pt x="0" y="174"/>
                  </a:lnTo>
                  <a:cubicBezTo>
                    <a:pt x="0" y="171"/>
                    <a:pt x="2" y="169"/>
                    <a:pt x="4" y="167"/>
                  </a:cubicBezTo>
                  <a:cubicBezTo>
                    <a:pt x="6" y="166"/>
                    <a:pt x="9" y="165"/>
                    <a:pt x="12" y="167"/>
                  </a:cubicBezTo>
                  <a:lnTo>
                    <a:pt x="56" y="187"/>
                  </a:lnTo>
                  <a:lnTo>
                    <a:pt x="45" y="192"/>
                  </a:lnTo>
                  <a:lnTo>
                    <a:pt x="70" y="109"/>
                  </a:lnTo>
                  <a:cubicBezTo>
                    <a:pt x="70" y="107"/>
                    <a:pt x="72" y="105"/>
                    <a:pt x="75" y="104"/>
                  </a:cubicBezTo>
                  <a:lnTo>
                    <a:pt x="144" y="83"/>
                  </a:lnTo>
                  <a:lnTo>
                    <a:pt x="212" y="63"/>
                  </a:lnTo>
                  <a:lnTo>
                    <a:pt x="375" y="1"/>
                  </a:lnTo>
                  <a:cubicBezTo>
                    <a:pt x="376" y="1"/>
                    <a:pt x="377" y="0"/>
                    <a:pt x="378" y="0"/>
                  </a:cubicBezTo>
                  <a:lnTo>
                    <a:pt x="496" y="0"/>
                  </a:lnTo>
                  <a:cubicBezTo>
                    <a:pt x="499" y="0"/>
                    <a:pt x="502" y="2"/>
                    <a:pt x="503" y="5"/>
                  </a:cubicBezTo>
                  <a:lnTo>
                    <a:pt x="525" y="46"/>
                  </a:lnTo>
                  <a:lnTo>
                    <a:pt x="521" y="42"/>
                  </a:lnTo>
                  <a:lnTo>
                    <a:pt x="636" y="84"/>
                  </a:lnTo>
                  <a:cubicBezTo>
                    <a:pt x="638" y="84"/>
                    <a:pt x="640" y="86"/>
                    <a:pt x="641" y="87"/>
                  </a:cubicBezTo>
                  <a:lnTo>
                    <a:pt x="687" y="170"/>
                  </a:lnTo>
                  <a:close/>
                </a:path>
              </a:pathLst>
            </a:custGeom>
            <a:solidFill>
              <a:srgbClr val="000000"/>
            </a:solidFill>
            <a:ln w="0" cap="flat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256" name="Rectangle 223"/>
            <p:cNvSpPr>
              <a:spLocks noChangeArrowheads="1"/>
            </p:cNvSpPr>
            <p:nvPr/>
          </p:nvSpPr>
          <p:spPr bwMode="auto">
            <a:xfrm>
              <a:off x="4348" y="2749"/>
              <a:ext cx="87" cy="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sz="300" b="1">
                  <a:solidFill>
                    <a:srgbClr val="000000"/>
                  </a:solidFill>
                </a:rPr>
                <a:t>FYROM</a:t>
              </a:r>
              <a:endParaRPr lang="de-DE"/>
            </a:p>
          </p:txBody>
        </p:sp>
        <p:sp>
          <p:nvSpPr>
            <p:cNvPr id="7257" name="Freeform 224"/>
            <p:cNvSpPr>
              <a:spLocks/>
            </p:cNvSpPr>
            <p:nvPr/>
          </p:nvSpPr>
          <p:spPr bwMode="auto">
            <a:xfrm>
              <a:off x="4251" y="2241"/>
              <a:ext cx="585" cy="359"/>
            </a:xfrm>
            <a:custGeom>
              <a:avLst/>
              <a:gdLst>
                <a:gd name="T0" fmla="*/ 900 w 556"/>
                <a:gd name="T1" fmla="*/ 322 h 342"/>
                <a:gd name="T2" fmla="*/ 831 w 556"/>
                <a:gd name="T3" fmla="*/ 289 h 342"/>
                <a:gd name="T4" fmla="*/ 811 w 556"/>
                <a:gd name="T5" fmla="*/ 215 h 342"/>
                <a:gd name="T6" fmla="*/ 811 w 556"/>
                <a:gd name="T7" fmla="*/ 173 h 342"/>
                <a:gd name="T8" fmla="*/ 765 w 556"/>
                <a:gd name="T9" fmla="*/ 124 h 342"/>
                <a:gd name="T10" fmla="*/ 727 w 556"/>
                <a:gd name="T11" fmla="*/ 98 h 342"/>
                <a:gd name="T12" fmla="*/ 666 w 556"/>
                <a:gd name="T13" fmla="*/ 60 h 342"/>
                <a:gd name="T14" fmla="*/ 631 w 556"/>
                <a:gd name="T15" fmla="*/ 9 h 342"/>
                <a:gd name="T16" fmla="*/ 579 w 556"/>
                <a:gd name="T17" fmla="*/ 0 h 342"/>
                <a:gd name="T18" fmla="*/ 542 w 556"/>
                <a:gd name="T19" fmla="*/ 49 h 342"/>
                <a:gd name="T20" fmla="*/ 455 w 556"/>
                <a:gd name="T21" fmla="*/ 73 h 342"/>
                <a:gd name="T22" fmla="*/ 425 w 556"/>
                <a:gd name="T23" fmla="*/ 98 h 342"/>
                <a:gd name="T24" fmla="*/ 386 w 556"/>
                <a:gd name="T25" fmla="*/ 81 h 342"/>
                <a:gd name="T26" fmla="*/ 328 w 556"/>
                <a:gd name="T27" fmla="*/ 92 h 342"/>
                <a:gd name="T28" fmla="*/ 291 w 556"/>
                <a:gd name="T29" fmla="*/ 92 h 342"/>
                <a:gd name="T30" fmla="*/ 253 w 556"/>
                <a:gd name="T31" fmla="*/ 81 h 342"/>
                <a:gd name="T32" fmla="*/ 214 w 556"/>
                <a:gd name="T33" fmla="*/ 107 h 342"/>
                <a:gd name="T34" fmla="*/ 183 w 556"/>
                <a:gd name="T35" fmla="*/ 132 h 342"/>
                <a:gd name="T36" fmla="*/ 156 w 556"/>
                <a:gd name="T37" fmla="*/ 173 h 342"/>
                <a:gd name="T38" fmla="*/ 127 w 556"/>
                <a:gd name="T39" fmla="*/ 231 h 342"/>
                <a:gd name="T40" fmla="*/ 98 w 556"/>
                <a:gd name="T41" fmla="*/ 265 h 342"/>
                <a:gd name="T42" fmla="*/ 89 w 556"/>
                <a:gd name="T43" fmla="*/ 289 h 342"/>
                <a:gd name="T44" fmla="*/ 77 w 556"/>
                <a:gd name="T45" fmla="*/ 332 h 342"/>
                <a:gd name="T46" fmla="*/ 60 w 556"/>
                <a:gd name="T47" fmla="*/ 338 h 342"/>
                <a:gd name="T48" fmla="*/ 28 w 556"/>
                <a:gd name="T49" fmla="*/ 356 h 342"/>
                <a:gd name="T50" fmla="*/ 0 w 556"/>
                <a:gd name="T51" fmla="*/ 364 h 342"/>
                <a:gd name="T52" fmla="*/ 23 w 556"/>
                <a:gd name="T53" fmla="*/ 380 h 342"/>
                <a:gd name="T54" fmla="*/ 60 w 556"/>
                <a:gd name="T55" fmla="*/ 404 h 342"/>
                <a:gd name="T56" fmla="*/ 67 w 556"/>
                <a:gd name="T57" fmla="*/ 431 h 342"/>
                <a:gd name="T58" fmla="*/ 105 w 556"/>
                <a:gd name="T59" fmla="*/ 457 h 342"/>
                <a:gd name="T60" fmla="*/ 156 w 556"/>
                <a:gd name="T61" fmla="*/ 469 h 342"/>
                <a:gd name="T62" fmla="*/ 135 w 556"/>
                <a:gd name="T63" fmla="*/ 506 h 342"/>
                <a:gd name="T64" fmla="*/ 183 w 556"/>
                <a:gd name="T65" fmla="*/ 513 h 342"/>
                <a:gd name="T66" fmla="*/ 233 w 556"/>
                <a:gd name="T67" fmla="*/ 531 h 342"/>
                <a:gd name="T68" fmla="*/ 280 w 556"/>
                <a:gd name="T69" fmla="*/ 506 h 342"/>
                <a:gd name="T70" fmla="*/ 280 w 556"/>
                <a:gd name="T71" fmla="*/ 545 h 342"/>
                <a:gd name="T72" fmla="*/ 300 w 556"/>
                <a:gd name="T73" fmla="*/ 555 h 342"/>
                <a:gd name="T74" fmla="*/ 291 w 556"/>
                <a:gd name="T75" fmla="*/ 562 h 342"/>
                <a:gd name="T76" fmla="*/ 328 w 556"/>
                <a:gd name="T77" fmla="*/ 582 h 342"/>
                <a:gd name="T78" fmla="*/ 328 w 556"/>
                <a:gd name="T79" fmla="*/ 601 h 342"/>
                <a:gd name="T80" fmla="*/ 367 w 556"/>
                <a:gd name="T81" fmla="*/ 614 h 342"/>
                <a:gd name="T82" fmla="*/ 472 w 556"/>
                <a:gd name="T83" fmla="*/ 614 h 342"/>
                <a:gd name="T84" fmla="*/ 501 w 556"/>
                <a:gd name="T85" fmla="*/ 587 h 342"/>
                <a:gd name="T86" fmla="*/ 536 w 556"/>
                <a:gd name="T87" fmla="*/ 587 h 342"/>
                <a:gd name="T88" fmla="*/ 594 w 556"/>
                <a:gd name="T89" fmla="*/ 587 h 342"/>
                <a:gd name="T90" fmla="*/ 645 w 556"/>
                <a:gd name="T91" fmla="*/ 582 h 342"/>
                <a:gd name="T92" fmla="*/ 697 w 556"/>
                <a:gd name="T93" fmla="*/ 519 h 342"/>
                <a:gd name="T94" fmla="*/ 755 w 556"/>
                <a:gd name="T95" fmla="*/ 506 h 342"/>
                <a:gd name="T96" fmla="*/ 802 w 556"/>
                <a:gd name="T97" fmla="*/ 494 h 342"/>
                <a:gd name="T98" fmla="*/ 831 w 556"/>
                <a:gd name="T99" fmla="*/ 506 h 342"/>
                <a:gd name="T100" fmla="*/ 882 w 556"/>
                <a:gd name="T101" fmla="*/ 494 h 342"/>
                <a:gd name="T102" fmla="*/ 888 w 556"/>
                <a:gd name="T103" fmla="*/ 513 h 342"/>
                <a:gd name="T104" fmla="*/ 947 w 556"/>
                <a:gd name="T105" fmla="*/ 513 h 342"/>
                <a:gd name="T106" fmla="*/ 959 w 556"/>
                <a:gd name="T107" fmla="*/ 431 h 342"/>
                <a:gd name="T108" fmla="*/ 979 w 556"/>
                <a:gd name="T109" fmla="*/ 387 h 342"/>
                <a:gd name="T110" fmla="*/ 1015 w 556"/>
                <a:gd name="T111" fmla="*/ 349 h 342"/>
                <a:gd name="T112" fmla="*/ 1024 w 556"/>
                <a:gd name="T113" fmla="*/ 322 h 342"/>
                <a:gd name="T114" fmla="*/ 1006 w 556"/>
                <a:gd name="T115" fmla="*/ 298 h 342"/>
                <a:gd name="T116" fmla="*/ 959 w 556"/>
                <a:gd name="T117" fmla="*/ 298 h 342"/>
                <a:gd name="T118" fmla="*/ 900 w 556"/>
                <a:gd name="T119" fmla="*/ 322 h 34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556"/>
                <a:gd name="T181" fmla="*/ 0 h 342"/>
                <a:gd name="T182" fmla="*/ 556 w 556"/>
                <a:gd name="T183" fmla="*/ 342 h 34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556" h="342">
                  <a:moveTo>
                    <a:pt x="489" y="180"/>
                  </a:moveTo>
                  <a:lnTo>
                    <a:pt x="452" y="162"/>
                  </a:lnTo>
                  <a:lnTo>
                    <a:pt x="441" y="120"/>
                  </a:lnTo>
                  <a:lnTo>
                    <a:pt x="441" y="97"/>
                  </a:lnTo>
                  <a:lnTo>
                    <a:pt x="415" y="69"/>
                  </a:lnTo>
                  <a:lnTo>
                    <a:pt x="394" y="55"/>
                  </a:lnTo>
                  <a:lnTo>
                    <a:pt x="362" y="33"/>
                  </a:lnTo>
                  <a:lnTo>
                    <a:pt x="342" y="9"/>
                  </a:lnTo>
                  <a:lnTo>
                    <a:pt x="316" y="0"/>
                  </a:lnTo>
                  <a:lnTo>
                    <a:pt x="294" y="28"/>
                  </a:lnTo>
                  <a:lnTo>
                    <a:pt x="247" y="42"/>
                  </a:lnTo>
                  <a:lnTo>
                    <a:pt x="231" y="55"/>
                  </a:lnTo>
                  <a:lnTo>
                    <a:pt x="210" y="46"/>
                  </a:lnTo>
                  <a:lnTo>
                    <a:pt x="179" y="51"/>
                  </a:lnTo>
                  <a:lnTo>
                    <a:pt x="158" y="51"/>
                  </a:lnTo>
                  <a:lnTo>
                    <a:pt x="137" y="46"/>
                  </a:lnTo>
                  <a:lnTo>
                    <a:pt x="116" y="60"/>
                  </a:lnTo>
                  <a:lnTo>
                    <a:pt x="100" y="74"/>
                  </a:lnTo>
                  <a:lnTo>
                    <a:pt x="85" y="97"/>
                  </a:lnTo>
                  <a:lnTo>
                    <a:pt x="69" y="130"/>
                  </a:lnTo>
                  <a:lnTo>
                    <a:pt x="53" y="148"/>
                  </a:lnTo>
                  <a:lnTo>
                    <a:pt x="48" y="162"/>
                  </a:lnTo>
                  <a:lnTo>
                    <a:pt x="42" y="185"/>
                  </a:lnTo>
                  <a:lnTo>
                    <a:pt x="32" y="189"/>
                  </a:lnTo>
                  <a:lnTo>
                    <a:pt x="16" y="199"/>
                  </a:lnTo>
                  <a:lnTo>
                    <a:pt x="0" y="203"/>
                  </a:lnTo>
                  <a:lnTo>
                    <a:pt x="11" y="212"/>
                  </a:lnTo>
                  <a:lnTo>
                    <a:pt x="32" y="226"/>
                  </a:lnTo>
                  <a:lnTo>
                    <a:pt x="37" y="240"/>
                  </a:lnTo>
                  <a:lnTo>
                    <a:pt x="58" y="254"/>
                  </a:lnTo>
                  <a:lnTo>
                    <a:pt x="85" y="263"/>
                  </a:lnTo>
                  <a:lnTo>
                    <a:pt x="74" y="282"/>
                  </a:lnTo>
                  <a:lnTo>
                    <a:pt x="100" y="287"/>
                  </a:lnTo>
                  <a:lnTo>
                    <a:pt x="126" y="296"/>
                  </a:lnTo>
                  <a:lnTo>
                    <a:pt x="152" y="282"/>
                  </a:lnTo>
                  <a:lnTo>
                    <a:pt x="152" y="305"/>
                  </a:lnTo>
                  <a:lnTo>
                    <a:pt x="163" y="309"/>
                  </a:lnTo>
                  <a:lnTo>
                    <a:pt x="158" y="314"/>
                  </a:lnTo>
                  <a:lnTo>
                    <a:pt x="179" y="323"/>
                  </a:lnTo>
                  <a:lnTo>
                    <a:pt x="179" y="337"/>
                  </a:lnTo>
                  <a:lnTo>
                    <a:pt x="200" y="342"/>
                  </a:lnTo>
                  <a:lnTo>
                    <a:pt x="258" y="342"/>
                  </a:lnTo>
                  <a:lnTo>
                    <a:pt x="273" y="328"/>
                  </a:lnTo>
                  <a:lnTo>
                    <a:pt x="289" y="328"/>
                  </a:lnTo>
                  <a:lnTo>
                    <a:pt x="321" y="328"/>
                  </a:lnTo>
                  <a:lnTo>
                    <a:pt x="352" y="323"/>
                  </a:lnTo>
                  <a:lnTo>
                    <a:pt x="378" y="291"/>
                  </a:lnTo>
                  <a:lnTo>
                    <a:pt x="410" y="282"/>
                  </a:lnTo>
                  <a:lnTo>
                    <a:pt x="436" y="277"/>
                  </a:lnTo>
                  <a:lnTo>
                    <a:pt x="452" y="282"/>
                  </a:lnTo>
                  <a:lnTo>
                    <a:pt x="478" y="277"/>
                  </a:lnTo>
                  <a:lnTo>
                    <a:pt x="483" y="287"/>
                  </a:lnTo>
                  <a:lnTo>
                    <a:pt x="515" y="287"/>
                  </a:lnTo>
                  <a:lnTo>
                    <a:pt x="520" y="240"/>
                  </a:lnTo>
                  <a:lnTo>
                    <a:pt x="530" y="217"/>
                  </a:lnTo>
                  <a:lnTo>
                    <a:pt x="552" y="194"/>
                  </a:lnTo>
                  <a:lnTo>
                    <a:pt x="556" y="180"/>
                  </a:lnTo>
                  <a:lnTo>
                    <a:pt x="546" y="166"/>
                  </a:lnTo>
                  <a:lnTo>
                    <a:pt x="520" y="166"/>
                  </a:lnTo>
                  <a:lnTo>
                    <a:pt x="489" y="18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cs-CZ"/>
            </a:p>
          </p:txBody>
        </p:sp>
        <p:sp>
          <p:nvSpPr>
            <p:cNvPr id="7258" name="Freeform 225"/>
            <p:cNvSpPr>
              <a:spLocks noEditPoints="1"/>
            </p:cNvSpPr>
            <p:nvPr/>
          </p:nvSpPr>
          <p:spPr bwMode="auto">
            <a:xfrm>
              <a:off x="4249" y="2238"/>
              <a:ext cx="589" cy="364"/>
            </a:xfrm>
            <a:custGeom>
              <a:avLst/>
              <a:gdLst>
                <a:gd name="T0" fmla="*/ 0 w 2465"/>
                <a:gd name="T1" fmla="*/ 0 h 1520"/>
                <a:gd name="T2" fmla="*/ 0 w 2465"/>
                <a:gd name="T3" fmla="*/ 0 h 1520"/>
                <a:gd name="T4" fmla="*/ 0 w 2465"/>
                <a:gd name="T5" fmla="*/ 0 h 1520"/>
                <a:gd name="T6" fmla="*/ 0 w 2465"/>
                <a:gd name="T7" fmla="*/ 0 h 1520"/>
                <a:gd name="T8" fmla="*/ 0 w 2465"/>
                <a:gd name="T9" fmla="*/ 0 h 1520"/>
                <a:gd name="T10" fmla="*/ 0 w 2465"/>
                <a:gd name="T11" fmla="*/ 0 h 1520"/>
                <a:gd name="T12" fmla="*/ 0 w 2465"/>
                <a:gd name="T13" fmla="*/ 0 h 1520"/>
                <a:gd name="T14" fmla="*/ 0 w 2465"/>
                <a:gd name="T15" fmla="*/ 0 h 1520"/>
                <a:gd name="T16" fmla="*/ 0 w 2465"/>
                <a:gd name="T17" fmla="*/ 0 h 1520"/>
                <a:gd name="T18" fmla="*/ 0 w 2465"/>
                <a:gd name="T19" fmla="*/ 0 h 1520"/>
                <a:gd name="T20" fmla="*/ 0 w 2465"/>
                <a:gd name="T21" fmla="*/ 0 h 1520"/>
                <a:gd name="T22" fmla="*/ 0 w 2465"/>
                <a:gd name="T23" fmla="*/ 0 h 1520"/>
                <a:gd name="T24" fmla="*/ 0 w 2465"/>
                <a:gd name="T25" fmla="*/ 0 h 1520"/>
                <a:gd name="T26" fmla="*/ 0 w 2465"/>
                <a:gd name="T27" fmla="*/ 0 h 1520"/>
                <a:gd name="T28" fmla="*/ 0 w 2465"/>
                <a:gd name="T29" fmla="*/ 0 h 1520"/>
                <a:gd name="T30" fmla="*/ 0 w 2465"/>
                <a:gd name="T31" fmla="*/ 0 h 1520"/>
                <a:gd name="T32" fmla="*/ 0 w 2465"/>
                <a:gd name="T33" fmla="*/ 0 h 1520"/>
                <a:gd name="T34" fmla="*/ 0 w 2465"/>
                <a:gd name="T35" fmla="*/ 0 h 1520"/>
                <a:gd name="T36" fmla="*/ 0 w 2465"/>
                <a:gd name="T37" fmla="*/ 0 h 1520"/>
                <a:gd name="T38" fmla="*/ 0 w 2465"/>
                <a:gd name="T39" fmla="*/ 0 h 1520"/>
                <a:gd name="T40" fmla="*/ 0 w 2465"/>
                <a:gd name="T41" fmla="*/ 0 h 1520"/>
                <a:gd name="T42" fmla="*/ 0 w 2465"/>
                <a:gd name="T43" fmla="*/ 0 h 1520"/>
                <a:gd name="T44" fmla="*/ 0 w 2465"/>
                <a:gd name="T45" fmla="*/ 0 h 1520"/>
                <a:gd name="T46" fmla="*/ 0 w 2465"/>
                <a:gd name="T47" fmla="*/ 0 h 1520"/>
                <a:gd name="T48" fmla="*/ 0 w 2465"/>
                <a:gd name="T49" fmla="*/ 0 h 1520"/>
                <a:gd name="T50" fmla="*/ 0 w 2465"/>
                <a:gd name="T51" fmla="*/ 0 h 1520"/>
                <a:gd name="T52" fmla="*/ 0 w 2465"/>
                <a:gd name="T53" fmla="*/ 0 h 1520"/>
                <a:gd name="T54" fmla="*/ 0 w 2465"/>
                <a:gd name="T55" fmla="*/ 0 h 1520"/>
                <a:gd name="T56" fmla="*/ 0 w 2465"/>
                <a:gd name="T57" fmla="*/ 0 h 1520"/>
                <a:gd name="T58" fmla="*/ 0 w 2465"/>
                <a:gd name="T59" fmla="*/ 0 h 1520"/>
                <a:gd name="T60" fmla="*/ 0 w 2465"/>
                <a:gd name="T61" fmla="*/ 0 h 1520"/>
                <a:gd name="T62" fmla="*/ 0 w 2465"/>
                <a:gd name="T63" fmla="*/ 0 h 1520"/>
                <a:gd name="T64" fmla="*/ 0 w 2465"/>
                <a:gd name="T65" fmla="*/ 0 h 1520"/>
                <a:gd name="T66" fmla="*/ 0 w 2465"/>
                <a:gd name="T67" fmla="*/ 0 h 1520"/>
                <a:gd name="T68" fmla="*/ 0 w 2465"/>
                <a:gd name="T69" fmla="*/ 0 h 1520"/>
                <a:gd name="T70" fmla="*/ 0 w 2465"/>
                <a:gd name="T71" fmla="*/ 0 h 1520"/>
                <a:gd name="T72" fmla="*/ 0 w 2465"/>
                <a:gd name="T73" fmla="*/ 0 h 1520"/>
                <a:gd name="T74" fmla="*/ 0 w 2465"/>
                <a:gd name="T75" fmla="*/ 0 h 1520"/>
                <a:gd name="T76" fmla="*/ 0 w 2465"/>
                <a:gd name="T77" fmla="*/ 0 h 1520"/>
                <a:gd name="T78" fmla="*/ 0 w 2465"/>
                <a:gd name="T79" fmla="*/ 0 h 1520"/>
                <a:gd name="T80" fmla="*/ 0 w 2465"/>
                <a:gd name="T81" fmla="*/ 0 h 1520"/>
                <a:gd name="T82" fmla="*/ 0 w 2465"/>
                <a:gd name="T83" fmla="*/ 0 h 1520"/>
                <a:gd name="T84" fmla="*/ 0 w 2465"/>
                <a:gd name="T85" fmla="*/ 0 h 1520"/>
                <a:gd name="T86" fmla="*/ 0 w 2465"/>
                <a:gd name="T87" fmla="*/ 0 h 1520"/>
                <a:gd name="T88" fmla="*/ 0 w 2465"/>
                <a:gd name="T89" fmla="*/ 0 h 1520"/>
                <a:gd name="T90" fmla="*/ 0 w 2465"/>
                <a:gd name="T91" fmla="*/ 0 h 1520"/>
                <a:gd name="T92" fmla="*/ 0 w 2465"/>
                <a:gd name="T93" fmla="*/ 0 h 1520"/>
                <a:gd name="T94" fmla="*/ 0 w 2465"/>
                <a:gd name="T95" fmla="*/ 0 h 1520"/>
                <a:gd name="T96" fmla="*/ 0 w 2465"/>
                <a:gd name="T97" fmla="*/ 0 h 1520"/>
                <a:gd name="T98" fmla="*/ 0 w 2465"/>
                <a:gd name="T99" fmla="*/ 0 h 1520"/>
                <a:gd name="T100" fmla="*/ 0 w 2465"/>
                <a:gd name="T101" fmla="*/ 0 h 1520"/>
                <a:gd name="T102" fmla="*/ 0 w 2465"/>
                <a:gd name="T103" fmla="*/ 0 h 1520"/>
                <a:gd name="T104" fmla="*/ 0 w 2465"/>
                <a:gd name="T105" fmla="*/ 0 h 1520"/>
                <a:gd name="T106" fmla="*/ 0 w 2465"/>
                <a:gd name="T107" fmla="*/ 0 h 1520"/>
                <a:gd name="T108" fmla="*/ 0 w 2465"/>
                <a:gd name="T109" fmla="*/ 0 h 1520"/>
                <a:gd name="T110" fmla="*/ 0 w 2465"/>
                <a:gd name="T111" fmla="*/ 0 h 1520"/>
                <a:gd name="T112" fmla="*/ 0 w 2465"/>
                <a:gd name="T113" fmla="*/ 0 h 1520"/>
                <a:gd name="T114" fmla="*/ 0 w 2465"/>
                <a:gd name="T115" fmla="*/ 0 h 152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2465"/>
                <a:gd name="T175" fmla="*/ 0 h 1520"/>
                <a:gd name="T176" fmla="*/ 2465 w 2465"/>
                <a:gd name="T177" fmla="*/ 1520 h 152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2465" h="1520">
                  <a:moveTo>
                    <a:pt x="2161" y="808"/>
                  </a:moveTo>
                  <a:cubicBezTo>
                    <a:pt x="2159" y="809"/>
                    <a:pt x="2156" y="809"/>
                    <a:pt x="2154" y="808"/>
                  </a:cubicBezTo>
                  <a:lnTo>
                    <a:pt x="1992" y="727"/>
                  </a:lnTo>
                  <a:cubicBezTo>
                    <a:pt x="1990" y="726"/>
                    <a:pt x="1989" y="724"/>
                    <a:pt x="1988" y="722"/>
                  </a:cubicBezTo>
                  <a:lnTo>
                    <a:pt x="1942" y="539"/>
                  </a:lnTo>
                  <a:cubicBezTo>
                    <a:pt x="1941" y="538"/>
                    <a:pt x="1941" y="538"/>
                    <a:pt x="1941" y="537"/>
                  </a:cubicBezTo>
                  <a:lnTo>
                    <a:pt x="1941" y="435"/>
                  </a:lnTo>
                  <a:lnTo>
                    <a:pt x="1943" y="441"/>
                  </a:lnTo>
                  <a:lnTo>
                    <a:pt x="1828" y="319"/>
                  </a:lnTo>
                  <a:lnTo>
                    <a:pt x="1830" y="320"/>
                  </a:lnTo>
                  <a:lnTo>
                    <a:pt x="1737" y="259"/>
                  </a:lnTo>
                  <a:lnTo>
                    <a:pt x="1596" y="157"/>
                  </a:lnTo>
                  <a:cubicBezTo>
                    <a:pt x="1596" y="157"/>
                    <a:pt x="1596" y="156"/>
                    <a:pt x="1595" y="156"/>
                  </a:cubicBezTo>
                  <a:lnTo>
                    <a:pt x="1505" y="54"/>
                  </a:lnTo>
                  <a:lnTo>
                    <a:pt x="1508" y="57"/>
                  </a:lnTo>
                  <a:lnTo>
                    <a:pt x="1393" y="16"/>
                  </a:lnTo>
                  <a:lnTo>
                    <a:pt x="1402" y="13"/>
                  </a:lnTo>
                  <a:lnTo>
                    <a:pt x="1309" y="135"/>
                  </a:lnTo>
                  <a:cubicBezTo>
                    <a:pt x="1308" y="137"/>
                    <a:pt x="1306" y="138"/>
                    <a:pt x="1305" y="138"/>
                  </a:cubicBezTo>
                  <a:lnTo>
                    <a:pt x="1096" y="199"/>
                  </a:lnTo>
                  <a:lnTo>
                    <a:pt x="1099" y="197"/>
                  </a:lnTo>
                  <a:lnTo>
                    <a:pt x="1031" y="258"/>
                  </a:lnTo>
                  <a:cubicBezTo>
                    <a:pt x="1028" y="260"/>
                    <a:pt x="1025" y="261"/>
                    <a:pt x="1022" y="260"/>
                  </a:cubicBezTo>
                  <a:lnTo>
                    <a:pt x="929" y="219"/>
                  </a:lnTo>
                  <a:lnTo>
                    <a:pt x="933" y="220"/>
                  </a:lnTo>
                  <a:lnTo>
                    <a:pt x="796" y="240"/>
                  </a:lnTo>
                  <a:cubicBezTo>
                    <a:pt x="796" y="240"/>
                    <a:pt x="796" y="240"/>
                    <a:pt x="795" y="240"/>
                  </a:cubicBezTo>
                  <a:lnTo>
                    <a:pt x="702" y="240"/>
                  </a:lnTo>
                  <a:cubicBezTo>
                    <a:pt x="701" y="240"/>
                    <a:pt x="701" y="240"/>
                    <a:pt x="700" y="240"/>
                  </a:cubicBezTo>
                  <a:lnTo>
                    <a:pt x="607" y="220"/>
                  </a:lnTo>
                  <a:lnTo>
                    <a:pt x="613" y="218"/>
                  </a:lnTo>
                  <a:lnTo>
                    <a:pt x="520" y="279"/>
                  </a:lnTo>
                  <a:lnTo>
                    <a:pt x="521" y="279"/>
                  </a:lnTo>
                  <a:lnTo>
                    <a:pt x="452" y="340"/>
                  </a:lnTo>
                  <a:lnTo>
                    <a:pt x="454" y="338"/>
                  </a:lnTo>
                  <a:lnTo>
                    <a:pt x="385" y="440"/>
                  </a:lnTo>
                  <a:lnTo>
                    <a:pt x="386" y="439"/>
                  </a:lnTo>
                  <a:lnTo>
                    <a:pt x="317" y="581"/>
                  </a:lnTo>
                  <a:cubicBezTo>
                    <a:pt x="317" y="582"/>
                    <a:pt x="317" y="582"/>
                    <a:pt x="316" y="583"/>
                  </a:cubicBezTo>
                  <a:lnTo>
                    <a:pt x="245" y="664"/>
                  </a:lnTo>
                  <a:lnTo>
                    <a:pt x="246" y="662"/>
                  </a:lnTo>
                  <a:lnTo>
                    <a:pt x="224" y="723"/>
                  </a:lnTo>
                  <a:lnTo>
                    <a:pt x="200" y="823"/>
                  </a:lnTo>
                  <a:cubicBezTo>
                    <a:pt x="199" y="826"/>
                    <a:pt x="198" y="828"/>
                    <a:pt x="195" y="829"/>
                  </a:cubicBezTo>
                  <a:lnTo>
                    <a:pt x="152" y="849"/>
                  </a:lnTo>
                  <a:lnTo>
                    <a:pt x="81" y="889"/>
                  </a:lnTo>
                  <a:cubicBezTo>
                    <a:pt x="80" y="890"/>
                    <a:pt x="80" y="890"/>
                    <a:pt x="79" y="890"/>
                  </a:cubicBezTo>
                  <a:lnTo>
                    <a:pt x="11" y="910"/>
                  </a:lnTo>
                  <a:lnTo>
                    <a:pt x="14" y="897"/>
                  </a:lnTo>
                  <a:lnTo>
                    <a:pt x="60" y="937"/>
                  </a:lnTo>
                  <a:lnTo>
                    <a:pt x="153" y="998"/>
                  </a:lnTo>
                  <a:cubicBezTo>
                    <a:pt x="154" y="999"/>
                    <a:pt x="155" y="1000"/>
                    <a:pt x="156" y="1002"/>
                  </a:cubicBezTo>
                  <a:lnTo>
                    <a:pt x="178" y="1063"/>
                  </a:lnTo>
                  <a:lnTo>
                    <a:pt x="175" y="1059"/>
                  </a:lnTo>
                  <a:lnTo>
                    <a:pt x="268" y="1120"/>
                  </a:lnTo>
                  <a:lnTo>
                    <a:pt x="266" y="1119"/>
                  </a:lnTo>
                  <a:lnTo>
                    <a:pt x="381" y="1159"/>
                  </a:lnTo>
                  <a:cubicBezTo>
                    <a:pt x="383" y="1160"/>
                    <a:pt x="385" y="1162"/>
                    <a:pt x="386" y="1164"/>
                  </a:cubicBezTo>
                  <a:cubicBezTo>
                    <a:pt x="387" y="1166"/>
                    <a:pt x="387" y="1169"/>
                    <a:pt x="385" y="1171"/>
                  </a:cubicBezTo>
                  <a:lnTo>
                    <a:pt x="339" y="1252"/>
                  </a:lnTo>
                  <a:lnTo>
                    <a:pt x="333" y="1240"/>
                  </a:lnTo>
                  <a:lnTo>
                    <a:pt x="448" y="1261"/>
                  </a:lnTo>
                  <a:cubicBezTo>
                    <a:pt x="449" y="1261"/>
                    <a:pt x="449" y="1261"/>
                    <a:pt x="450" y="1261"/>
                  </a:cubicBezTo>
                  <a:lnTo>
                    <a:pt x="565" y="1302"/>
                  </a:lnTo>
                  <a:lnTo>
                    <a:pt x="558" y="1302"/>
                  </a:lnTo>
                  <a:lnTo>
                    <a:pt x="674" y="1241"/>
                  </a:lnTo>
                  <a:cubicBezTo>
                    <a:pt x="676" y="1240"/>
                    <a:pt x="679" y="1240"/>
                    <a:pt x="681" y="1241"/>
                  </a:cubicBezTo>
                  <a:cubicBezTo>
                    <a:pt x="684" y="1243"/>
                    <a:pt x="685" y="1245"/>
                    <a:pt x="685" y="1248"/>
                  </a:cubicBezTo>
                  <a:lnTo>
                    <a:pt x="685" y="1350"/>
                  </a:lnTo>
                  <a:lnTo>
                    <a:pt x="681" y="1343"/>
                  </a:lnTo>
                  <a:lnTo>
                    <a:pt x="727" y="1363"/>
                  </a:lnTo>
                  <a:cubicBezTo>
                    <a:pt x="730" y="1364"/>
                    <a:pt x="731" y="1366"/>
                    <a:pt x="732" y="1369"/>
                  </a:cubicBezTo>
                  <a:cubicBezTo>
                    <a:pt x="732" y="1372"/>
                    <a:pt x="731" y="1374"/>
                    <a:pt x="729" y="1376"/>
                  </a:cubicBezTo>
                  <a:lnTo>
                    <a:pt x="707" y="1396"/>
                  </a:lnTo>
                  <a:lnTo>
                    <a:pt x="705" y="1383"/>
                  </a:lnTo>
                  <a:lnTo>
                    <a:pt x="798" y="1424"/>
                  </a:lnTo>
                  <a:cubicBezTo>
                    <a:pt x="801" y="1425"/>
                    <a:pt x="803" y="1428"/>
                    <a:pt x="803" y="1431"/>
                  </a:cubicBezTo>
                  <a:lnTo>
                    <a:pt x="803" y="1492"/>
                  </a:lnTo>
                  <a:lnTo>
                    <a:pt x="797" y="1484"/>
                  </a:lnTo>
                  <a:lnTo>
                    <a:pt x="887" y="1505"/>
                  </a:lnTo>
                  <a:lnTo>
                    <a:pt x="886" y="1504"/>
                  </a:lnTo>
                  <a:lnTo>
                    <a:pt x="1141" y="1504"/>
                  </a:lnTo>
                  <a:lnTo>
                    <a:pt x="1135" y="1506"/>
                  </a:lnTo>
                  <a:lnTo>
                    <a:pt x="1204" y="1446"/>
                  </a:lnTo>
                  <a:cubicBezTo>
                    <a:pt x="1205" y="1444"/>
                    <a:pt x="1207" y="1443"/>
                    <a:pt x="1209" y="1443"/>
                  </a:cubicBezTo>
                  <a:lnTo>
                    <a:pt x="1278" y="1443"/>
                  </a:lnTo>
                  <a:lnTo>
                    <a:pt x="1418" y="1443"/>
                  </a:lnTo>
                  <a:lnTo>
                    <a:pt x="1416" y="1444"/>
                  </a:lnTo>
                  <a:lnTo>
                    <a:pt x="1556" y="1423"/>
                  </a:lnTo>
                  <a:lnTo>
                    <a:pt x="1551" y="1426"/>
                  </a:lnTo>
                  <a:lnTo>
                    <a:pt x="1666" y="1284"/>
                  </a:lnTo>
                  <a:cubicBezTo>
                    <a:pt x="1667" y="1283"/>
                    <a:pt x="1669" y="1282"/>
                    <a:pt x="1670" y="1281"/>
                  </a:cubicBezTo>
                  <a:lnTo>
                    <a:pt x="1807" y="1241"/>
                  </a:lnTo>
                  <a:lnTo>
                    <a:pt x="1923" y="1220"/>
                  </a:lnTo>
                  <a:cubicBezTo>
                    <a:pt x="1924" y="1220"/>
                    <a:pt x="1926" y="1220"/>
                    <a:pt x="1927" y="1220"/>
                  </a:cubicBezTo>
                  <a:lnTo>
                    <a:pt x="1998" y="1241"/>
                  </a:lnTo>
                  <a:lnTo>
                    <a:pt x="1995" y="1240"/>
                  </a:lnTo>
                  <a:lnTo>
                    <a:pt x="2110" y="1220"/>
                  </a:lnTo>
                  <a:cubicBezTo>
                    <a:pt x="2113" y="1219"/>
                    <a:pt x="2116" y="1221"/>
                    <a:pt x="2118" y="1224"/>
                  </a:cubicBezTo>
                  <a:lnTo>
                    <a:pt x="2140" y="1265"/>
                  </a:lnTo>
                  <a:lnTo>
                    <a:pt x="2133" y="1261"/>
                  </a:lnTo>
                  <a:lnTo>
                    <a:pt x="2273" y="1261"/>
                  </a:lnTo>
                  <a:lnTo>
                    <a:pt x="2265" y="1268"/>
                  </a:lnTo>
                  <a:lnTo>
                    <a:pt x="2287" y="1064"/>
                  </a:lnTo>
                  <a:cubicBezTo>
                    <a:pt x="2287" y="1064"/>
                    <a:pt x="2287" y="1063"/>
                    <a:pt x="2287" y="1062"/>
                  </a:cubicBezTo>
                  <a:lnTo>
                    <a:pt x="2334" y="960"/>
                  </a:lnTo>
                  <a:cubicBezTo>
                    <a:pt x="2334" y="960"/>
                    <a:pt x="2335" y="959"/>
                    <a:pt x="2335" y="958"/>
                  </a:cubicBezTo>
                  <a:lnTo>
                    <a:pt x="2429" y="857"/>
                  </a:lnTo>
                  <a:lnTo>
                    <a:pt x="2427" y="859"/>
                  </a:lnTo>
                  <a:lnTo>
                    <a:pt x="2449" y="798"/>
                  </a:lnTo>
                  <a:lnTo>
                    <a:pt x="2450" y="806"/>
                  </a:lnTo>
                  <a:lnTo>
                    <a:pt x="2403" y="745"/>
                  </a:lnTo>
                  <a:lnTo>
                    <a:pt x="2410" y="748"/>
                  </a:lnTo>
                  <a:lnTo>
                    <a:pt x="2295" y="748"/>
                  </a:lnTo>
                  <a:lnTo>
                    <a:pt x="2298" y="747"/>
                  </a:lnTo>
                  <a:lnTo>
                    <a:pt x="2161" y="808"/>
                  </a:lnTo>
                  <a:close/>
                  <a:moveTo>
                    <a:pt x="2291" y="733"/>
                  </a:moveTo>
                  <a:cubicBezTo>
                    <a:pt x="2292" y="732"/>
                    <a:pt x="2294" y="732"/>
                    <a:pt x="2295" y="732"/>
                  </a:cubicBezTo>
                  <a:lnTo>
                    <a:pt x="2410" y="732"/>
                  </a:lnTo>
                  <a:cubicBezTo>
                    <a:pt x="2412" y="732"/>
                    <a:pt x="2415" y="733"/>
                    <a:pt x="2416" y="735"/>
                  </a:cubicBezTo>
                  <a:lnTo>
                    <a:pt x="2463" y="796"/>
                  </a:lnTo>
                  <a:cubicBezTo>
                    <a:pt x="2464" y="798"/>
                    <a:pt x="2465" y="801"/>
                    <a:pt x="2464" y="804"/>
                  </a:cubicBezTo>
                  <a:lnTo>
                    <a:pt x="2442" y="865"/>
                  </a:lnTo>
                  <a:cubicBezTo>
                    <a:pt x="2442" y="866"/>
                    <a:pt x="2441" y="867"/>
                    <a:pt x="2440" y="867"/>
                  </a:cubicBezTo>
                  <a:lnTo>
                    <a:pt x="2347" y="969"/>
                  </a:lnTo>
                  <a:lnTo>
                    <a:pt x="2349" y="967"/>
                  </a:lnTo>
                  <a:lnTo>
                    <a:pt x="2302" y="1069"/>
                  </a:lnTo>
                  <a:lnTo>
                    <a:pt x="2303" y="1066"/>
                  </a:lnTo>
                  <a:lnTo>
                    <a:pt x="2281" y="1269"/>
                  </a:lnTo>
                  <a:cubicBezTo>
                    <a:pt x="2280" y="1273"/>
                    <a:pt x="2277" y="1277"/>
                    <a:pt x="2273" y="1277"/>
                  </a:cubicBezTo>
                  <a:lnTo>
                    <a:pt x="2133" y="1277"/>
                  </a:lnTo>
                  <a:cubicBezTo>
                    <a:pt x="2130" y="1277"/>
                    <a:pt x="2127" y="1275"/>
                    <a:pt x="2126" y="1272"/>
                  </a:cubicBezTo>
                  <a:lnTo>
                    <a:pt x="2104" y="1232"/>
                  </a:lnTo>
                  <a:lnTo>
                    <a:pt x="2112" y="1236"/>
                  </a:lnTo>
                  <a:lnTo>
                    <a:pt x="1997" y="1256"/>
                  </a:lnTo>
                  <a:cubicBezTo>
                    <a:pt x="1996" y="1256"/>
                    <a:pt x="1995" y="1256"/>
                    <a:pt x="1994" y="1256"/>
                  </a:cubicBezTo>
                  <a:lnTo>
                    <a:pt x="1922" y="1236"/>
                  </a:lnTo>
                  <a:lnTo>
                    <a:pt x="1926" y="1236"/>
                  </a:lnTo>
                  <a:lnTo>
                    <a:pt x="1812" y="1256"/>
                  </a:lnTo>
                  <a:lnTo>
                    <a:pt x="1675" y="1297"/>
                  </a:lnTo>
                  <a:lnTo>
                    <a:pt x="1679" y="1294"/>
                  </a:lnTo>
                  <a:lnTo>
                    <a:pt x="1564" y="1436"/>
                  </a:lnTo>
                  <a:cubicBezTo>
                    <a:pt x="1562" y="1438"/>
                    <a:pt x="1560" y="1439"/>
                    <a:pt x="1558" y="1439"/>
                  </a:cubicBezTo>
                  <a:lnTo>
                    <a:pt x="1419" y="1459"/>
                  </a:lnTo>
                  <a:cubicBezTo>
                    <a:pt x="1418" y="1459"/>
                    <a:pt x="1418" y="1460"/>
                    <a:pt x="1418" y="1460"/>
                  </a:cubicBezTo>
                  <a:lnTo>
                    <a:pt x="1278" y="1460"/>
                  </a:lnTo>
                  <a:lnTo>
                    <a:pt x="1209" y="1460"/>
                  </a:lnTo>
                  <a:lnTo>
                    <a:pt x="1214" y="1457"/>
                  </a:lnTo>
                  <a:lnTo>
                    <a:pt x="1146" y="1518"/>
                  </a:lnTo>
                  <a:cubicBezTo>
                    <a:pt x="1144" y="1520"/>
                    <a:pt x="1143" y="1520"/>
                    <a:pt x="1141" y="1520"/>
                  </a:cubicBezTo>
                  <a:lnTo>
                    <a:pt x="886" y="1520"/>
                  </a:lnTo>
                  <a:cubicBezTo>
                    <a:pt x="885" y="1520"/>
                    <a:pt x="885" y="1520"/>
                    <a:pt x="884" y="1520"/>
                  </a:cubicBezTo>
                  <a:lnTo>
                    <a:pt x="793" y="1500"/>
                  </a:lnTo>
                  <a:cubicBezTo>
                    <a:pt x="790" y="1499"/>
                    <a:pt x="787" y="1496"/>
                    <a:pt x="787" y="1492"/>
                  </a:cubicBezTo>
                  <a:lnTo>
                    <a:pt x="787" y="1431"/>
                  </a:lnTo>
                  <a:lnTo>
                    <a:pt x="792" y="1439"/>
                  </a:lnTo>
                  <a:lnTo>
                    <a:pt x="699" y="1398"/>
                  </a:lnTo>
                  <a:cubicBezTo>
                    <a:pt x="696" y="1397"/>
                    <a:pt x="695" y="1395"/>
                    <a:pt x="694" y="1392"/>
                  </a:cubicBezTo>
                  <a:cubicBezTo>
                    <a:pt x="694" y="1389"/>
                    <a:pt x="695" y="1386"/>
                    <a:pt x="697" y="1385"/>
                  </a:cubicBezTo>
                  <a:lnTo>
                    <a:pt x="719" y="1364"/>
                  </a:lnTo>
                  <a:lnTo>
                    <a:pt x="721" y="1378"/>
                  </a:lnTo>
                  <a:lnTo>
                    <a:pt x="674" y="1357"/>
                  </a:lnTo>
                  <a:cubicBezTo>
                    <a:pt x="671" y="1356"/>
                    <a:pt x="669" y="1353"/>
                    <a:pt x="669" y="1350"/>
                  </a:cubicBezTo>
                  <a:lnTo>
                    <a:pt x="669" y="1248"/>
                  </a:lnTo>
                  <a:lnTo>
                    <a:pt x="681" y="1255"/>
                  </a:lnTo>
                  <a:lnTo>
                    <a:pt x="566" y="1316"/>
                  </a:lnTo>
                  <a:cubicBezTo>
                    <a:pt x="564" y="1317"/>
                    <a:pt x="562" y="1318"/>
                    <a:pt x="560" y="1317"/>
                  </a:cubicBezTo>
                  <a:lnTo>
                    <a:pt x="444" y="1276"/>
                  </a:lnTo>
                  <a:lnTo>
                    <a:pt x="446" y="1276"/>
                  </a:lnTo>
                  <a:lnTo>
                    <a:pt x="331" y="1256"/>
                  </a:lnTo>
                  <a:cubicBezTo>
                    <a:pt x="328" y="1256"/>
                    <a:pt x="326" y="1254"/>
                    <a:pt x="325" y="1252"/>
                  </a:cubicBezTo>
                  <a:cubicBezTo>
                    <a:pt x="324" y="1249"/>
                    <a:pt x="324" y="1247"/>
                    <a:pt x="325" y="1244"/>
                  </a:cubicBezTo>
                  <a:lnTo>
                    <a:pt x="372" y="1163"/>
                  </a:lnTo>
                  <a:lnTo>
                    <a:pt x="376" y="1175"/>
                  </a:lnTo>
                  <a:lnTo>
                    <a:pt x="261" y="1134"/>
                  </a:lnTo>
                  <a:cubicBezTo>
                    <a:pt x="260" y="1134"/>
                    <a:pt x="260" y="1133"/>
                    <a:pt x="259" y="1133"/>
                  </a:cubicBezTo>
                  <a:lnTo>
                    <a:pt x="166" y="1072"/>
                  </a:lnTo>
                  <a:cubicBezTo>
                    <a:pt x="164" y="1071"/>
                    <a:pt x="163" y="1070"/>
                    <a:pt x="163" y="1068"/>
                  </a:cubicBezTo>
                  <a:lnTo>
                    <a:pt x="141" y="1007"/>
                  </a:lnTo>
                  <a:lnTo>
                    <a:pt x="144" y="1011"/>
                  </a:lnTo>
                  <a:lnTo>
                    <a:pt x="50" y="949"/>
                  </a:lnTo>
                  <a:lnTo>
                    <a:pt x="3" y="909"/>
                  </a:lnTo>
                  <a:cubicBezTo>
                    <a:pt x="1" y="907"/>
                    <a:pt x="0" y="904"/>
                    <a:pt x="1" y="901"/>
                  </a:cubicBezTo>
                  <a:cubicBezTo>
                    <a:pt x="1" y="898"/>
                    <a:pt x="3" y="896"/>
                    <a:pt x="6" y="895"/>
                  </a:cubicBezTo>
                  <a:lnTo>
                    <a:pt x="75" y="875"/>
                  </a:lnTo>
                  <a:lnTo>
                    <a:pt x="73" y="875"/>
                  </a:lnTo>
                  <a:lnTo>
                    <a:pt x="145" y="834"/>
                  </a:lnTo>
                  <a:lnTo>
                    <a:pt x="189" y="814"/>
                  </a:lnTo>
                  <a:lnTo>
                    <a:pt x="184" y="820"/>
                  </a:lnTo>
                  <a:lnTo>
                    <a:pt x="209" y="717"/>
                  </a:lnTo>
                  <a:lnTo>
                    <a:pt x="231" y="656"/>
                  </a:lnTo>
                  <a:cubicBezTo>
                    <a:pt x="232" y="655"/>
                    <a:pt x="232" y="654"/>
                    <a:pt x="233" y="654"/>
                  </a:cubicBezTo>
                  <a:lnTo>
                    <a:pt x="304" y="572"/>
                  </a:lnTo>
                  <a:lnTo>
                    <a:pt x="303" y="574"/>
                  </a:lnTo>
                  <a:lnTo>
                    <a:pt x="371" y="432"/>
                  </a:lnTo>
                  <a:cubicBezTo>
                    <a:pt x="371" y="431"/>
                    <a:pt x="372" y="431"/>
                    <a:pt x="372" y="431"/>
                  </a:cubicBezTo>
                  <a:lnTo>
                    <a:pt x="440" y="329"/>
                  </a:lnTo>
                  <a:cubicBezTo>
                    <a:pt x="441" y="329"/>
                    <a:pt x="441" y="328"/>
                    <a:pt x="442" y="328"/>
                  </a:cubicBezTo>
                  <a:lnTo>
                    <a:pt x="510" y="267"/>
                  </a:lnTo>
                  <a:cubicBezTo>
                    <a:pt x="511" y="266"/>
                    <a:pt x="511" y="266"/>
                    <a:pt x="511" y="266"/>
                  </a:cubicBezTo>
                  <a:lnTo>
                    <a:pt x="604" y="205"/>
                  </a:lnTo>
                  <a:cubicBezTo>
                    <a:pt x="606" y="204"/>
                    <a:pt x="608" y="203"/>
                    <a:pt x="611" y="204"/>
                  </a:cubicBezTo>
                  <a:lnTo>
                    <a:pt x="704" y="224"/>
                  </a:lnTo>
                  <a:lnTo>
                    <a:pt x="702" y="224"/>
                  </a:lnTo>
                  <a:lnTo>
                    <a:pt x="795" y="224"/>
                  </a:lnTo>
                  <a:lnTo>
                    <a:pt x="794" y="224"/>
                  </a:lnTo>
                  <a:lnTo>
                    <a:pt x="931" y="204"/>
                  </a:lnTo>
                  <a:cubicBezTo>
                    <a:pt x="933" y="204"/>
                    <a:pt x="934" y="204"/>
                    <a:pt x="935" y="204"/>
                  </a:cubicBezTo>
                  <a:lnTo>
                    <a:pt x="1029" y="245"/>
                  </a:lnTo>
                  <a:lnTo>
                    <a:pt x="1020" y="246"/>
                  </a:lnTo>
                  <a:lnTo>
                    <a:pt x="1089" y="185"/>
                  </a:lnTo>
                  <a:cubicBezTo>
                    <a:pt x="1090" y="185"/>
                    <a:pt x="1091" y="184"/>
                    <a:pt x="1092" y="184"/>
                  </a:cubicBezTo>
                  <a:lnTo>
                    <a:pt x="1300" y="123"/>
                  </a:lnTo>
                  <a:lnTo>
                    <a:pt x="1296" y="126"/>
                  </a:lnTo>
                  <a:lnTo>
                    <a:pt x="1389" y="4"/>
                  </a:lnTo>
                  <a:cubicBezTo>
                    <a:pt x="1391" y="1"/>
                    <a:pt x="1395" y="0"/>
                    <a:pt x="1398" y="1"/>
                  </a:cubicBezTo>
                  <a:lnTo>
                    <a:pt x="1513" y="42"/>
                  </a:lnTo>
                  <a:cubicBezTo>
                    <a:pt x="1515" y="42"/>
                    <a:pt x="1516" y="43"/>
                    <a:pt x="1517" y="44"/>
                  </a:cubicBezTo>
                  <a:lnTo>
                    <a:pt x="1607" y="145"/>
                  </a:lnTo>
                  <a:lnTo>
                    <a:pt x="1606" y="144"/>
                  </a:lnTo>
                  <a:lnTo>
                    <a:pt x="1745" y="246"/>
                  </a:lnTo>
                  <a:lnTo>
                    <a:pt x="1839" y="307"/>
                  </a:lnTo>
                  <a:cubicBezTo>
                    <a:pt x="1839" y="307"/>
                    <a:pt x="1840" y="307"/>
                    <a:pt x="1840" y="308"/>
                  </a:cubicBezTo>
                  <a:lnTo>
                    <a:pt x="1955" y="430"/>
                  </a:lnTo>
                  <a:cubicBezTo>
                    <a:pt x="1957" y="431"/>
                    <a:pt x="1957" y="433"/>
                    <a:pt x="1957" y="435"/>
                  </a:cubicBezTo>
                  <a:lnTo>
                    <a:pt x="1957" y="537"/>
                  </a:lnTo>
                  <a:lnTo>
                    <a:pt x="1957" y="535"/>
                  </a:lnTo>
                  <a:lnTo>
                    <a:pt x="2004" y="718"/>
                  </a:lnTo>
                  <a:lnTo>
                    <a:pt x="2000" y="713"/>
                  </a:lnTo>
                  <a:lnTo>
                    <a:pt x="2161" y="794"/>
                  </a:lnTo>
                  <a:lnTo>
                    <a:pt x="2154" y="794"/>
                  </a:lnTo>
                  <a:lnTo>
                    <a:pt x="2291" y="733"/>
                  </a:lnTo>
                  <a:close/>
                </a:path>
              </a:pathLst>
            </a:custGeom>
            <a:solidFill>
              <a:srgbClr val="000000"/>
            </a:solidFill>
            <a:ln w="0" cap="flat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259" name="Rectangle 226"/>
            <p:cNvSpPr>
              <a:spLocks noChangeArrowheads="1"/>
            </p:cNvSpPr>
            <p:nvPr/>
          </p:nvSpPr>
          <p:spPr bwMode="auto">
            <a:xfrm>
              <a:off x="4498" y="2424"/>
              <a:ext cx="61" cy="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sz="500" b="1">
                  <a:solidFill>
                    <a:srgbClr val="000000"/>
                  </a:solidFill>
                </a:rPr>
                <a:t>RO</a:t>
              </a:r>
              <a:endParaRPr lang="de-DE"/>
            </a:p>
          </p:txBody>
        </p:sp>
        <p:sp>
          <p:nvSpPr>
            <p:cNvPr id="7260" name="Rectangle 227"/>
            <p:cNvSpPr>
              <a:spLocks noChangeArrowheads="1"/>
            </p:cNvSpPr>
            <p:nvPr/>
          </p:nvSpPr>
          <p:spPr bwMode="auto">
            <a:xfrm>
              <a:off x="3902" y="2204"/>
              <a:ext cx="53" cy="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sz="500" b="1">
                  <a:solidFill>
                    <a:srgbClr val="000000"/>
                  </a:solidFill>
                </a:rPr>
                <a:t>CZ</a:t>
              </a:r>
              <a:endParaRPr lang="de-DE"/>
            </a:p>
          </p:txBody>
        </p:sp>
        <p:sp>
          <p:nvSpPr>
            <p:cNvPr id="7261" name="Rectangle 228"/>
            <p:cNvSpPr>
              <a:spLocks noChangeArrowheads="1"/>
            </p:cNvSpPr>
            <p:nvPr/>
          </p:nvSpPr>
          <p:spPr bwMode="auto">
            <a:xfrm>
              <a:off x="4110" y="2259"/>
              <a:ext cx="56" cy="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sz="500" b="1">
                  <a:solidFill>
                    <a:srgbClr val="000000"/>
                  </a:solidFill>
                </a:rPr>
                <a:t>SK</a:t>
              </a:r>
              <a:endParaRPr lang="de-DE"/>
            </a:p>
          </p:txBody>
        </p:sp>
        <p:sp>
          <p:nvSpPr>
            <p:cNvPr id="7262" name="Freeform 229"/>
            <p:cNvSpPr>
              <a:spLocks/>
            </p:cNvSpPr>
            <p:nvPr/>
          </p:nvSpPr>
          <p:spPr bwMode="auto">
            <a:xfrm>
              <a:off x="3208" y="2100"/>
              <a:ext cx="214" cy="141"/>
            </a:xfrm>
            <a:custGeom>
              <a:avLst/>
              <a:gdLst>
                <a:gd name="T0" fmla="*/ 306 w 204"/>
                <a:gd name="T1" fmla="*/ 196 h 134"/>
                <a:gd name="T2" fmla="*/ 317 w 204"/>
                <a:gd name="T3" fmla="*/ 179 h 134"/>
                <a:gd name="T4" fmla="*/ 342 w 204"/>
                <a:gd name="T5" fmla="*/ 170 h 134"/>
                <a:gd name="T6" fmla="*/ 362 w 204"/>
                <a:gd name="T7" fmla="*/ 154 h 134"/>
                <a:gd name="T8" fmla="*/ 362 w 204"/>
                <a:gd name="T9" fmla="*/ 120 h 134"/>
                <a:gd name="T10" fmla="*/ 335 w 204"/>
                <a:gd name="T11" fmla="*/ 94 h 134"/>
                <a:gd name="T12" fmla="*/ 296 w 204"/>
                <a:gd name="T13" fmla="*/ 75 h 134"/>
                <a:gd name="T14" fmla="*/ 306 w 204"/>
                <a:gd name="T15" fmla="*/ 49 h 134"/>
                <a:gd name="T16" fmla="*/ 288 w 204"/>
                <a:gd name="T17" fmla="*/ 26 h 134"/>
                <a:gd name="T18" fmla="*/ 241 w 204"/>
                <a:gd name="T19" fmla="*/ 9 h 134"/>
                <a:gd name="T20" fmla="*/ 184 w 204"/>
                <a:gd name="T21" fmla="*/ 4 h 134"/>
                <a:gd name="T22" fmla="*/ 147 w 204"/>
                <a:gd name="T23" fmla="*/ 26 h 134"/>
                <a:gd name="T24" fmla="*/ 112 w 204"/>
                <a:gd name="T25" fmla="*/ 9 h 134"/>
                <a:gd name="T26" fmla="*/ 84 w 204"/>
                <a:gd name="T27" fmla="*/ 0 h 134"/>
                <a:gd name="T28" fmla="*/ 45 w 204"/>
                <a:gd name="T29" fmla="*/ 9 h 134"/>
                <a:gd name="T30" fmla="*/ 0 w 204"/>
                <a:gd name="T31" fmla="*/ 26 h 134"/>
                <a:gd name="T32" fmla="*/ 10 w 204"/>
                <a:gd name="T33" fmla="*/ 41 h 134"/>
                <a:gd name="T34" fmla="*/ 45 w 204"/>
                <a:gd name="T35" fmla="*/ 75 h 134"/>
                <a:gd name="T36" fmla="*/ 73 w 204"/>
                <a:gd name="T37" fmla="*/ 102 h 134"/>
                <a:gd name="T38" fmla="*/ 112 w 204"/>
                <a:gd name="T39" fmla="*/ 120 h 134"/>
                <a:gd name="T40" fmla="*/ 112 w 204"/>
                <a:gd name="T41" fmla="*/ 127 h 134"/>
                <a:gd name="T42" fmla="*/ 158 w 204"/>
                <a:gd name="T43" fmla="*/ 146 h 134"/>
                <a:gd name="T44" fmla="*/ 158 w 204"/>
                <a:gd name="T45" fmla="*/ 179 h 134"/>
                <a:gd name="T46" fmla="*/ 206 w 204"/>
                <a:gd name="T47" fmla="*/ 170 h 134"/>
                <a:gd name="T48" fmla="*/ 221 w 204"/>
                <a:gd name="T49" fmla="*/ 204 h 134"/>
                <a:gd name="T50" fmla="*/ 288 w 204"/>
                <a:gd name="T51" fmla="*/ 248 h 134"/>
                <a:gd name="T52" fmla="*/ 306 w 204"/>
                <a:gd name="T53" fmla="*/ 248 h 134"/>
                <a:gd name="T54" fmla="*/ 306 w 204"/>
                <a:gd name="T55" fmla="*/ 221 h 134"/>
                <a:gd name="T56" fmla="*/ 306 w 204"/>
                <a:gd name="T57" fmla="*/ 196 h 13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204"/>
                <a:gd name="T88" fmla="*/ 0 h 134"/>
                <a:gd name="T89" fmla="*/ 204 w 204"/>
                <a:gd name="T90" fmla="*/ 134 h 13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204" h="134">
                  <a:moveTo>
                    <a:pt x="173" y="106"/>
                  </a:moveTo>
                  <a:lnTo>
                    <a:pt x="178" y="97"/>
                  </a:lnTo>
                  <a:lnTo>
                    <a:pt x="193" y="92"/>
                  </a:lnTo>
                  <a:lnTo>
                    <a:pt x="204" y="83"/>
                  </a:lnTo>
                  <a:lnTo>
                    <a:pt x="204" y="65"/>
                  </a:lnTo>
                  <a:lnTo>
                    <a:pt x="188" y="51"/>
                  </a:lnTo>
                  <a:lnTo>
                    <a:pt x="167" y="41"/>
                  </a:lnTo>
                  <a:lnTo>
                    <a:pt x="173" y="27"/>
                  </a:lnTo>
                  <a:lnTo>
                    <a:pt x="162" y="14"/>
                  </a:lnTo>
                  <a:lnTo>
                    <a:pt x="136" y="9"/>
                  </a:lnTo>
                  <a:lnTo>
                    <a:pt x="104" y="4"/>
                  </a:lnTo>
                  <a:lnTo>
                    <a:pt x="83" y="14"/>
                  </a:lnTo>
                  <a:lnTo>
                    <a:pt x="63" y="9"/>
                  </a:lnTo>
                  <a:lnTo>
                    <a:pt x="47" y="0"/>
                  </a:lnTo>
                  <a:lnTo>
                    <a:pt x="26" y="9"/>
                  </a:lnTo>
                  <a:lnTo>
                    <a:pt x="0" y="14"/>
                  </a:lnTo>
                  <a:lnTo>
                    <a:pt x="10" y="23"/>
                  </a:lnTo>
                  <a:lnTo>
                    <a:pt x="26" y="41"/>
                  </a:lnTo>
                  <a:lnTo>
                    <a:pt x="42" y="55"/>
                  </a:lnTo>
                  <a:lnTo>
                    <a:pt x="63" y="65"/>
                  </a:lnTo>
                  <a:lnTo>
                    <a:pt x="63" y="69"/>
                  </a:lnTo>
                  <a:lnTo>
                    <a:pt x="89" y="79"/>
                  </a:lnTo>
                  <a:lnTo>
                    <a:pt x="89" y="97"/>
                  </a:lnTo>
                  <a:lnTo>
                    <a:pt x="115" y="92"/>
                  </a:lnTo>
                  <a:lnTo>
                    <a:pt x="125" y="111"/>
                  </a:lnTo>
                  <a:lnTo>
                    <a:pt x="162" y="134"/>
                  </a:lnTo>
                  <a:lnTo>
                    <a:pt x="173" y="134"/>
                  </a:lnTo>
                  <a:lnTo>
                    <a:pt x="173" y="120"/>
                  </a:lnTo>
                  <a:lnTo>
                    <a:pt x="173" y="106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cs-CZ"/>
            </a:p>
          </p:txBody>
        </p:sp>
        <p:sp>
          <p:nvSpPr>
            <p:cNvPr id="7263" name="Freeform 230"/>
            <p:cNvSpPr>
              <a:spLocks noEditPoints="1"/>
            </p:cNvSpPr>
            <p:nvPr/>
          </p:nvSpPr>
          <p:spPr bwMode="auto">
            <a:xfrm>
              <a:off x="3206" y="2098"/>
              <a:ext cx="218" cy="145"/>
            </a:xfrm>
            <a:custGeom>
              <a:avLst/>
              <a:gdLst>
                <a:gd name="T0" fmla="*/ 0 w 912"/>
                <a:gd name="T1" fmla="*/ 0 h 608"/>
                <a:gd name="T2" fmla="*/ 0 w 912"/>
                <a:gd name="T3" fmla="*/ 0 h 608"/>
                <a:gd name="T4" fmla="*/ 0 w 912"/>
                <a:gd name="T5" fmla="*/ 0 h 608"/>
                <a:gd name="T6" fmla="*/ 0 w 912"/>
                <a:gd name="T7" fmla="*/ 0 h 608"/>
                <a:gd name="T8" fmla="*/ 0 w 912"/>
                <a:gd name="T9" fmla="*/ 0 h 608"/>
                <a:gd name="T10" fmla="*/ 0 w 912"/>
                <a:gd name="T11" fmla="*/ 0 h 608"/>
                <a:gd name="T12" fmla="*/ 0 w 912"/>
                <a:gd name="T13" fmla="*/ 0 h 608"/>
                <a:gd name="T14" fmla="*/ 0 w 912"/>
                <a:gd name="T15" fmla="*/ 0 h 608"/>
                <a:gd name="T16" fmla="*/ 0 w 912"/>
                <a:gd name="T17" fmla="*/ 0 h 608"/>
                <a:gd name="T18" fmla="*/ 0 w 912"/>
                <a:gd name="T19" fmla="*/ 0 h 608"/>
                <a:gd name="T20" fmla="*/ 0 w 912"/>
                <a:gd name="T21" fmla="*/ 0 h 608"/>
                <a:gd name="T22" fmla="*/ 0 w 912"/>
                <a:gd name="T23" fmla="*/ 0 h 608"/>
                <a:gd name="T24" fmla="*/ 0 w 912"/>
                <a:gd name="T25" fmla="*/ 0 h 608"/>
                <a:gd name="T26" fmla="*/ 0 w 912"/>
                <a:gd name="T27" fmla="*/ 0 h 608"/>
                <a:gd name="T28" fmla="*/ 0 w 912"/>
                <a:gd name="T29" fmla="*/ 0 h 608"/>
                <a:gd name="T30" fmla="*/ 0 w 912"/>
                <a:gd name="T31" fmla="*/ 0 h 608"/>
                <a:gd name="T32" fmla="*/ 0 w 912"/>
                <a:gd name="T33" fmla="*/ 0 h 608"/>
                <a:gd name="T34" fmla="*/ 0 w 912"/>
                <a:gd name="T35" fmla="*/ 0 h 608"/>
                <a:gd name="T36" fmla="*/ 0 w 912"/>
                <a:gd name="T37" fmla="*/ 0 h 608"/>
                <a:gd name="T38" fmla="*/ 0 w 912"/>
                <a:gd name="T39" fmla="*/ 0 h 608"/>
                <a:gd name="T40" fmla="*/ 0 w 912"/>
                <a:gd name="T41" fmla="*/ 0 h 608"/>
                <a:gd name="T42" fmla="*/ 0 w 912"/>
                <a:gd name="T43" fmla="*/ 0 h 608"/>
                <a:gd name="T44" fmla="*/ 0 w 912"/>
                <a:gd name="T45" fmla="*/ 0 h 608"/>
                <a:gd name="T46" fmla="*/ 0 w 912"/>
                <a:gd name="T47" fmla="*/ 0 h 608"/>
                <a:gd name="T48" fmla="*/ 0 w 912"/>
                <a:gd name="T49" fmla="*/ 0 h 608"/>
                <a:gd name="T50" fmla="*/ 0 w 912"/>
                <a:gd name="T51" fmla="*/ 0 h 608"/>
                <a:gd name="T52" fmla="*/ 0 w 912"/>
                <a:gd name="T53" fmla="*/ 0 h 608"/>
                <a:gd name="T54" fmla="*/ 0 w 912"/>
                <a:gd name="T55" fmla="*/ 0 h 608"/>
                <a:gd name="T56" fmla="*/ 0 w 912"/>
                <a:gd name="T57" fmla="*/ 0 h 608"/>
                <a:gd name="T58" fmla="*/ 0 w 912"/>
                <a:gd name="T59" fmla="*/ 0 h 608"/>
                <a:gd name="T60" fmla="*/ 0 w 912"/>
                <a:gd name="T61" fmla="*/ 0 h 608"/>
                <a:gd name="T62" fmla="*/ 0 w 912"/>
                <a:gd name="T63" fmla="*/ 0 h 608"/>
                <a:gd name="T64" fmla="*/ 0 w 912"/>
                <a:gd name="T65" fmla="*/ 0 h 608"/>
                <a:gd name="T66" fmla="*/ 0 w 912"/>
                <a:gd name="T67" fmla="*/ 0 h 608"/>
                <a:gd name="T68" fmla="*/ 0 w 912"/>
                <a:gd name="T69" fmla="*/ 0 h 608"/>
                <a:gd name="T70" fmla="*/ 0 w 912"/>
                <a:gd name="T71" fmla="*/ 0 h 608"/>
                <a:gd name="T72" fmla="*/ 0 w 912"/>
                <a:gd name="T73" fmla="*/ 0 h 608"/>
                <a:gd name="T74" fmla="*/ 0 w 912"/>
                <a:gd name="T75" fmla="*/ 0 h 608"/>
                <a:gd name="T76" fmla="*/ 0 w 912"/>
                <a:gd name="T77" fmla="*/ 0 h 608"/>
                <a:gd name="T78" fmla="*/ 0 w 912"/>
                <a:gd name="T79" fmla="*/ 0 h 608"/>
                <a:gd name="T80" fmla="*/ 0 w 912"/>
                <a:gd name="T81" fmla="*/ 0 h 608"/>
                <a:gd name="T82" fmla="*/ 0 w 912"/>
                <a:gd name="T83" fmla="*/ 0 h 608"/>
                <a:gd name="T84" fmla="*/ 0 w 912"/>
                <a:gd name="T85" fmla="*/ 0 h 608"/>
                <a:gd name="T86" fmla="*/ 0 w 912"/>
                <a:gd name="T87" fmla="*/ 0 h 608"/>
                <a:gd name="T88" fmla="*/ 0 w 912"/>
                <a:gd name="T89" fmla="*/ 0 h 608"/>
                <a:gd name="T90" fmla="*/ 0 w 912"/>
                <a:gd name="T91" fmla="*/ 0 h 608"/>
                <a:gd name="T92" fmla="*/ 0 w 912"/>
                <a:gd name="T93" fmla="*/ 0 h 608"/>
                <a:gd name="T94" fmla="*/ 0 w 912"/>
                <a:gd name="T95" fmla="*/ 0 h 608"/>
                <a:gd name="T96" fmla="*/ 0 w 912"/>
                <a:gd name="T97" fmla="*/ 0 h 608"/>
                <a:gd name="T98" fmla="*/ 0 w 912"/>
                <a:gd name="T99" fmla="*/ 0 h 608"/>
                <a:gd name="T100" fmla="*/ 0 w 912"/>
                <a:gd name="T101" fmla="*/ 0 h 608"/>
                <a:gd name="T102" fmla="*/ 0 w 912"/>
                <a:gd name="T103" fmla="*/ 0 h 608"/>
                <a:gd name="T104" fmla="*/ 0 w 912"/>
                <a:gd name="T105" fmla="*/ 0 h 608"/>
                <a:gd name="T106" fmla="*/ 0 w 912"/>
                <a:gd name="T107" fmla="*/ 0 h 60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912"/>
                <a:gd name="T163" fmla="*/ 0 h 608"/>
                <a:gd name="T164" fmla="*/ 912 w 912"/>
                <a:gd name="T165" fmla="*/ 608 h 608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912" h="608">
                  <a:moveTo>
                    <a:pt x="760" y="478"/>
                  </a:moveTo>
                  <a:cubicBezTo>
                    <a:pt x="760" y="477"/>
                    <a:pt x="760" y="475"/>
                    <a:pt x="761" y="474"/>
                  </a:cubicBezTo>
                  <a:lnTo>
                    <a:pt x="783" y="433"/>
                  </a:lnTo>
                  <a:cubicBezTo>
                    <a:pt x="784" y="431"/>
                    <a:pt x="785" y="430"/>
                    <a:pt x="787" y="429"/>
                  </a:cubicBezTo>
                  <a:lnTo>
                    <a:pt x="856" y="409"/>
                  </a:lnTo>
                  <a:lnTo>
                    <a:pt x="853" y="411"/>
                  </a:lnTo>
                  <a:lnTo>
                    <a:pt x="899" y="370"/>
                  </a:lnTo>
                  <a:lnTo>
                    <a:pt x="896" y="376"/>
                  </a:lnTo>
                  <a:lnTo>
                    <a:pt x="896" y="294"/>
                  </a:lnTo>
                  <a:lnTo>
                    <a:pt x="899" y="300"/>
                  </a:lnTo>
                  <a:lnTo>
                    <a:pt x="831" y="239"/>
                  </a:lnTo>
                  <a:lnTo>
                    <a:pt x="833" y="240"/>
                  </a:lnTo>
                  <a:lnTo>
                    <a:pt x="740" y="200"/>
                  </a:lnTo>
                  <a:cubicBezTo>
                    <a:pt x="736" y="198"/>
                    <a:pt x="734" y="193"/>
                    <a:pt x="736" y="189"/>
                  </a:cubicBezTo>
                  <a:lnTo>
                    <a:pt x="760" y="128"/>
                  </a:lnTo>
                  <a:lnTo>
                    <a:pt x="761" y="136"/>
                  </a:lnTo>
                  <a:lnTo>
                    <a:pt x="715" y="75"/>
                  </a:lnTo>
                  <a:lnTo>
                    <a:pt x="720" y="78"/>
                  </a:lnTo>
                  <a:lnTo>
                    <a:pt x="605" y="57"/>
                  </a:lnTo>
                  <a:lnTo>
                    <a:pt x="466" y="37"/>
                  </a:lnTo>
                  <a:lnTo>
                    <a:pt x="471" y="36"/>
                  </a:lnTo>
                  <a:lnTo>
                    <a:pt x="378" y="77"/>
                  </a:lnTo>
                  <a:cubicBezTo>
                    <a:pt x="376" y="78"/>
                    <a:pt x="374" y="78"/>
                    <a:pt x="373" y="78"/>
                  </a:cubicBezTo>
                  <a:lnTo>
                    <a:pt x="283" y="57"/>
                  </a:lnTo>
                  <a:cubicBezTo>
                    <a:pt x="282" y="57"/>
                    <a:pt x="281" y="57"/>
                    <a:pt x="280" y="56"/>
                  </a:cubicBezTo>
                  <a:lnTo>
                    <a:pt x="209" y="15"/>
                  </a:lnTo>
                  <a:lnTo>
                    <a:pt x="217" y="16"/>
                  </a:lnTo>
                  <a:lnTo>
                    <a:pt x="127" y="57"/>
                  </a:lnTo>
                  <a:cubicBezTo>
                    <a:pt x="126" y="57"/>
                    <a:pt x="125" y="57"/>
                    <a:pt x="125" y="57"/>
                  </a:cubicBezTo>
                  <a:lnTo>
                    <a:pt x="10" y="78"/>
                  </a:lnTo>
                  <a:lnTo>
                    <a:pt x="14" y="64"/>
                  </a:lnTo>
                  <a:lnTo>
                    <a:pt x="58" y="105"/>
                  </a:lnTo>
                  <a:lnTo>
                    <a:pt x="129" y="187"/>
                  </a:lnTo>
                  <a:lnTo>
                    <a:pt x="197" y="247"/>
                  </a:lnTo>
                  <a:lnTo>
                    <a:pt x="195" y="246"/>
                  </a:lnTo>
                  <a:lnTo>
                    <a:pt x="288" y="287"/>
                  </a:lnTo>
                  <a:cubicBezTo>
                    <a:pt x="290" y="288"/>
                    <a:pt x="292" y="291"/>
                    <a:pt x="292" y="294"/>
                  </a:cubicBezTo>
                  <a:lnTo>
                    <a:pt x="292" y="315"/>
                  </a:lnTo>
                  <a:lnTo>
                    <a:pt x="287" y="307"/>
                  </a:lnTo>
                  <a:lnTo>
                    <a:pt x="402" y="348"/>
                  </a:lnTo>
                  <a:cubicBezTo>
                    <a:pt x="405" y="349"/>
                    <a:pt x="407" y="352"/>
                    <a:pt x="407" y="356"/>
                  </a:cubicBezTo>
                  <a:lnTo>
                    <a:pt x="407" y="437"/>
                  </a:lnTo>
                  <a:lnTo>
                    <a:pt x="398" y="429"/>
                  </a:lnTo>
                  <a:lnTo>
                    <a:pt x="512" y="409"/>
                  </a:lnTo>
                  <a:cubicBezTo>
                    <a:pt x="516" y="408"/>
                    <a:pt x="519" y="410"/>
                    <a:pt x="521" y="413"/>
                  </a:cubicBezTo>
                  <a:lnTo>
                    <a:pt x="567" y="494"/>
                  </a:lnTo>
                  <a:lnTo>
                    <a:pt x="565" y="492"/>
                  </a:lnTo>
                  <a:lnTo>
                    <a:pt x="726" y="594"/>
                  </a:lnTo>
                  <a:lnTo>
                    <a:pt x="721" y="592"/>
                  </a:lnTo>
                  <a:lnTo>
                    <a:pt x="768" y="592"/>
                  </a:lnTo>
                  <a:lnTo>
                    <a:pt x="760" y="600"/>
                  </a:lnTo>
                  <a:lnTo>
                    <a:pt x="760" y="539"/>
                  </a:lnTo>
                  <a:lnTo>
                    <a:pt x="760" y="478"/>
                  </a:lnTo>
                  <a:close/>
                  <a:moveTo>
                    <a:pt x="776" y="539"/>
                  </a:moveTo>
                  <a:lnTo>
                    <a:pt x="776" y="600"/>
                  </a:lnTo>
                  <a:cubicBezTo>
                    <a:pt x="776" y="605"/>
                    <a:pt x="772" y="608"/>
                    <a:pt x="768" y="608"/>
                  </a:cubicBezTo>
                  <a:lnTo>
                    <a:pt x="721" y="608"/>
                  </a:lnTo>
                  <a:cubicBezTo>
                    <a:pt x="720" y="608"/>
                    <a:pt x="718" y="608"/>
                    <a:pt x="717" y="607"/>
                  </a:cubicBezTo>
                  <a:lnTo>
                    <a:pt x="556" y="505"/>
                  </a:lnTo>
                  <a:cubicBezTo>
                    <a:pt x="555" y="504"/>
                    <a:pt x="554" y="503"/>
                    <a:pt x="553" y="502"/>
                  </a:cubicBezTo>
                  <a:lnTo>
                    <a:pt x="507" y="421"/>
                  </a:lnTo>
                  <a:lnTo>
                    <a:pt x="515" y="425"/>
                  </a:lnTo>
                  <a:lnTo>
                    <a:pt x="401" y="445"/>
                  </a:lnTo>
                  <a:cubicBezTo>
                    <a:pt x="398" y="445"/>
                    <a:pt x="396" y="445"/>
                    <a:pt x="394" y="443"/>
                  </a:cubicBezTo>
                  <a:cubicBezTo>
                    <a:pt x="392" y="442"/>
                    <a:pt x="391" y="440"/>
                    <a:pt x="391" y="437"/>
                  </a:cubicBezTo>
                  <a:lnTo>
                    <a:pt x="391" y="356"/>
                  </a:lnTo>
                  <a:lnTo>
                    <a:pt x="396" y="363"/>
                  </a:lnTo>
                  <a:lnTo>
                    <a:pt x="282" y="322"/>
                  </a:lnTo>
                  <a:cubicBezTo>
                    <a:pt x="278" y="321"/>
                    <a:pt x="276" y="318"/>
                    <a:pt x="276" y="315"/>
                  </a:cubicBezTo>
                  <a:lnTo>
                    <a:pt x="276" y="294"/>
                  </a:lnTo>
                  <a:lnTo>
                    <a:pt x="281" y="302"/>
                  </a:lnTo>
                  <a:lnTo>
                    <a:pt x="188" y="261"/>
                  </a:lnTo>
                  <a:cubicBezTo>
                    <a:pt x="187" y="260"/>
                    <a:pt x="187" y="260"/>
                    <a:pt x="186" y="259"/>
                  </a:cubicBezTo>
                  <a:lnTo>
                    <a:pt x="117" y="197"/>
                  </a:lnTo>
                  <a:lnTo>
                    <a:pt x="47" y="116"/>
                  </a:lnTo>
                  <a:lnTo>
                    <a:pt x="3" y="76"/>
                  </a:lnTo>
                  <a:cubicBezTo>
                    <a:pt x="1" y="73"/>
                    <a:pt x="0" y="70"/>
                    <a:pt x="1" y="67"/>
                  </a:cubicBezTo>
                  <a:cubicBezTo>
                    <a:pt x="2" y="65"/>
                    <a:pt x="4" y="62"/>
                    <a:pt x="7" y="62"/>
                  </a:cubicBezTo>
                  <a:lnTo>
                    <a:pt x="122" y="41"/>
                  </a:lnTo>
                  <a:lnTo>
                    <a:pt x="120" y="42"/>
                  </a:lnTo>
                  <a:lnTo>
                    <a:pt x="210" y="1"/>
                  </a:lnTo>
                  <a:cubicBezTo>
                    <a:pt x="212" y="0"/>
                    <a:pt x="215" y="0"/>
                    <a:pt x="217" y="2"/>
                  </a:cubicBezTo>
                  <a:lnTo>
                    <a:pt x="288" y="42"/>
                  </a:lnTo>
                  <a:lnTo>
                    <a:pt x="286" y="41"/>
                  </a:lnTo>
                  <a:lnTo>
                    <a:pt x="376" y="62"/>
                  </a:lnTo>
                  <a:lnTo>
                    <a:pt x="371" y="62"/>
                  </a:lnTo>
                  <a:lnTo>
                    <a:pt x="464" y="22"/>
                  </a:lnTo>
                  <a:cubicBezTo>
                    <a:pt x="466" y="21"/>
                    <a:pt x="467" y="21"/>
                    <a:pt x="469" y="21"/>
                  </a:cubicBezTo>
                  <a:lnTo>
                    <a:pt x="608" y="41"/>
                  </a:lnTo>
                  <a:lnTo>
                    <a:pt x="723" y="62"/>
                  </a:lnTo>
                  <a:cubicBezTo>
                    <a:pt x="725" y="62"/>
                    <a:pt x="727" y="63"/>
                    <a:pt x="728" y="65"/>
                  </a:cubicBezTo>
                  <a:lnTo>
                    <a:pt x="774" y="126"/>
                  </a:lnTo>
                  <a:cubicBezTo>
                    <a:pt x="776" y="128"/>
                    <a:pt x="776" y="131"/>
                    <a:pt x="775" y="134"/>
                  </a:cubicBezTo>
                  <a:lnTo>
                    <a:pt x="751" y="195"/>
                  </a:lnTo>
                  <a:lnTo>
                    <a:pt x="747" y="185"/>
                  </a:lnTo>
                  <a:lnTo>
                    <a:pt x="839" y="226"/>
                  </a:lnTo>
                  <a:cubicBezTo>
                    <a:pt x="840" y="226"/>
                    <a:pt x="841" y="226"/>
                    <a:pt x="842" y="227"/>
                  </a:cubicBezTo>
                  <a:lnTo>
                    <a:pt x="910" y="288"/>
                  </a:lnTo>
                  <a:cubicBezTo>
                    <a:pt x="912" y="290"/>
                    <a:pt x="912" y="292"/>
                    <a:pt x="912" y="294"/>
                  </a:cubicBezTo>
                  <a:lnTo>
                    <a:pt x="912" y="376"/>
                  </a:lnTo>
                  <a:cubicBezTo>
                    <a:pt x="912" y="378"/>
                    <a:pt x="911" y="380"/>
                    <a:pt x="910" y="382"/>
                  </a:cubicBezTo>
                  <a:lnTo>
                    <a:pt x="863" y="423"/>
                  </a:lnTo>
                  <a:cubicBezTo>
                    <a:pt x="862" y="424"/>
                    <a:pt x="861" y="424"/>
                    <a:pt x="860" y="424"/>
                  </a:cubicBezTo>
                  <a:lnTo>
                    <a:pt x="792" y="445"/>
                  </a:lnTo>
                  <a:lnTo>
                    <a:pt x="797" y="441"/>
                  </a:lnTo>
                  <a:lnTo>
                    <a:pt x="775" y="482"/>
                  </a:lnTo>
                  <a:lnTo>
                    <a:pt x="776" y="478"/>
                  </a:lnTo>
                  <a:lnTo>
                    <a:pt x="776" y="539"/>
                  </a:lnTo>
                  <a:close/>
                </a:path>
              </a:pathLst>
            </a:custGeom>
            <a:solidFill>
              <a:srgbClr val="000000"/>
            </a:solidFill>
            <a:ln w="0" cap="flat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264" name="Rectangle 231"/>
            <p:cNvSpPr>
              <a:spLocks noChangeArrowheads="1"/>
            </p:cNvSpPr>
            <p:nvPr/>
          </p:nvSpPr>
          <p:spPr bwMode="auto">
            <a:xfrm>
              <a:off x="3286" y="2122"/>
              <a:ext cx="55" cy="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sz="500" b="1">
                  <a:solidFill>
                    <a:srgbClr val="000000"/>
                  </a:solidFill>
                </a:rPr>
                <a:t>BE</a:t>
              </a:r>
              <a:endParaRPr lang="de-DE"/>
            </a:p>
          </p:txBody>
        </p:sp>
        <p:sp>
          <p:nvSpPr>
            <p:cNvPr id="7265" name="Freeform 232"/>
            <p:cNvSpPr>
              <a:spLocks/>
            </p:cNvSpPr>
            <p:nvPr/>
          </p:nvSpPr>
          <p:spPr bwMode="auto">
            <a:xfrm>
              <a:off x="3257" y="1954"/>
              <a:ext cx="218" cy="195"/>
            </a:xfrm>
            <a:custGeom>
              <a:avLst/>
              <a:gdLst>
                <a:gd name="T0" fmla="*/ 272 w 207"/>
                <a:gd name="T1" fmla="*/ 289 h 186"/>
                <a:gd name="T2" fmla="*/ 272 w 207"/>
                <a:gd name="T3" fmla="*/ 240 h 186"/>
                <a:gd name="T4" fmla="*/ 272 w 207"/>
                <a:gd name="T5" fmla="*/ 204 h 186"/>
                <a:gd name="T6" fmla="*/ 329 w 207"/>
                <a:gd name="T7" fmla="*/ 198 h 186"/>
                <a:gd name="T8" fmla="*/ 329 w 207"/>
                <a:gd name="T9" fmla="*/ 173 h 186"/>
                <a:gd name="T10" fmla="*/ 357 w 207"/>
                <a:gd name="T11" fmla="*/ 165 h 186"/>
                <a:gd name="T12" fmla="*/ 370 w 207"/>
                <a:gd name="T13" fmla="*/ 133 h 186"/>
                <a:gd name="T14" fmla="*/ 339 w 207"/>
                <a:gd name="T15" fmla="*/ 108 h 186"/>
                <a:gd name="T16" fmla="*/ 370 w 207"/>
                <a:gd name="T17" fmla="*/ 99 h 186"/>
                <a:gd name="T18" fmla="*/ 388 w 207"/>
                <a:gd name="T19" fmla="*/ 59 h 186"/>
                <a:gd name="T20" fmla="*/ 378 w 207"/>
                <a:gd name="T21" fmla="*/ 10 h 186"/>
                <a:gd name="T22" fmla="*/ 370 w 207"/>
                <a:gd name="T23" fmla="*/ 10 h 186"/>
                <a:gd name="T24" fmla="*/ 349 w 207"/>
                <a:gd name="T25" fmla="*/ 0 h 186"/>
                <a:gd name="T26" fmla="*/ 319 w 207"/>
                <a:gd name="T27" fmla="*/ 0 h 186"/>
                <a:gd name="T28" fmla="*/ 251 w 207"/>
                <a:gd name="T29" fmla="*/ 10 h 186"/>
                <a:gd name="T30" fmla="*/ 234 w 207"/>
                <a:gd name="T31" fmla="*/ 26 h 186"/>
                <a:gd name="T32" fmla="*/ 223 w 207"/>
                <a:gd name="T33" fmla="*/ 49 h 186"/>
                <a:gd name="T34" fmla="*/ 234 w 207"/>
                <a:gd name="T35" fmla="*/ 73 h 186"/>
                <a:gd name="T36" fmla="*/ 251 w 207"/>
                <a:gd name="T37" fmla="*/ 99 h 186"/>
                <a:gd name="T38" fmla="*/ 260 w 207"/>
                <a:gd name="T39" fmla="*/ 114 h 186"/>
                <a:gd name="T40" fmla="*/ 242 w 207"/>
                <a:gd name="T41" fmla="*/ 133 h 186"/>
                <a:gd name="T42" fmla="*/ 213 w 207"/>
                <a:gd name="T43" fmla="*/ 139 h 186"/>
                <a:gd name="T44" fmla="*/ 184 w 207"/>
                <a:gd name="T45" fmla="*/ 124 h 186"/>
                <a:gd name="T46" fmla="*/ 194 w 207"/>
                <a:gd name="T47" fmla="*/ 73 h 186"/>
                <a:gd name="T48" fmla="*/ 184 w 207"/>
                <a:gd name="T49" fmla="*/ 59 h 186"/>
                <a:gd name="T50" fmla="*/ 175 w 207"/>
                <a:gd name="T51" fmla="*/ 31 h 186"/>
                <a:gd name="T52" fmla="*/ 126 w 207"/>
                <a:gd name="T53" fmla="*/ 133 h 186"/>
                <a:gd name="T54" fmla="*/ 87 w 207"/>
                <a:gd name="T55" fmla="*/ 173 h 186"/>
                <a:gd name="T56" fmla="*/ 78 w 207"/>
                <a:gd name="T57" fmla="*/ 221 h 186"/>
                <a:gd name="T58" fmla="*/ 47 w 207"/>
                <a:gd name="T59" fmla="*/ 221 h 186"/>
                <a:gd name="T60" fmla="*/ 37 w 207"/>
                <a:gd name="T61" fmla="*/ 221 h 186"/>
                <a:gd name="T62" fmla="*/ 28 w 207"/>
                <a:gd name="T63" fmla="*/ 240 h 186"/>
                <a:gd name="T64" fmla="*/ 0 w 207"/>
                <a:gd name="T65" fmla="*/ 245 h 186"/>
                <a:gd name="T66" fmla="*/ 28 w 207"/>
                <a:gd name="T67" fmla="*/ 264 h 186"/>
                <a:gd name="T68" fmla="*/ 67 w 207"/>
                <a:gd name="T69" fmla="*/ 270 h 186"/>
                <a:gd name="T70" fmla="*/ 107 w 207"/>
                <a:gd name="T71" fmla="*/ 254 h 186"/>
                <a:gd name="T72" fmla="*/ 166 w 207"/>
                <a:gd name="T73" fmla="*/ 264 h 186"/>
                <a:gd name="T74" fmla="*/ 213 w 207"/>
                <a:gd name="T75" fmla="*/ 270 h 186"/>
                <a:gd name="T76" fmla="*/ 234 w 207"/>
                <a:gd name="T77" fmla="*/ 294 h 186"/>
                <a:gd name="T78" fmla="*/ 223 w 207"/>
                <a:gd name="T79" fmla="*/ 320 h 186"/>
                <a:gd name="T80" fmla="*/ 251 w 207"/>
                <a:gd name="T81" fmla="*/ 326 h 186"/>
                <a:gd name="T82" fmla="*/ 251 w 207"/>
                <a:gd name="T83" fmla="*/ 304 h 186"/>
                <a:gd name="T84" fmla="*/ 272 w 207"/>
                <a:gd name="T85" fmla="*/ 289 h 18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207"/>
                <a:gd name="T130" fmla="*/ 0 h 186"/>
                <a:gd name="T131" fmla="*/ 207 w 207"/>
                <a:gd name="T132" fmla="*/ 186 h 18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207" h="186">
                  <a:moveTo>
                    <a:pt x="145" y="163"/>
                  </a:moveTo>
                  <a:lnTo>
                    <a:pt x="145" y="135"/>
                  </a:lnTo>
                  <a:lnTo>
                    <a:pt x="145" y="116"/>
                  </a:lnTo>
                  <a:lnTo>
                    <a:pt x="177" y="112"/>
                  </a:lnTo>
                  <a:lnTo>
                    <a:pt x="177" y="98"/>
                  </a:lnTo>
                  <a:lnTo>
                    <a:pt x="192" y="93"/>
                  </a:lnTo>
                  <a:lnTo>
                    <a:pt x="198" y="75"/>
                  </a:lnTo>
                  <a:lnTo>
                    <a:pt x="182" y="61"/>
                  </a:lnTo>
                  <a:lnTo>
                    <a:pt x="198" y="56"/>
                  </a:lnTo>
                  <a:lnTo>
                    <a:pt x="207" y="33"/>
                  </a:lnTo>
                  <a:lnTo>
                    <a:pt x="203" y="10"/>
                  </a:lnTo>
                  <a:lnTo>
                    <a:pt x="198" y="10"/>
                  </a:lnTo>
                  <a:lnTo>
                    <a:pt x="187" y="0"/>
                  </a:lnTo>
                  <a:lnTo>
                    <a:pt x="171" y="0"/>
                  </a:lnTo>
                  <a:lnTo>
                    <a:pt x="135" y="10"/>
                  </a:lnTo>
                  <a:lnTo>
                    <a:pt x="125" y="14"/>
                  </a:lnTo>
                  <a:lnTo>
                    <a:pt x="120" y="28"/>
                  </a:lnTo>
                  <a:lnTo>
                    <a:pt x="125" y="42"/>
                  </a:lnTo>
                  <a:lnTo>
                    <a:pt x="135" y="56"/>
                  </a:lnTo>
                  <a:lnTo>
                    <a:pt x="140" y="65"/>
                  </a:lnTo>
                  <a:lnTo>
                    <a:pt x="130" y="75"/>
                  </a:lnTo>
                  <a:lnTo>
                    <a:pt x="115" y="79"/>
                  </a:lnTo>
                  <a:lnTo>
                    <a:pt x="99" y="70"/>
                  </a:lnTo>
                  <a:lnTo>
                    <a:pt x="104" y="42"/>
                  </a:lnTo>
                  <a:lnTo>
                    <a:pt x="99" y="33"/>
                  </a:lnTo>
                  <a:lnTo>
                    <a:pt x="94" y="19"/>
                  </a:lnTo>
                  <a:lnTo>
                    <a:pt x="68" y="75"/>
                  </a:lnTo>
                  <a:lnTo>
                    <a:pt x="47" y="98"/>
                  </a:lnTo>
                  <a:lnTo>
                    <a:pt x="42" y="126"/>
                  </a:lnTo>
                  <a:lnTo>
                    <a:pt x="26" y="126"/>
                  </a:lnTo>
                  <a:lnTo>
                    <a:pt x="21" y="126"/>
                  </a:lnTo>
                  <a:lnTo>
                    <a:pt x="16" y="135"/>
                  </a:lnTo>
                  <a:lnTo>
                    <a:pt x="0" y="139"/>
                  </a:lnTo>
                  <a:lnTo>
                    <a:pt x="16" y="149"/>
                  </a:lnTo>
                  <a:lnTo>
                    <a:pt x="37" y="154"/>
                  </a:lnTo>
                  <a:lnTo>
                    <a:pt x="58" y="144"/>
                  </a:lnTo>
                  <a:lnTo>
                    <a:pt x="89" y="149"/>
                  </a:lnTo>
                  <a:lnTo>
                    <a:pt x="115" y="154"/>
                  </a:lnTo>
                  <a:lnTo>
                    <a:pt x="125" y="167"/>
                  </a:lnTo>
                  <a:lnTo>
                    <a:pt x="120" y="181"/>
                  </a:lnTo>
                  <a:lnTo>
                    <a:pt x="135" y="186"/>
                  </a:lnTo>
                  <a:lnTo>
                    <a:pt x="135" y="172"/>
                  </a:lnTo>
                  <a:lnTo>
                    <a:pt x="145" y="163"/>
                  </a:lnTo>
                  <a:close/>
                </a:path>
              </a:pathLst>
            </a:custGeom>
            <a:solidFill>
              <a:srgbClr val="FFC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cs-CZ"/>
            </a:p>
          </p:txBody>
        </p:sp>
        <p:sp>
          <p:nvSpPr>
            <p:cNvPr id="7266" name="Freeform 233"/>
            <p:cNvSpPr>
              <a:spLocks noEditPoints="1"/>
            </p:cNvSpPr>
            <p:nvPr/>
          </p:nvSpPr>
          <p:spPr bwMode="auto">
            <a:xfrm>
              <a:off x="3256" y="1953"/>
              <a:ext cx="222" cy="198"/>
            </a:xfrm>
            <a:custGeom>
              <a:avLst/>
              <a:gdLst>
                <a:gd name="T0" fmla="*/ 0 w 929"/>
                <a:gd name="T1" fmla="*/ 0 h 833"/>
                <a:gd name="T2" fmla="*/ 0 w 929"/>
                <a:gd name="T3" fmla="*/ 0 h 833"/>
                <a:gd name="T4" fmla="*/ 0 w 929"/>
                <a:gd name="T5" fmla="*/ 0 h 833"/>
                <a:gd name="T6" fmla="*/ 0 w 929"/>
                <a:gd name="T7" fmla="*/ 0 h 833"/>
                <a:gd name="T8" fmla="*/ 0 w 929"/>
                <a:gd name="T9" fmla="*/ 0 h 833"/>
                <a:gd name="T10" fmla="*/ 0 w 929"/>
                <a:gd name="T11" fmla="*/ 0 h 833"/>
                <a:gd name="T12" fmla="*/ 0 w 929"/>
                <a:gd name="T13" fmla="*/ 0 h 833"/>
                <a:gd name="T14" fmla="*/ 0 w 929"/>
                <a:gd name="T15" fmla="*/ 0 h 833"/>
                <a:gd name="T16" fmla="*/ 0 w 929"/>
                <a:gd name="T17" fmla="*/ 0 h 833"/>
                <a:gd name="T18" fmla="*/ 0 w 929"/>
                <a:gd name="T19" fmla="*/ 0 h 833"/>
                <a:gd name="T20" fmla="*/ 0 w 929"/>
                <a:gd name="T21" fmla="*/ 0 h 833"/>
                <a:gd name="T22" fmla="*/ 0 w 929"/>
                <a:gd name="T23" fmla="*/ 0 h 833"/>
                <a:gd name="T24" fmla="*/ 0 w 929"/>
                <a:gd name="T25" fmla="*/ 0 h 833"/>
                <a:gd name="T26" fmla="*/ 0 w 929"/>
                <a:gd name="T27" fmla="*/ 0 h 833"/>
                <a:gd name="T28" fmla="*/ 0 w 929"/>
                <a:gd name="T29" fmla="*/ 0 h 833"/>
                <a:gd name="T30" fmla="*/ 0 w 929"/>
                <a:gd name="T31" fmla="*/ 0 h 833"/>
                <a:gd name="T32" fmla="*/ 0 w 929"/>
                <a:gd name="T33" fmla="*/ 0 h 833"/>
                <a:gd name="T34" fmla="*/ 0 w 929"/>
                <a:gd name="T35" fmla="*/ 0 h 833"/>
                <a:gd name="T36" fmla="*/ 0 w 929"/>
                <a:gd name="T37" fmla="*/ 0 h 833"/>
                <a:gd name="T38" fmla="*/ 0 w 929"/>
                <a:gd name="T39" fmla="*/ 0 h 833"/>
                <a:gd name="T40" fmla="*/ 0 w 929"/>
                <a:gd name="T41" fmla="*/ 0 h 833"/>
                <a:gd name="T42" fmla="*/ 0 w 929"/>
                <a:gd name="T43" fmla="*/ 0 h 833"/>
                <a:gd name="T44" fmla="*/ 0 w 929"/>
                <a:gd name="T45" fmla="*/ 0 h 833"/>
                <a:gd name="T46" fmla="*/ 0 w 929"/>
                <a:gd name="T47" fmla="*/ 0 h 833"/>
                <a:gd name="T48" fmla="*/ 0 w 929"/>
                <a:gd name="T49" fmla="*/ 0 h 833"/>
                <a:gd name="T50" fmla="*/ 0 w 929"/>
                <a:gd name="T51" fmla="*/ 0 h 833"/>
                <a:gd name="T52" fmla="*/ 0 w 929"/>
                <a:gd name="T53" fmla="*/ 0 h 833"/>
                <a:gd name="T54" fmla="*/ 0 w 929"/>
                <a:gd name="T55" fmla="*/ 0 h 833"/>
                <a:gd name="T56" fmla="*/ 0 w 929"/>
                <a:gd name="T57" fmla="*/ 0 h 833"/>
                <a:gd name="T58" fmla="*/ 0 w 929"/>
                <a:gd name="T59" fmla="*/ 0 h 833"/>
                <a:gd name="T60" fmla="*/ 0 w 929"/>
                <a:gd name="T61" fmla="*/ 0 h 833"/>
                <a:gd name="T62" fmla="*/ 0 w 929"/>
                <a:gd name="T63" fmla="*/ 0 h 833"/>
                <a:gd name="T64" fmla="*/ 0 w 929"/>
                <a:gd name="T65" fmla="*/ 0 h 833"/>
                <a:gd name="T66" fmla="*/ 0 w 929"/>
                <a:gd name="T67" fmla="*/ 0 h 833"/>
                <a:gd name="T68" fmla="*/ 0 w 929"/>
                <a:gd name="T69" fmla="*/ 0 h 833"/>
                <a:gd name="T70" fmla="*/ 0 w 929"/>
                <a:gd name="T71" fmla="*/ 0 h 833"/>
                <a:gd name="T72" fmla="*/ 0 w 929"/>
                <a:gd name="T73" fmla="*/ 0 h 833"/>
                <a:gd name="T74" fmla="*/ 0 w 929"/>
                <a:gd name="T75" fmla="*/ 0 h 833"/>
                <a:gd name="T76" fmla="*/ 0 w 929"/>
                <a:gd name="T77" fmla="*/ 0 h 833"/>
                <a:gd name="T78" fmla="*/ 0 w 929"/>
                <a:gd name="T79" fmla="*/ 0 h 833"/>
                <a:gd name="T80" fmla="*/ 0 w 929"/>
                <a:gd name="T81" fmla="*/ 0 h 833"/>
                <a:gd name="T82" fmla="*/ 0 w 929"/>
                <a:gd name="T83" fmla="*/ 0 h 833"/>
                <a:gd name="T84" fmla="*/ 0 w 929"/>
                <a:gd name="T85" fmla="*/ 0 h 833"/>
                <a:gd name="T86" fmla="*/ 0 w 929"/>
                <a:gd name="T87" fmla="*/ 0 h 833"/>
                <a:gd name="T88" fmla="*/ 0 w 929"/>
                <a:gd name="T89" fmla="*/ 0 h 833"/>
                <a:gd name="T90" fmla="*/ 0 w 929"/>
                <a:gd name="T91" fmla="*/ 0 h 833"/>
                <a:gd name="T92" fmla="*/ 0 w 929"/>
                <a:gd name="T93" fmla="*/ 0 h 833"/>
                <a:gd name="T94" fmla="*/ 0 w 929"/>
                <a:gd name="T95" fmla="*/ 0 h 833"/>
                <a:gd name="T96" fmla="*/ 0 w 929"/>
                <a:gd name="T97" fmla="*/ 0 h 833"/>
                <a:gd name="T98" fmla="*/ 0 w 929"/>
                <a:gd name="T99" fmla="*/ 0 h 833"/>
                <a:gd name="T100" fmla="*/ 0 w 929"/>
                <a:gd name="T101" fmla="*/ 0 h 833"/>
                <a:gd name="T102" fmla="*/ 0 w 929"/>
                <a:gd name="T103" fmla="*/ 0 h 833"/>
                <a:gd name="T104" fmla="*/ 0 w 929"/>
                <a:gd name="T105" fmla="*/ 0 h 833"/>
                <a:gd name="T106" fmla="*/ 0 w 929"/>
                <a:gd name="T107" fmla="*/ 0 h 833"/>
                <a:gd name="T108" fmla="*/ 0 w 929"/>
                <a:gd name="T109" fmla="*/ 0 h 833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929"/>
                <a:gd name="T166" fmla="*/ 0 h 833"/>
                <a:gd name="T167" fmla="*/ 929 w 929"/>
                <a:gd name="T168" fmla="*/ 833 h 833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929" h="833">
                  <a:moveTo>
                    <a:pt x="642" y="716"/>
                  </a:moveTo>
                  <a:lnTo>
                    <a:pt x="639" y="722"/>
                  </a:lnTo>
                  <a:lnTo>
                    <a:pt x="639" y="600"/>
                  </a:lnTo>
                  <a:lnTo>
                    <a:pt x="639" y="518"/>
                  </a:lnTo>
                  <a:cubicBezTo>
                    <a:pt x="639" y="514"/>
                    <a:pt x="642" y="511"/>
                    <a:pt x="646" y="511"/>
                  </a:cubicBezTo>
                  <a:lnTo>
                    <a:pt x="784" y="490"/>
                  </a:lnTo>
                  <a:lnTo>
                    <a:pt x="777" y="498"/>
                  </a:lnTo>
                  <a:lnTo>
                    <a:pt x="777" y="437"/>
                  </a:lnTo>
                  <a:cubicBezTo>
                    <a:pt x="777" y="433"/>
                    <a:pt x="779" y="430"/>
                    <a:pt x="783" y="429"/>
                  </a:cubicBezTo>
                  <a:lnTo>
                    <a:pt x="850" y="409"/>
                  </a:lnTo>
                  <a:lnTo>
                    <a:pt x="845" y="414"/>
                  </a:lnTo>
                  <a:lnTo>
                    <a:pt x="869" y="333"/>
                  </a:lnTo>
                  <a:lnTo>
                    <a:pt x="872" y="341"/>
                  </a:lnTo>
                  <a:lnTo>
                    <a:pt x="802" y="280"/>
                  </a:lnTo>
                  <a:cubicBezTo>
                    <a:pt x="799" y="278"/>
                    <a:pt x="798" y="275"/>
                    <a:pt x="799" y="272"/>
                  </a:cubicBezTo>
                  <a:cubicBezTo>
                    <a:pt x="800" y="269"/>
                    <a:pt x="802" y="267"/>
                    <a:pt x="805" y="266"/>
                  </a:cubicBezTo>
                  <a:lnTo>
                    <a:pt x="875" y="246"/>
                  </a:lnTo>
                  <a:lnTo>
                    <a:pt x="870" y="250"/>
                  </a:lnTo>
                  <a:lnTo>
                    <a:pt x="913" y="148"/>
                  </a:lnTo>
                  <a:lnTo>
                    <a:pt x="913" y="153"/>
                  </a:lnTo>
                  <a:lnTo>
                    <a:pt x="891" y="51"/>
                  </a:lnTo>
                  <a:lnTo>
                    <a:pt x="899" y="57"/>
                  </a:lnTo>
                  <a:lnTo>
                    <a:pt x="877" y="57"/>
                  </a:lnTo>
                  <a:cubicBezTo>
                    <a:pt x="875" y="57"/>
                    <a:pt x="873" y="57"/>
                    <a:pt x="872" y="55"/>
                  </a:cubicBezTo>
                  <a:lnTo>
                    <a:pt x="826" y="14"/>
                  </a:lnTo>
                  <a:lnTo>
                    <a:pt x="831" y="16"/>
                  </a:lnTo>
                  <a:lnTo>
                    <a:pt x="761" y="16"/>
                  </a:lnTo>
                  <a:lnTo>
                    <a:pt x="763" y="16"/>
                  </a:lnTo>
                  <a:lnTo>
                    <a:pt x="603" y="57"/>
                  </a:lnTo>
                  <a:lnTo>
                    <a:pt x="605" y="57"/>
                  </a:lnTo>
                  <a:lnTo>
                    <a:pt x="561" y="77"/>
                  </a:lnTo>
                  <a:lnTo>
                    <a:pt x="565" y="73"/>
                  </a:lnTo>
                  <a:lnTo>
                    <a:pt x="541" y="134"/>
                  </a:lnTo>
                  <a:lnTo>
                    <a:pt x="541" y="128"/>
                  </a:lnTo>
                  <a:lnTo>
                    <a:pt x="565" y="189"/>
                  </a:lnTo>
                  <a:lnTo>
                    <a:pt x="564" y="187"/>
                  </a:lnTo>
                  <a:lnTo>
                    <a:pt x="608" y="249"/>
                  </a:lnTo>
                  <a:lnTo>
                    <a:pt x="632" y="290"/>
                  </a:lnTo>
                  <a:cubicBezTo>
                    <a:pt x="634" y="293"/>
                    <a:pt x="634" y="298"/>
                    <a:pt x="631" y="300"/>
                  </a:cubicBezTo>
                  <a:lnTo>
                    <a:pt x="585" y="341"/>
                  </a:lnTo>
                  <a:cubicBezTo>
                    <a:pt x="584" y="342"/>
                    <a:pt x="583" y="342"/>
                    <a:pt x="582" y="343"/>
                  </a:cubicBezTo>
                  <a:lnTo>
                    <a:pt x="514" y="363"/>
                  </a:lnTo>
                  <a:cubicBezTo>
                    <a:pt x="512" y="364"/>
                    <a:pt x="510" y="363"/>
                    <a:pt x="508" y="362"/>
                  </a:cubicBezTo>
                  <a:lnTo>
                    <a:pt x="437" y="321"/>
                  </a:lnTo>
                  <a:cubicBezTo>
                    <a:pt x="434" y="320"/>
                    <a:pt x="433" y="316"/>
                    <a:pt x="434" y="313"/>
                  </a:cubicBezTo>
                  <a:lnTo>
                    <a:pt x="458" y="191"/>
                  </a:lnTo>
                  <a:lnTo>
                    <a:pt x="459" y="196"/>
                  </a:lnTo>
                  <a:lnTo>
                    <a:pt x="435" y="155"/>
                  </a:lnTo>
                  <a:cubicBezTo>
                    <a:pt x="434" y="155"/>
                    <a:pt x="434" y="154"/>
                    <a:pt x="434" y="154"/>
                  </a:cubicBezTo>
                  <a:lnTo>
                    <a:pt x="412" y="93"/>
                  </a:lnTo>
                  <a:lnTo>
                    <a:pt x="427" y="93"/>
                  </a:lnTo>
                  <a:lnTo>
                    <a:pt x="313" y="338"/>
                  </a:lnTo>
                  <a:cubicBezTo>
                    <a:pt x="313" y="339"/>
                    <a:pt x="313" y="340"/>
                    <a:pt x="312" y="340"/>
                  </a:cubicBezTo>
                  <a:lnTo>
                    <a:pt x="220" y="442"/>
                  </a:lnTo>
                  <a:lnTo>
                    <a:pt x="222" y="438"/>
                  </a:lnTo>
                  <a:lnTo>
                    <a:pt x="200" y="561"/>
                  </a:lnTo>
                  <a:cubicBezTo>
                    <a:pt x="200" y="564"/>
                    <a:pt x="196" y="567"/>
                    <a:pt x="192" y="567"/>
                  </a:cubicBezTo>
                  <a:lnTo>
                    <a:pt x="122" y="567"/>
                  </a:lnTo>
                  <a:lnTo>
                    <a:pt x="100" y="567"/>
                  </a:lnTo>
                  <a:lnTo>
                    <a:pt x="108" y="563"/>
                  </a:lnTo>
                  <a:lnTo>
                    <a:pt x="86" y="604"/>
                  </a:lnTo>
                  <a:cubicBezTo>
                    <a:pt x="85" y="606"/>
                    <a:pt x="83" y="607"/>
                    <a:pt x="81" y="608"/>
                  </a:cubicBezTo>
                  <a:lnTo>
                    <a:pt x="11" y="628"/>
                  </a:lnTo>
                  <a:lnTo>
                    <a:pt x="12" y="614"/>
                  </a:lnTo>
                  <a:lnTo>
                    <a:pt x="83" y="654"/>
                  </a:lnTo>
                  <a:lnTo>
                    <a:pt x="81" y="653"/>
                  </a:lnTo>
                  <a:lnTo>
                    <a:pt x="170" y="674"/>
                  </a:lnTo>
                  <a:lnTo>
                    <a:pt x="165" y="674"/>
                  </a:lnTo>
                  <a:lnTo>
                    <a:pt x="257" y="634"/>
                  </a:lnTo>
                  <a:cubicBezTo>
                    <a:pt x="258" y="633"/>
                    <a:pt x="260" y="633"/>
                    <a:pt x="261" y="633"/>
                  </a:cubicBezTo>
                  <a:lnTo>
                    <a:pt x="399" y="653"/>
                  </a:lnTo>
                  <a:lnTo>
                    <a:pt x="513" y="674"/>
                  </a:lnTo>
                  <a:cubicBezTo>
                    <a:pt x="515" y="674"/>
                    <a:pt x="517" y="675"/>
                    <a:pt x="518" y="677"/>
                  </a:cubicBezTo>
                  <a:lnTo>
                    <a:pt x="564" y="738"/>
                  </a:lnTo>
                  <a:cubicBezTo>
                    <a:pt x="566" y="740"/>
                    <a:pt x="566" y="743"/>
                    <a:pt x="565" y="746"/>
                  </a:cubicBezTo>
                  <a:lnTo>
                    <a:pt x="541" y="807"/>
                  </a:lnTo>
                  <a:lnTo>
                    <a:pt x="536" y="796"/>
                  </a:lnTo>
                  <a:lnTo>
                    <a:pt x="603" y="817"/>
                  </a:lnTo>
                  <a:lnTo>
                    <a:pt x="593" y="824"/>
                  </a:lnTo>
                  <a:lnTo>
                    <a:pt x="593" y="763"/>
                  </a:lnTo>
                  <a:cubicBezTo>
                    <a:pt x="593" y="761"/>
                    <a:pt x="594" y="759"/>
                    <a:pt x="596" y="757"/>
                  </a:cubicBezTo>
                  <a:lnTo>
                    <a:pt x="642" y="716"/>
                  </a:lnTo>
                  <a:close/>
                  <a:moveTo>
                    <a:pt x="606" y="769"/>
                  </a:moveTo>
                  <a:lnTo>
                    <a:pt x="609" y="763"/>
                  </a:lnTo>
                  <a:lnTo>
                    <a:pt x="609" y="824"/>
                  </a:lnTo>
                  <a:cubicBezTo>
                    <a:pt x="609" y="827"/>
                    <a:pt x="608" y="829"/>
                    <a:pt x="606" y="831"/>
                  </a:cubicBezTo>
                  <a:cubicBezTo>
                    <a:pt x="604" y="832"/>
                    <a:pt x="601" y="833"/>
                    <a:pt x="599" y="832"/>
                  </a:cubicBezTo>
                  <a:lnTo>
                    <a:pt x="531" y="812"/>
                  </a:lnTo>
                  <a:cubicBezTo>
                    <a:pt x="529" y="811"/>
                    <a:pt x="527" y="810"/>
                    <a:pt x="526" y="808"/>
                  </a:cubicBezTo>
                  <a:cubicBezTo>
                    <a:pt x="525" y="806"/>
                    <a:pt x="525" y="803"/>
                    <a:pt x="526" y="801"/>
                  </a:cubicBezTo>
                  <a:lnTo>
                    <a:pt x="550" y="740"/>
                  </a:lnTo>
                  <a:lnTo>
                    <a:pt x="551" y="748"/>
                  </a:lnTo>
                  <a:lnTo>
                    <a:pt x="505" y="686"/>
                  </a:lnTo>
                  <a:lnTo>
                    <a:pt x="510" y="690"/>
                  </a:lnTo>
                  <a:lnTo>
                    <a:pt x="397" y="669"/>
                  </a:lnTo>
                  <a:lnTo>
                    <a:pt x="259" y="649"/>
                  </a:lnTo>
                  <a:lnTo>
                    <a:pt x="263" y="648"/>
                  </a:lnTo>
                  <a:lnTo>
                    <a:pt x="171" y="689"/>
                  </a:lnTo>
                  <a:cubicBezTo>
                    <a:pt x="170" y="690"/>
                    <a:pt x="168" y="690"/>
                    <a:pt x="166" y="689"/>
                  </a:cubicBezTo>
                  <a:lnTo>
                    <a:pt x="77" y="669"/>
                  </a:lnTo>
                  <a:cubicBezTo>
                    <a:pt x="76" y="669"/>
                    <a:pt x="76" y="669"/>
                    <a:pt x="75" y="668"/>
                  </a:cubicBezTo>
                  <a:lnTo>
                    <a:pt x="4" y="627"/>
                  </a:lnTo>
                  <a:cubicBezTo>
                    <a:pt x="2" y="626"/>
                    <a:pt x="0" y="623"/>
                    <a:pt x="1" y="619"/>
                  </a:cubicBezTo>
                  <a:cubicBezTo>
                    <a:pt x="1" y="616"/>
                    <a:pt x="3" y="614"/>
                    <a:pt x="6" y="613"/>
                  </a:cubicBezTo>
                  <a:lnTo>
                    <a:pt x="77" y="592"/>
                  </a:lnTo>
                  <a:lnTo>
                    <a:pt x="72" y="596"/>
                  </a:lnTo>
                  <a:lnTo>
                    <a:pt x="93" y="556"/>
                  </a:lnTo>
                  <a:cubicBezTo>
                    <a:pt x="95" y="553"/>
                    <a:pt x="98" y="551"/>
                    <a:pt x="100" y="551"/>
                  </a:cubicBezTo>
                  <a:lnTo>
                    <a:pt x="122" y="551"/>
                  </a:lnTo>
                  <a:lnTo>
                    <a:pt x="192" y="551"/>
                  </a:lnTo>
                  <a:lnTo>
                    <a:pt x="185" y="558"/>
                  </a:lnTo>
                  <a:lnTo>
                    <a:pt x="206" y="435"/>
                  </a:lnTo>
                  <a:cubicBezTo>
                    <a:pt x="207" y="434"/>
                    <a:pt x="207" y="433"/>
                    <a:pt x="208" y="432"/>
                  </a:cubicBezTo>
                  <a:lnTo>
                    <a:pt x="300" y="330"/>
                  </a:lnTo>
                  <a:lnTo>
                    <a:pt x="299" y="331"/>
                  </a:lnTo>
                  <a:lnTo>
                    <a:pt x="413" y="87"/>
                  </a:lnTo>
                  <a:cubicBezTo>
                    <a:pt x="414" y="84"/>
                    <a:pt x="417" y="82"/>
                    <a:pt x="420" y="82"/>
                  </a:cubicBezTo>
                  <a:cubicBezTo>
                    <a:pt x="423" y="82"/>
                    <a:pt x="426" y="84"/>
                    <a:pt x="427" y="87"/>
                  </a:cubicBezTo>
                  <a:lnTo>
                    <a:pt x="449" y="149"/>
                  </a:lnTo>
                  <a:lnTo>
                    <a:pt x="448" y="147"/>
                  </a:lnTo>
                  <a:lnTo>
                    <a:pt x="473" y="188"/>
                  </a:lnTo>
                  <a:cubicBezTo>
                    <a:pt x="474" y="190"/>
                    <a:pt x="474" y="192"/>
                    <a:pt x="474" y="194"/>
                  </a:cubicBezTo>
                  <a:lnTo>
                    <a:pt x="449" y="316"/>
                  </a:lnTo>
                  <a:lnTo>
                    <a:pt x="445" y="308"/>
                  </a:lnTo>
                  <a:lnTo>
                    <a:pt x="516" y="348"/>
                  </a:lnTo>
                  <a:lnTo>
                    <a:pt x="510" y="348"/>
                  </a:lnTo>
                  <a:lnTo>
                    <a:pt x="577" y="327"/>
                  </a:lnTo>
                  <a:lnTo>
                    <a:pt x="574" y="329"/>
                  </a:lnTo>
                  <a:lnTo>
                    <a:pt x="620" y="288"/>
                  </a:lnTo>
                  <a:lnTo>
                    <a:pt x="619" y="298"/>
                  </a:lnTo>
                  <a:lnTo>
                    <a:pt x="595" y="258"/>
                  </a:lnTo>
                  <a:lnTo>
                    <a:pt x="551" y="197"/>
                  </a:lnTo>
                  <a:cubicBezTo>
                    <a:pt x="551" y="196"/>
                    <a:pt x="551" y="196"/>
                    <a:pt x="550" y="195"/>
                  </a:cubicBezTo>
                  <a:lnTo>
                    <a:pt x="526" y="134"/>
                  </a:lnTo>
                  <a:cubicBezTo>
                    <a:pt x="525" y="132"/>
                    <a:pt x="525" y="130"/>
                    <a:pt x="526" y="128"/>
                  </a:cubicBezTo>
                  <a:lnTo>
                    <a:pt x="550" y="67"/>
                  </a:lnTo>
                  <a:cubicBezTo>
                    <a:pt x="551" y="65"/>
                    <a:pt x="553" y="63"/>
                    <a:pt x="554" y="62"/>
                  </a:cubicBezTo>
                  <a:lnTo>
                    <a:pt x="598" y="42"/>
                  </a:lnTo>
                  <a:cubicBezTo>
                    <a:pt x="598" y="42"/>
                    <a:pt x="599" y="42"/>
                    <a:pt x="599" y="42"/>
                  </a:cubicBezTo>
                  <a:lnTo>
                    <a:pt x="759" y="1"/>
                  </a:lnTo>
                  <a:cubicBezTo>
                    <a:pt x="759" y="1"/>
                    <a:pt x="760" y="0"/>
                    <a:pt x="761" y="0"/>
                  </a:cubicBezTo>
                  <a:lnTo>
                    <a:pt x="831" y="0"/>
                  </a:lnTo>
                  <a:cubicBezTo>
                    <a:pt x="833" y="0"/>
                    <a:pt x="835" y="1"/>
                    <a:pt x="836" y="2"/>
                  </a:cubicBezTo>
                  <a:lnTo>
                    <a:pt x="882" y="43"/>
                  </a:lnTo>
                  <a:lnTo>
                    <a:pt x="877" y="41"/>
                  </a:lnTo>
                  <a:lnTo>
                    <a:pt x="899" y="41"/>
                  </a:lnTo>
                  <a:cubicBezTo>
                    <a:pt x="903" y="41"/>
                    <a:pt x="906" y="44"/>
                    <a:pt x="907" y="48"/>
                  </a:cubicBezTo>
                  <a:lnTo>
                    <a:pt x="928" y="150"/>
                  </a:lnTo>
                  <a:cubicBezTo>
                    <a:pt x="929" y="151"/>
                    <a:pt x="928" y="153"/>
                    <a:pt x="928" y="154"/>
                  </a:cubicBezTo>
                  <a:lnTo>
                    <a:pt x="885" y="256"/>
                  </a:lnTo>
                  <a:cubicBezTo>
                    <a:pt x="884" y="259"/>
                    <a:pt x="882" y="260"/>
                    <a:pt x="879" y="261"/>
                  </a:cubicBezTo>
                  <a:lnTo>
                    <a:pt x="809" y="281"/>
                  </a:lnTo>
                  <a:lnTo>
                    <a:pt x="812" y="268"/>
                  </a:lnTo>
                  <a:lnTo>
                    <a:pt x="882" y="329"/>
                  </a:lnTo>
                  <a:cubicBezTo>
                    <a:pt x="885" y="331"/>
                    <a:pt x="886" y="334"/>
                    <a:pt x="885" y="337"/>
                  </a:cubicBezTo>
                  <a:lnTo>
                    <a:pt x="860" y="419"/>
                  </a:lnTo>
                  <a:cubicBezTo>
                    <a:pt x="860" y="421"/>
                    <a:pt x="858" y="423"/>
                    <a:pt x="855" y="424"/>
                  </a:cubicBezTo>
                  <a:lnTo>
                    <a:pt x="787" y="445"/>
                  </a:lnTo>
                  <a:lnTo>
                    <a:pt x="793" y="437"/>
                  </a:lnTo>
                  <a:lnTo>
                    <a:pt x="793" y="498"/>
                  </a:lnTo>
                  <a:cubicBezTo>
                    <a:pt x="793" y="502"/>
                    <a:pt x="790" y="505"/>
                    <a:pt x="786" y="506"/>
                  </a:cubicBezTo>
                  <a:lnTo>
                    <a:pt x="648" y="526"/>
                  </a:lnTo>
                  <a:lnTo>
                    <a:pt x="655" y="518"/>
                  </a:lnTo>
                  <a:lnTo>
                    <a:pt x="655" y="600"/>
                  </a:lnTo>
                  <a:lnTo>
                    <a:pt x="655" y="722"/>
                  </a:lnTo>
                  <a:cubicBezTo>
                    <a:pt x="655" y="725"/>
                    <a:pt x="654" y="727"/>
                    <a:pt x="652" y="728"/>
                  </a:cubicBezTo>
                  <a:lnTo>
                    <a:pt x="606" y="769"/>
                  </a:lnTo>
                  <a:close/>
                </a:path>
              </a:pathLst>
            </a:custGeom>
            <a:solidFill>
              <a:srgbClr val="000000"/>
            </a:solidFill>
            <a:ln w="0" cap="flat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267" name="Rectangle 234"/>
            <p:cNvSpPr>
              <a:spLocks noChangeArrowheads="1"/>
            </p:cNvSpPr>
            <p:nvPr/>
          </p:nvSpPr>
          <p:spPr bwMode="auto">
            <a:xfrm>
              <a:off x="3345" y="2039"/>
              <a:ext cx="53" cy="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sz="500" b="1">
                  <a:solidFill>
                    <a:srgbClr val="000000"/>
                  </a:solidFill>
                </a:rPr>
                <a:t>NL</a:t>
              </a:r>
              <a:endParaRPr lang="de-DE"/>
            </a:p>
          </p:txBody>
        </p:sp>
        <p:sp>
          <p:nvSpPr>
            <p:cNvPr id="7268" name="Freeform 235"/>
            <p:cNvSpPr>
              <a:spLocks/>
            </p:cNvSpPr>
            <p:nvPr/>
          </p:nvSpPr>
          <p:spPr bwMode="auto">
            <a:xfrm>
              <a:off x="3613" y="1806"/>
              <a:ext cx="46" cy="38"/>
            </a:xfrm>
            <a:custGeom>
              <a:avLst/>
              <a:gdLst>
                <a:gd name="T0" fmla="*/ 0 w 44"/>
                <a:gd name="T1" fmla="*/ 25 h 36"/>
                <a:gd name="T2" fmla="*/ 23 w 44"/>
                <a:gd name="T3" fmla="*/ 60 h 36"/>
                <a:gd name="T4" fmla="*/ 59 w 44"/>
                <a:gd name="T5" fmla="*/ 68 h 36"/>
                <a:gd name="T6" fmla="*/ 74 w 44"/>
                <a:gd name="T7" fmla="*/ 54 h 36"/>
                <a:gd name="T8" fmla="*/ 67 w 44"/>
                <a:gd name="T9" fmla="*/ 0 h 36"/>
                <a:gd name="T10" fmla="*/ 0 w 44"/>
                <a:gd name="T11" fmla="*/ 4 h 36"/>
                <a:gd name="T12" fmla="*/ 0 w 44"/>
                <a:gd name="T13" fmla="*/ 25 h 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4"/>
                <a:gd name="T22" fmla="*/ 0 h 36"/>
                <a:gd name="T23" fmla="*/ 44 w 44"/>
                <a:gd name="T24" fmla="*/ 36 h 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4" h="36">
                  <a:moveTo>
                    <a:pt x="0" y="13"/>
                  </a:moveTo>
                  <a:lnTo>
                    <a:pt x="11" y="31"/>
                  </a:lnTo>
                  <a:lnTo>
                    <a:pt x="34" y="36"/>
                  </a:lnTo>
                  <a:lnTo>
                    <a:pt x="44" y="27"/>
                  </a:lnTo>
                  <a:lnTo>
                    <a:pt x="39" y="0"/>
                  </a:lnTo>
                  <a:lnTo>
                    <a:pt x="0" y="4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cs-CZ"/>
            </a:p>
          </p:txBody>
        </p:sp>
        <p:sp>
          <p:nvSpPr>
            <p:cNvPr id="7269" name="Freeform 236"/>
            <p:cNvSpPr>
              <a:spLocks/>
            </p:cNvSpPr>
            <p:nvPr/>
          </p:nvSpPr>
          <p:spPr bwMode="auto">
            <a:xfrm>
              <a:off x="3612" y="1804"/>
              <a:ext cx="49" cy="42"/>
            </a:xfrm>
            <a:custGeom>
              <a:avLst/>
              <a:gdLst>
                <a:gd name="T0" fmla="*/ 0 w 207"/>
                <a:gd name="T1" fmla="*/ 0 h 177"/>
                <a:gd name="T2" fmla="*/ 0 w 207"/>
                <a:gd name="T3" fmla="*/ 0 h 177"/>
                <a:gd name="T4" fmla="*/ 0 w 207"/>
                <a:gd name="T5" fmla="*/ 0 h 177"/>
                <a:gd name="T6" fmla="*/ 0 w 207"/>
                <a:gd name="T7" fmla="*/ 0 h 177"/>
                <a:gd name="T8" fmla="*/ 0 w 207"/>
                <a:gd name="T9" fmla="*/ 0 h 177"/>
                <a:gd name="T10" fmla="*/ 0 w 207"/>
                <a:gd name="T11" fmla="*/ 0 h 177"/>
                <a:gd name="T12" fmla="*/ 0 w 207"/>
                <a:gd name="T13" fmla="*/ 0 h 177"/>
                <a:gd name="T14" fmla="*/ 0 w 207"/>
                <a:gd name="T15" fmla="*/ 0 h 177"/>
                <a:gd name="T16" fmla="*/ 0 w 207"/>
                <a:gd name="T17" fmla="*/ 0 h 177"/>
                <a:gd name="T18" fmla="*/ 0 w 207"/>
                <a:gd name="T19" fmla="*/ 0 h 177"/>
                <a:gd name="T20" fmla="*/ 0 w 207"/>
                <a:gd name="T21" fmla="*/ 0 h 177"/>
                <a:gd name="T22" fmla="*/ 0 w 207"/>
                <a:gd name="T23" fmla="*/ 0 h 177"/>
                <a:gd name="T24" fmla="*/ 0 w 207"/>
                <a:gd name="T25" fmla="*/ 0 h 177"/>
                <a:gd name="T26" fmla="*/ 0 w 207"/>
                <a:gd name="T27" fmla="*/ 0 h 177"/>
                <a:gd name="T28" fmla="*/ 0 w 207"/>
                <a:gd name="T29" fmla="*/ 0 h 177"/>
                <a:gd name="T30" fmla="*/ 0 w 207"/>
                <a:gd name="T31" fmla="*/ 0 h 177"/>
                <a:gd name="T32" fmla="*/ 0 w 207"/>
                <a:gd name="T33" fmla="*/ 0 h 177"/>
                <a:gd name="T34" fmla="*/ 0 w 207"/>
                <a:gd name="T35" fmla="*/ 0 h 177"/>
                <a:gd name="T36" fmla="*/ 0 w 207"/>
                <a:gd name="T37" fmla="*/ 0 h 177"/>
                <a:gd name="T38" fmla="*/ 0 w 207"/>
                <a:gd name="T39" fmla="*/ 0 h 177"/>
                <a:gd name="T40" fmla="*/ 0 w 207"/>
                <a:gd name="T41" fmla="*/ 0 h 177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207"/>
                <a:gd name="T64" fmla="*/ 0 h 177"/>
                <a:gd name="T65" fmla="*/ 207 w 207"/>
                <a:gd name="T66" fmla="*/ 177 h 177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207" h="177">
                  <a:moveTo>
                    <a:pt x="13" y="64"/>
                  </a:moveTo>
                  <a:lnTo>
                    <a:pt x="62" y="144"/>
                  </a:lnTo>
                  <a:lnTo>
                    <a:pt x="57" y="141"/>
                  </a:lnTo>
                  <a:lnTo>
                    <a:pt x="154" y="161"/>
                  </a:lnTo>
                  <a:lnTo>
                    <a:pt x="147" y="162"/>
                  </a:lnTo>
                  <a:lnTo>
                    <a:pt x="193" y="122"/>
                  </a:lnTo>
                  <a:lnTo>
                    <a:pt x="191" y="130"/>
                  </a:lnTo>
                  <a:lnTo>
                    <a:pt x="168" y="10"/>
                  </a:lnTo>
                  <a:lnTo>
                    <a:pt x="176" y="16"/>
                  </a:lnTo>
                  <a:lnTo>
                    <a:pt x="7" y="36"/>
                  </a:lnTo>
                  <a:lnTo>
                    <a:pt x="6" y="21"/>
                  </a:lnTo>
                  <a:lnTo>
                    <a:pt x="175" y="1"/>
                  </a:lnTo>
                  <a:cubicBezTo>
                    <a:pt x="179" y="0"/>
                    <a:pt x="183" y="3"/>
                    <a:pt x="183" y="7"/>
                  </a:cubicBezTo>
                  <a:lnTo>
                    <a:pt x="206" y="127"/>
                  </a:lnTo>
                  <a:cubicBezTo>
                    <a:pt x="207" y="130"/>
                    <a:pt x="206" y="133"/>
                    <a:pt x="204" y="135"/>
                  </a:cubicBezTo>
                  <a:lnTo>
                    <a:pt x="158" y="175"/>
                  </a:lnTo>
                  <a:cubicBezTo>
                    <a:pt x="156" y="176"/>
                    <a:pt x="153" y="177"/>
                    <a:pt x="151" y="176"/>
                  </a:cubicBezTo>
                  <a:lnTo>
                    <a:pt x="54" y="156"/>
                  </a:lnTo>
                  <a:cubicBezTo>
                    <a:pt x="51" y="156"/>
                    <a:pt x="49" y="155"/>
                    <a:pt x="48" y="153"/>
                  </a:cubicBezTo>
                  <a:lnTo>
                    <a:pt x="0" y="73"/>
                  </a:lnTo>
                  <a:lnTo>
                    <a:pt x="13" y="64"/>
                  </a:lnTo>
                  <a:close/>
                </a:path>
              </a:pathLst>
            </a:custGeom>
            <a:solidFill>
              <a:srgbClr val="000000"/>
            </a:solidFill>
            <a:ln w="0" cap="flat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270" name="Freeform 237"/>
            <p:cNvSpPr>
              <a:spLocks noEditPoints="1"/>
            </p:cNvSpPr>
            <p:nvPr/>
          </p:nvSpPr>
          <p:spPr bwMode="auto">
            <a:xfrm>
              <a:off x="3673" y="1765"/>
              <a:ext cx="77" cy="111"/>
            </a:xfrm>
            <a:custGeom>
              <a:avLst/>
              <a:gdLst>
                <a:gd name="T0" fmla="*/ 0 w 321"/>
                <a:gd name="T1" fmla="*/ 0 h 465"/>
                <a:gd name="T2" fmla="*/ 0 w 321"/>
                <a:gd name="T3" fmla="*/ 0 h 465"/>
                <a:gd name="T4" fmla="*/ 0 w 321"/>
                <a:gd name="T5" fmla="*/ 0 h 465"/>
                <a:gd name="T6" fmla="*/ 0 w 321"/>
                <a:gd name="T7" fmla="*/ 0 h 465"/>
                <a:gd name="T8" fmla="*/ 0 w 321"/>
                <a:gd name="T9" fmla="*/ 0 h 465"/>
                <a:gd name="T10" fmla="*/ 0 w 321"/>
                <a:gd name="T11" fmla="*/ 0 h 465"/>
                <a:gd name="T12" fmla="*/ 0 w 321"/>
                <a:gd name="T13" fmla="*/ 0 h 465"/>
                <a:gd name="T14" fmla="*/ 0 w 321"/>
                <a:gd name="T15" fmla="*/ 0 h 465"/>
                <a:gd name="T16" fmla="*/ 0 w 321"/>
                <a:gd name="T17" fmla="*/ 0 h 465"/>
                <a:gd name="T18" fmla="*/ 0 w 321"/>
                <a:gd name="T19" fmla="*/ 0 h 465"/>
                <a:gd name="T20" fmla="*/ 0 w 321"/>
                <a:gd name="T21" fmla="*/ 0 h 465"/>
                <a:gd name="T22" fmla="*/ 0 w 321"/>
                <a:gd name="T23" fmla="*/ 0 h 465"/>
                <a:gd name="T24" fmla="*/ 0 w 321"/>
                <a:gd name="T25" fmla="*/ 0 h 465"/>
                <a:gd name="T26" fmla="*/ 0 w 321"/>
                <a:gd name="T27" fmla="*/ 0 h 465"/>
                <a:gd name="T28" fmla="*/ 0 w 321"/>
                <a:gd name="T29" fmla="*/ 0 h 465"/>
                <a:gd name="T30" fmla="*/ 0 w 321"/>
                <a:gd name="T31" fmla="*/ 0 h 465"/>
                <a:gd name="T32" fmla="*/ 0 w 321"/>
                <a:gd name="T33" fmla="*/ 0 h 465"/>
                <a:gd name="T34" fmla="*/ 0 w 321"/>
                <a:gd name="T35" fmla="*/ 0 h 465"/>
                <a:gd name="T36" fmla="*/ 0 w 321"/>
                <a:gd name="T37" fmla="*/ 0 h 465"/>
                <a:gd name="T38" fmla="*/ 0 w 321"/>
                <a:gd name="T39" fmla="*/ 0 h 465"/>
                <a:gd name="T40" fmla="*/ 0 w 321"/>
                <a:gd name="T41" fmla="*/ 0 h 465"/>
                <a:gd name="T42" fmla="*/ 0 w 321"/>
                <a:gd name="T43" fmla="*/ 0 h 465"/>
                <a:gd name="T44" fmla="*/ 0 w 321"/>
                <a:gd name="T45" fmla="*/ 0 h 465"/>
                <a:gd name="T46" fmla="*/ 0 w 321"/>
                <a:gd name="T47" fmla="*/ 0 h 465"/>
                <a:gd name="T48" fmla="*/ 0 w 321"/>
                <a:gd name="T49" fmla="*/ 0 h 465"/>
                <a:gd name="T50" fmla="*/ 0 w 321"/>
                <a:gd name="T51" fmla="*/ 0 h 465"/>
                <a:gd name="T52" fmla="*/ 0 w 321"/>
                <a:gd name="T53" fmla="*/ 0 h 465"/>
                <a:gd name="T54" fmla="*/ 0 w 321"/>
                <a:gd name="T55" fmla="*/ 0 h 465"/>
                <a:gd name="T56" fmla="*/ 0 w 321"/>
                <a:gd name="T57" fmla="*/ 0 h 465"/>
                <a:gd name="T58" fmla="*/ 0 w 321"/>
                <a:gd name="T59" fmla="*/ 0 h 465"/>
                <a:gd name="T60" fmla="*/ 0 w 321"/>
                <a:gd name="T61" fmla="*/ 0 h 465"/>
                <a:gd name="T62" fmla="*/ 0 w 321"/>
                <a:gd name="T63" fmla="*/ 0 h 465"/>
                <a:gd name="T64" fmla="*/ 0 w 321"/>
                <a:gd name="T65" fmla="*/ 0 h 465"/>
                <a:gd name="T66" fmla="*/ 0 w 321"/>
                <a:gd name="T67" fmla="*/ 0 h 465"/>
                <a:gd name="T68" fmla="*/ 0 w 321"/>
                <a:gd name="T69" fmla="*/ 0 h 465"/>
                <a:gd name="T70" fmla="*/ 0 w 321"/>
                <a:gd name="T71" fmla="*/ 0 h 465"/>
                <a:gd name="T72" fmla="*/ 0 w 321"/>
                <a:gd name="T73" fmla="*/ 0 h 465"/>
                <a:gd name="T74" fmla="*/ 0 w 321"/>
                <a:gd name="T75" fmla="*/ 0 h 465"/>
                <a:gd name="T76" fmla="*/ 0 w 321"/>
                <a:gd name="T77" fmla="*/ 0 h 465"/>
                <a:gd name="T78" fmla="*/ 0 w 321"/>
                <a:gd name="T79" fmla="*/ 0 h 465"/>
                <a:gd name="T80" fmla="*/ 0 w 321"/>
                <a:gd name="T81" fmla="*/ 0 h 465"/>
                <a:gd name="T82" fmla="*/ 0 w 321"/>
                <a:gd name="T83" fmla="*/ 0 h 465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321"/>
                <a:gd name="T127" fmla="*/ 0 h 465"/>
                <a:gd name="T128" fmla="*/ 321 w 321"/>
                <a:gd name="T129" fmla="*/ 465 h 465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321" h="465">
                  <a:moveTo>
                    <a:pt x="16" y="438"/>
                  </a:moveTo>
                  <a:lnTo>
                    <a:pt x="10" y="428"/>
                  </a:lnTo>
                  <a:lnTo>
                    <a:pt x="149" y="449"/>
                  </a:lnTo>
                  <a:lnTo>
                    <a:pt x="142" y="451"/>
                  </a:lnTo>
                  <a:lnTo>
                    <a:pt x="214" y="370"/>
                  </a:lnTo>
                  <a:lnTo>
                    <a:pt x="212" y="375"/>
                  </a:lnTo>
                  <a:lnTo>
                    <a:pt x="212" y="294"/>
                  </a:lnTo>
                  <a:cubicBezTo>
                    <a:pt x="212" y="290"/>
                    <a:pt x="214" y="288"/>
                    <a:pt x="217" y="286"/>
                  </a:cubicBezTo>
                  <a:lnTo>
                    <a:pt x="309" y="246"/>
                  </a:lnTo>
                  <a:lnTo>
                    <a:pt x="306" y="258"/>
                  </a:lnTo>
                  <a:lnTo>
                    <a:pt x="259" y="197"/>
                  </a:lnTo>
                  <a:cubicBezTo>
                    <a:pt x="257" y="195"/>
                    <a:pt x="257" y="192"/>
                    <a:pt x="257" y="190"/>
                  </a:cubicBezTo>
                  <a:cubicBezTo>
                    <a:pt x="258" y="187"/>
                    <a:pt x="260" y="185"/>
                    <a:pt x="262" y="184"/>
                  </a:cubicBezTo>
                  <a:lnTo>
                    <a:pt x="309" y="164"/>
                  </a:lnTo>
                  <a:lnTo>
                    <a:pt x="305" y="173"/>
                  </a:lnTo>
                  <a:lnTo>
                    <a:pt x="282" y="30"/>
                  </a:lnTo>
                  <a:lnTo>
                    <a:pt x="287" y="36"/>
                  </a:lnTo>
                  <a:lnTo>
                    <a:pt x="240" y="16"/>
                  </a:lnTo>
                  <a:lnTo>
                    <a:pt x="248" y="15"/>
                  </a:lnTo>
                  <a:lnTo>
                    <a:pt x="201" y="55"/>
                  </a:lnTo>
                  <a:lnTo>
                    <a:pt x="203" y="51"/>
                  </a:lnTo>
                  <a:lnTo>
                    <a:pt x="181" y="133"/>
                  </a:lnTo>
                  <a:cubicBezTo>
                    <a:pt x="180" y="136"/>
                    <a:pt x="177" y="138"/>
                    <a:pt x="174" y="139"/>
                  </a:cubicBezTo>
                  <a:cubicBezTo>
                    <a:pt x="171" y="139"/>
                    <a:pt x="168" y="137"/>
                    <a:pt x="166" y="135"/>
                  </a:cubicBezTo>
                  <a:lnTo>
                    <a:pt x="119" y="53"/>
                  </a:lnTo>
                  <a:lnTo>
                    <a:pt x="130" y="56"/>
                  </a:lnTo>
                  <a:lnTo>
                    <a:pt x="35" y="117"/>
                  </a:lnTo>
                  <a:lnTo>
                    <a:pt x="36" y="116"/>
                  </a:lnTo>
                  <a:lnTo>
                    <a:pt x="14" y="137"/>
                  </a:lnTo>
                  <a:lnTo>
                    <a:pt x="16" y="128"/>
                  </a:lnTo>
                  <a:lnTo>
                    <a:pt x="38" y="189"/>
                  </a:lnTo>
                  <a:lnTo>
                    <a:pt x="34" y="184"/>
                  </a:lnTo>
                  <a:lnTo>
                    <a:pt x="129" y="225"/>
                  </a:lnTo>
                  <a:cubicBezTo>
                    <a:pt x="131" y="226"/>
                    <a:pt x="132" y="228"/>
                    <a:pt x="133" y="230"/>
                  </a:cubicBezTo>
                  <a:lnTo>
                    <a:pt x="155" y="291"/>
                  </a:lnTo>
                  <a:cubicBezTo>
                    <a:pt x="156" y="293"/>
                    <a:pt x="156" y="296"/>
                    <a:pt x="155" y="298"/>
                  </a:cubicBezTo>
                  <a:lnTo>
                    <a:pt x="107" y="379"/>
                  </a:lnTo>
                  <a:cubicBezTo>
                    <a:pt x="106" y="382"/>
                    <a:pt x="102" y="384"/>
                    <a:pt x="98" y="383"/>
                  </a:cubicBezTo>
                  <a:lnTo>
                    <a:pt x="29" y="362"/>
                  </a:lnTo>
                  <a:lnTo>
                    <a:pt x="38" y="357"/>
                  </a:lnTo>
                  <a:lnTo>
                    <a:pt x="16" y="438"/>
                  </a:lnTo>
                  <a:close/>
                  <a:moveTo>
                    <a:pt x="23" y="353"/>
                  </a:moveTo>
                  <a:cubicBezTo>
                    <a:pt x="24" y="350"/>
                    <a:pt x="25" y="349"/>
                    <a:pt x="27" y="348"/>
                  </a:cubicBezTo>
                  <a:cubicBezTo>
                    <a:pt x="29" y="347"/>
                    <a:pt x="31" y="346"/>
                    <a:pt x="33" y="347"/>
                  </a:cubicBezTo>
                  <a:lnTo>
                    <a:pt x="103" y="367"/>
                  </a:lnTo>
                  <a:lnTo>
                    <a:pt x="94" y="371"/>
                  </a:lnTo>
                  <a:lnTo>
                    <a:pt x="141" y="290"/>
                  </a:lnTo>
                  <a:lnTo>
                    <a:pt x="140" y="296"/>
                  </a:lnTo>
                  <a:lnTo>
                    <a:pt x="118" y="235"/>
                  </a:lnTo>
                  <a:lnTo>
                    <a:pt x="122" y="240"/>
                  </a:lnTo>
                  <a:lnTo>
                    <a:pt x="28" y="199"/>
                  </a:lnTo>
                  <a:cubicBezTo>
                    <a:pt x="26" y="198"/>
                    <a:pt x="24" y="197"/>
                    <a:pt x="23" y="194"/>
                  </a:cubicBezTo>
                  <a:lnTo>
                    <a:pt x="1" y="133"/>
                  </a:lnTo>
                  <a:cubicBezTo>
                    <a:pt x="0" y="130"/>
                    <a:pt x="1" y="127"/>
                    <a:pt x="3" y="125"/>
                  </a:cubicBezTo>
                  <a:lnTo>
                    <a:pt x="25" y="104"/>
                  </a:lnTo>
                  <a:cubicBezTo>
                    <a:pt x="26" y="104"/>
                    <a:pt x="26" y="104"/>
                    <a:pt x="26" y="104"/>
                  </a:cubicBezTo>
                  <a:lnTo>
                    <a:pt x="121" y="42"/>
                  </a:lnTo>
                  <a:cubicBezTo>
                    <a:pt x="123" y="41"/>
                    <a:pt x="125" y="41"/>
                    <a:pt x="127" y="41"/>
                  </a:cubicBezTo>
                  <a:cubicBezTo>
                    <a:pt x="130" y="42"/>
                    <a:pt x="131" y="43"/>
                    <a:pt x="133" y="45"/>
                  </a:cubicBezTo>
                  <a:lnTo>
                    <a:pt x="180" y="127"/>
                  </a:lnTo>
                  <a:lnTo>
                    <a:pt x="165" y="129"/>
                  </a:lnTo>
                  <a:lnTo>
                    <a:pt x="188" y="47"/>
                  </a:lnTo>
                  <a:cubicBezTo>
                    <a:pt x="188" y="46"/>
                    <a:pt x="189" y="44"/>
                    <a:pt x="190" y="43"/>
                  </a:cubicBezTo>
                  <a:lnTo>
                    <a:pt x="238" y="2"/>
                  </a:lnTo>
                  <a:cubicBezTo>
                    <a:pt x="240" y="0"/>
                    <a:pt x="243" y="0"/>
                    <a:pt x="246" y="1"/>
                  </a:cubicBezTo>
                  <a:lnTo>
                    <a:pt x="293" y="21"/>
                  </a:lnTo>
                  <a:cubicBezTo>
                    <a:pt x="296" y="23"/>
                    <a:pt x="298" y="25"/>
                    <a:pt x="298" y="28"/>
                  </a:cubicBezTo>
                  <a:lnTo>
                    <a:pt x="320" y="170"/>
                  </a:lnTo>
                  <a:cubicBezTo>
                    <a:pt x="321" y="174"/>
                    <a:pt x="319" y="177"/>
                    <a:pt x="316" y="179"/>
                  </a:cubicBezTo>
                  <a:lnTo>
                    <a:pt x="268" y="199"/>
                  </a:lnTo>
                  <a:lnTo>
                    <a:pt x="271" y="187"/>
                  </a:lnTo>
                  <a:lnTo>
                    <a:pt x="319" y="248"/>
                  </a:lnTo>
                  <a:cubicBezTo>
                    <a:pt x="320" y="250"/>
                    <a:pt x="321" y="252"/>
                    <a:pt x="320" y="255"/>
                  </a:cubicBezTo>
                  <a:cubicBezTo>
                    <a:pt x="320" y="257"/>
                    <a:pt x="318" y="259"/>
                    <a:pt x="316" y="260"/>
                  </a:cubicBezTo>
                  <a:lnTo>
                    <a:pt x="224" y="301"/>
                  </a:lnTo>
                  <a:lnTo>
                    <a:pt x="228" y="294"/>
                  </a:lnTo>
                  <a:lnTo>
                    <a:pt x="228" y="375"/>
                  </a:lnTo>
                  <a:cubicBezTo>
                    <a:pt x="228" y="377"/>
                    <a:pt x="228" y="379"/>
                    <a:pt x="226" y="380"/>
                  </a:cubicBezTo>
                  <a:lnTo>
                    <a:pt x="154" y="462"/>
                  </a:lnTo>
                  <a:cubicBezTo>
                    <a:pt x="152" y="464"/>
                    <a:pt x="149" y="465"/>
                    <a:pt x="147" y="464"/>
                  </a:cubicBezTo>
                  <a:lnTo>
                    <a:pt x="7" y="444"/>
                  </a:lnTo>
                  <a:cubicBezTo>
                    <a:pt x="5" y="444"/>
                    <a:pt x="3" y="442"/>
                    <a:pt x="2" y="440"/>
                  </a:cubicBezTo>
                  <a:cubicBezTo>
                    <a:pt x="1" y="439"/>
                    <a:pt x="0" y="436"/>
                    <a:pt x="1" y="434"/>
                  </a:cubicBezTo>
                  <a:lnTo>
                    <a:pt x="23" y="353"/>
                  </a:lnTo>
                  <a:close/>
                </a:path>
              </a:pathLst>
            </a:custGeom>
            <a:solidFill>
              <a:srgbClr val="000000"/>
            </a:solidFill>
            <a:ln w="0" cap="flat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271" name="Freeform 238"/>
            <p:cNvSpPr>
              <a:spLocks/>
            </p:cNvSpPr>
            <p:nvPr/>
          </p:nvSpPr>
          <p:spPr bwMode="auto">
            <a:xfrm>
              <a:off x="3526" y="1661"/>
              <a:ext cx="141" cy="209"/>
            </a:xfrm>
            <a:custGeom>
              <a:avLst/>
              <a:gdLst>
                <a:gd name="T0" fmla="*/ 168 w 134"/>
                <a:gd name="T1" fmla="*/ 359 h 199"/>
                <a:gd name="T2" fmla="*/ 139 w 134"/>
                <a:gd name="T3" fmla="*/ 328 h 199"/>
                <a:gd name="T4" fmla="*/ 168 w 134"/>
                <a:gd name="T5" fmla="*/ 328 h 199"/>
                <a:gd name="T6" fmla="*/ 148 w 134"/>
                <a:gd name="T7" fmla="*/ 291 h 199"/>
                <a:gd name="T8" fmla="*/ 148 w 134"/>
                <a:gd name="T9" fmla="*/ 259 h 199"/>
                <a:gd name="T10" fmla="*/ 200 w 134"/>
                <a:gd name="T11" fmla="*/ 193 h 199"/>
                <a:gd name="T12" fmla="*/ 217 w 134"/>
                <a:gd name="T13" fmla="*/ 200 h 199"/>
                <a:gd name="T14" fmla="*/ 248 w 134"/>
                <a:gd name="T15" fmla="*/ 142 h 199"/>
                <a:gd name="T16" fmla="*/ 208 w 134"/>
                <a:gd name="T17" fmla="*/ 117 h 199"/>
                <a:gd name="T18" fmla="*/ 200 w 134"/>
                <a:gd name="T19" fmla="*/ 75 h 199"/>
                <a:gd name="T20" fmla="*/ 208 w 134"/>
                <a:gd name="T21" fmla="*/ 26 h 199"/>
                <a:gd name="T22" fmla="*/ 208 w 134"/>
                <a:gd name="T23" fmla="*/ 4 h 199"/>
                <a:gd name="T24" fmla="*/ 188 w 134"/>
                <a:gd name="T25" fmla="*/ 0 h 199"/>
                <a:gd name="T26" fmla="*/ 157 w 134"/>
                <a:gd name="T27" fmla="*/ 4 h 199"/>
                <a:gd name="T28" fmla="*/ 148 w 134"/>
                <a:gd name="T29" fmla="*/ 26 h 199"/>
                <a:gd name="T30" fmla="*/ 119 w 134"/>
                <a:gd name="T31" fmla="*/ 40 h 199"/>
                <a:gd name="T32" fmla="*/ 89 w 134"/>
                <a:gd name="T33" fmla="*/ 48 h 199"/>
                <a:gd name="T34" fmla="*/ 60 w 134"/>
                <a:gd name="T35" fmla="*/ 59 h 199"/>
                <a:gd name="T36" fmla="*/ 39 w 134"/>
                <a:gd name="T37" fmla="*/ 75 h 199"/>
                <a:gd name="T38" fmla="*/ 28 w 134"/>
                <a:gd name="T39" fmla="*/ 100 h 199"/>
                <a:gd name="T40" fmla="*/ 49 w 134"/>
                <a:gd name="T41" fmla="*/ 117 h 199"/>
                <a:gd name="T42" fmla="*/ 23 w 134"/>
                <a:gd name="T43" fmla="*/ 124 h 199"/>
                <a:gd name="T44" fmla="*/ 6 w 134"/>
                <a:gd name="T45" fmla="*/ 149 h 199"/>
                <a:gd name="T46" fmla="*/ 6 w 134"/>
                <a:gd name="T47" fmla="*/ 175 h 199"/>
                <a:gd name="T48" fmla="*/ 28 w 134"/>
                <a:gd name="T49" fmla="*/ 200 h 199"/>
                <a:gd name="T50" fmla="*/ 0 w 134"/>
                <a:gd name="T51" fmla="*/ 217 h 199"/>
                <a:gd name="T52" fmla="*/ 0 w 134"/>
                <a:gd name="T53" fmla="*/ 235 h 199"/>
                <a:gd name="T54" fmla="*/ 28 w 134"/>
                <a:gd name="T55" fmla="*/ 285 h 199"/>
                <a:gd name="T56" fmla="*/ 49 w 134"/>
                <a:gd name="T57" fmla="*/ 266 h 199"/>
                <a:gd name="T58" fmla="*/ 60 w 134"/>
                <a:gd name="T59" fmla="*/ 316 h 199"/>
                <a:gd name="T60" fmla="*/ 67 w 134"/>
                <a:gd name="T61" fmla="*/ 344 h 199"/>
                <a:gd name="T62" fmla="*/ 98 w 134"/>
                <a:gd name="T63" fmla="*/ 352 h 199"/>
                <a:gd name="T64" fmla="*/ 168 w 134"/>
                <a:gd name="T65" fmla="*/ 359 h 199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34"/>
                <a:gd name="T100" fmla="*/ 0 h 199"/>
                <a:gd name="T101" fmla="*/ 134 w 134"/>
                <a:gd name="T102" fmla="*/ 199 h 199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34" h="199">
                  <a:moveTo>
                    <a:pt x="91" y="199"/>
                  </a:moveTo>
                  <a:lnTo>
                    <a:pt x="75" y="181"/>
                  </a:lnTo>
                  <a:lnTo>
                    <a:pt x="91" y="181"/>
                  </a:lnTo>
                  <a:lnTo>
                    <a:pt x="81" y="162"/>
                  </a:lnTo>
                  <a:lnTo>
                    <a:pt x="81" y="144"/>
                  </a:lnTo>
                  <a:lnTo>
                    <a:pt x="108" y="107"/>
                  </a:lnTo>
                  <a:lnTo>
                    <a:pt x="118" y="111"/>
                  </a:lnTo>
                  <a:lnTo>
                    <a:pt x="134" y="79"/>
                  </a:lnTo>
                  <a:lnTo>
                    <a:pt x="113" y="65"/>
                  </a:lnTo>
                  <a:lnTo>
                    <a:pt x="108" y="42"/>
                  </a:lnTo>
                  <a:lnTo>
                    <a:pt x="113" y="14"/>
                  </a:lnTo>
                  <a:lnTo>
                    <a:pt x="113" y="4"/>
                  </a:lnTo>
                  <a:lnTo>
                    <a:pt x="102" y="0"/>
                  </a:lnTo>
                  <a:lnTo>
                    <a:pt x="86" y="4"/>
                  </a:lnTo>
                  <a:lnTo>
                    <a:pt x="81" y="14"/>
                  </a:lnTo>
                  <a:lnTo>
                    <a:pt x="64" y="23"/>
                  </a:lnTo>
                  <a:lnTo>
                    <a:pt x="48" y="27"/>
                  </a:lnTo>
                  <a:lnTo>
                    <a:pt x="32" y="32"/>
                  </a:lnTo>
                  <a:lnTo>
                    <a:pt x="22" y="42"/>
                  </a:lnTo>
                  <a:lnTo>
                    <a:pt x="16" y="55"/>
                  </a:lnTo>
                  <a:lnTo>
                    <a:pt x="27" y="65"/>
                  </a:lnTo>
                  <a:lnTo>
                    <a:pt x="11" y="69"/>
                  </a:lnTo>
                  <a:lnTo>
                    <a:pt x="6" y="83"/>
                  </a:lnTo>
                  <a:lnTo>
                    <a:pt x="6" y="97"/>
                  </a:lnTo>
                  <a:lnTo>
                    <a:pt x="16" y="111"/>
                  </a:lnTo>
                  <a:lnTo>
                    <a:pt x="0" y="121"/>
                  </a:lnTo>
                  <a:lnTo>
                    <a:pt x="0" y="130"/>
                  </a:lnTo>
                  <a:lnTo>
                    <a:pt x="16" y="158"/>
                  </a:lnTo>
                  <a:lnTo>
                    <a:pt x="27" y="148"/>
                  </a:lnTo>
                  <a:lnTo>
                    <a:pt x="32" y="176"/>
                  </a:lnTo>
                  <a:lnTo>
                    <a:pt x="37" y="190"/>
                  </a:lnTo>
                  <a:lnTo>
                    <a:pt x="53" y="195"/>
                  </a:lnTo>
                  <a:lnTo>
                    <a:pt x="91" y="199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cs-CZ"/>
            </a:p>
          </p:txBody>
        </p:sp>
        <p:sp>
          <p:nvSpPr>
            <p:cNvPr id="7272" name="Freeform 239"/>
            <p:cNvSpPr>
              <a:spLocks noEditPoints="1"/>
            </p:cNvSpPr>
            <p:nvPr/>
          </p:nvSpPr>
          <p:spPr bwMode="auto">
            <a:xfrm>
              <a:off x="3523" y="1659"/>
              <a:ext cx="146" cy="213"/>
            </a:xfrm>
            <a:custGeom>
              <a:avLst/>
              <a:gdLst>
                <a:gd name="T0" fmla="*/ 0 w 609"/>
                <a:gd name="T1" fmla="*/ 0 h 897"/>
                <a:gd name="T2" fmla="*/ 0 w 609"/>
                <a:gd name="T3" fmla="*/ 0 h 897"/>
                <a:gd name="T4" fmla="*/ 0 w 609"/>
                <a:gd name="T5" fmla="*/ 0 h 897"/>
                <a:gd name="T6" fmla="*/ 0 w 609"/>
                <a:gd name="T7" fmla="*/ 0 h 897"/>
                <a:gd name="T8" fmla="*/ 0 w 609"/>
                <a:gd name="T9" fmla="*/ 0 h 897"/>
                <a:gd name="T10" fmla="*/ 0 w 609"/>
                <a:gd name="T11" fmla="*/ 0 h 897"/>
                <a:gd name="T12" fmla="*/ 0 w 609"/>
                <a:gd name="T13" fmla="*/ 0 h 897"/>
                <a:gd name="T14" fmla="*/ 0 w 609"/>
                <a:gd name="T15" fmla="*/ 0 h 897"/>
                <a:gd name="T16" fmla="*/ 0 w 609"/>
                <a:gd name="T17" fmla="*/ 0 h 897"/>
                <a:gd name="T18" fmla="*/ 0 w 609"/>
                <a:gd name="T19" fmla="*/ 0 h 897"/>
                <a:gd name="T20" fmla="*/ 0 w 609"/>
                <a:gd name="T21" fmla="*/ 0 h 897"/>
                <a:gd name="T22" fmla="*/ 0 w 609"/>
                <a:gd name="T23" fmla="*/ 0 h 897"/>
                <a:gd name="T24" fmla="*/ 0 w 609"/>
                <a:gd name="T25" fmla="*/ 0 h 897"/>
                <a:gd name="T26" fmla="*/ 0 w 609"/>
                <a:gd name="T27" fmla="*/ 0 h 897"/>
                <a:gd name="T28" fmla="*/ 0 w 609"/>
                <a:gd name="T29" fmla="*/ 0 h 897"/>
                <a:gd name="T30" fmla="*/ 0 w 609"/>
                <a:gd name="T31" fmla="*/ 0 h 897"/>
                <a:gd name="T32" fmla="*/ 0 w 609"/>
                <a:gd name="T33" fmla="*/ 0 h 897"/>
                <a:gd name="T34" fmla="*/ 0 w 609"/>
                <a:gd name="T35" fmla="*/ 0 h 897"/>
                <a:gd name="T36" fmla="*/ 0 w 609"/>
                <a:gd name="T37" fmla="*/ 0 h 897"/>
                <a:gd name="T38" fmla="*/ 0 w 609"/>
                <a:gd name="T39" fmla="*/ 0 h 897"/>
                <a:gd name="T40" fmla="*/ 0 w 609"/>
                <a:gd name="T41" fmla="*/ 0 h 897"/>
                <a:gd name="T42" fmla="*/ 0 w 609"/>
                <a:gd name="T43" fmla="*/ 0 h 897"/>
                <a:gd name="T44" fmla="*/ 0 w 609"/>
                <a:gd name="T45" fmla="*/ 0 h 897"/>
                <a:gd name="T46" fmla="*/ 0 w 609"/>
                <a:gd name="T47" fmla="*/ 0 h 897"/>
                <a:gd name="T48" fmla="*/ 0 w 609"/>
                <a:gd name="T49" fmla="*/ 0 h 897"/>
                <a:gd name="T50" fmla="*/ 0 w 609"/>
                <a:gd name="T51" fmla="*/ 0 h 897"/>
                <a:gd name="T52" fmla="*/ 0 w 609"/>
                <a:gd name="T53" fmla="*/ 0 h 897"/>
                <a:gd name="T54" fmla="*/ 0 w 609"/>
                <a:gd name="T55" fmla="*/ 0 h 897"/>
                <a:gd name="T56" fmla="*/ 0 w 609"/>
                <a:gd name="T57" fmla="*/ 0 h 897"/>
                <a:gd name="T58" fmla="*/ 0 w 609"/>
                <a:gd name="T59" fmla="*/ 0 h 897"/>
                <a:gd name="T60" fmla="*/ 0 w 609"/>
                <a:gd name="T61" fmla="*/ 0 h 897"/>
                <a:gd name="T62" fmla="*/ 0 w 609"/>
                <a:gd name="T63" fmla="*/ 0 h 897"/>
                <a:gd name="T64" fmla="*/ 0 w 609"/>
                <a:gd name="T65" fmla="*/ 0 h 897"/>
                <a:gd name="T66" fmla="*/ 0 w 609"/>
                <a:gd name="T67" fmla="*/ 0 h 897"/>
                <a:gd name="T68" fmla="*/ 0 w 609"/>
                <a:gd name="T69" fmla="*/ 0 h 897"/>
                <a:gd name="T70" fmla="*/ 0 w 609"/>
                <a:gd name="T71" fmla="*/ 0 h 897"/>
                <a:gd name="T72" fmla="*/ 0 w 609"/>
                <a:gd name="T73" fmla="*/ 0 h 897"/>
                <a:gd name="T74" fmla="*/ 0 w 609"/>
                <a:gd name="T75" fmla="*/ 0 h 897"/>
                <a:gd name="T76" fmla="*/ 0 w 609"/>
                <a:gd name="T77" fmla="*/ 0 h 897"/>
                <a:gd name="T78" fmla="*/ 0 w 609"/>
                <a:gd name="T79" fmla="*/ 0 h 897"/>
                <a:gd name="T80" fmla="*/ 0 w 609"/>
                <a:gd name="T81" fmla="*/ 0 h 897"/>
                <a:gd name="T82" fmla="*/ 0 w 609"/>
                <a:gd name="T83" fmla="*/ 0 h 897"/>
                <a:gd name="T84" fmla="*/ 0 w 609"/>
                <a:gd name="T85" fmla="*/ 0 h 897"/>
                <a:gd name="T86" fmla="*/ 0 w 609"/>
                <a:gd name="T87" fmla="*/ 0 h 897"/>
                <a:gd name="T88" fmla="*/ 0 w 609"/>
                <a:gd name="T89" fmla="*/ 0 h 897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609"/>
                <a:gd name="T136" fmla="*/ 0 h 897"/>
                <a:gd name="T137" fmla="*/ 609 w 609"/>
                <a:gd name="T138" fmla="*/ 897 h 897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609" h="897">
                  <a:moveTo>
                    <a:pt x="411" y="881"/>
                  </a:moveTo>
                  <a:lnTo>
                    <a:pt x="404" y="894"/>
                  </a:lnTo>
                  <a:lnTo>
                    <a:pt x="333" y="812"/>
                  </a:lnTo>
                  <a:cubicBezTo>
                    <a:pt x="331" y="809"/>
                    <a:pt x="331" y="806"/>
                    <a:pt x="332" y="803"/>
                  </a:cubicBezTo>
                  <a:cubicBezTo>
                    <a:pt x="334" y="800"/>
                    <a:pt x="336" y="799"/>
                    <a:pt x="340" y="799"/>
                  </a:cubicBezTo>
                  <a:lnTo>
                    <a:pt x="410" y="799"/>
                  </a:lnTo>
                  <a:lnTo>
                    <a:pt x="403" y="810"/>
                  </a:lnTo>
                  <a:lnTo>
                    <a:pt x="358" y="729"/>
                  </a:lnTo>
                  <a:cubicBezTo>
                    <a:pt x="357" y="727"/>
                    <a:pt x="357" y="726"/>
                    <a:pt x="357" y="725"/>
                  </a:cubicBezTo>
                  <a:lnTo>
                    <a:pt x="357" y="643"/>
                  </a:lnTo>
                  <a:cubicBezTo>
                    <a:pt x="357" y="641"/>
                    <a:pt x="357" y="640"/>
                    <a:pt x="358" y="638"/>
                  </a:cubicBezTo>
                  <a:lnTo>
                    <a:pt x="476" y="474"/>
                  </a:lnTo>
                  <a:cubicBezTo>
                    <a:pt x="478" y="471"/>
                    <a:pt x="482" y="470"/>
                    <a:pt x="486" y="472"/>
                  </a:cubicBezTo>
                  <a:lnTo>
                    <a:pt x="533" y="492"/>
                  </a:lnTo>
                  <a:lnTo>
                    <a:pt x="523" y="496"/>
                  </a:lnTo>
                  <a:lnTo>
                    <a:pt x="593" y="353"/>
                  </a:lnTo>
                  <a:lnTo>
                    <a:pt x="596" y="363"/>
                  </a:lnTo>
                  <a:lnTo>
                    <a:pt x="501" y="302"/>
                  </a:lnTo>
                  <a:cubicBezTo>
                    <a:pt x="499" y="301"/>
                    <a:pt x="498" y="299"/>
                    <a:pt x="497" y="297"/>
                  </a:cubicBezTo>
                  <a:lnTo>
                    <a:pt x="475" y="194"/>
                  </a:lnTo>
                  <a:cubicBezTo>
                    <a:pt x="475" y="193"/>
                    <a:pt x="475" y="192"/>
                    <a:pt x="475" y="191"/>
                  </a:cubicBezTo>
                  <a:lnTo>
                    <a:pt x="497" y="68"/>
                  </a:lnTo>
                  <a:lnTo>
                    <a:pt x="497" y="70"/>
                  </a:lnTo>
                  <a:lnTo>
                    <a:pt x="497" y="29"/>
                  </a:lnTo>
                  <a:lnTo>
                    <a:pt x="502" y="36"/>
                  </a:lnTo>
                  <a:lnTo>
                    <a:pt x="454" y="16"/>
                  </a:lnTo>
                  <a:lnTo>
                    <a:pt x="460" y="16"/>
                  </a:lnTo>
                  <a:lnTo>
                    <a:pt x="389" y="37"/>
                  </a:lnTo>
                  <a:lnTo>
                    <a:pt x="394" y="33"/>
                  </a:lnTo>
                  <a:lnTo>
                    <a:pt x="372" y="74"/>
                  </a:lnTo>
                  <a:cubicBezTo>
                    <a:pt x="371" y="75"/>
                    <a:pt x="370" y="76"/>
                    <a:pt x="369" y="77"/>
                  </a:cubicBezTo>
                  <a:lnTo>
                    <a:pt x="296" y="118"/>
                  </a:lnTo>
                  <a:cubicBezTo>
                    <a:pt x="295" y="118"/>
                    <a:pt x="295" y="118"/>
                    <a:pt x="294" y="118"/>
                  </a:cubicBezTo>
                  <a:lnTo>
                    <a:pt x="224" y="139"/>
                  </a:lnTo>
                  <a:lnTo>
                    <a:pt x="154" y="159"/>
                  </a:lnTo>
                  <a:lnTo>
                    <a:pt x="157" y="158"/>
                  </a:lnTo>
                  <a:lnTo>
                    <a:pt x="109" y="199"/>
                  </a:lnTo>
                  <a:lnTo>
                    <a:pt x="111" y="195"/>
                  </a:lnTo>
                  <a:lnTo>
                    <a:pt x="89" y="257"/>
                  </a:lnTo>
                  <a:lnTo>
                    <a:pt x="87" y="248"/>
                  </a:lnTo>
                  <a:lnTo>
                    <a:pt x="132" y="289"/>
                  </a:lnTo>
                  <a:cubicBezTo>
                    <a:pt x="134" y="291"/>
                    <a:pt x="135" y="294"/>
                    <a:pt x="134" y="297"/>
                  </a:cubicBezTo>
                  <a:cubicBezTo>
                    <a:pt x="133" y="300"/>
                    <a:pt x="131" y="302"/>
                    <a:pt x="129" y="303"/>
                  </a:cubicBezTo>
                  <a:lnTo>
                    <a:pt x="58" y="323"/>
                  </a:lnTo>
                  <a:lnTo>
                    <a:pt x="64" y="318"/>
                  </a:lnTo>
                  <a:lnTo>
                    <a:pt x="41" y="380"/>
                  </a:lnTo>
                  <a:lnTo>
                    <a:pt x="42" y="377"/>
                  </a:lnTo>
                  <a:lnTo>
                    <a:pt x="42" y="438"/>
                  </a:lnTo>
                  <a:lnTo>
                    <a:pt x="40" y="433"/>
                  </a:lnTo>
                  <a:lnTo>
                    <a:pt x="88" y="495"/>
                  </a:lnTo>
                  <a:cubicBezTo>
                    <a:pt x="89" y="497"/>
                    <a:pt x="90" y="499"/>
                    <a:pt x="89" y="501"/>
                  </a:cubicBezTo>
                  <a:cubicBezTo>
                    <a:pt x="89" y="504"/>
                    <a:pt x="87" y="505"/>
                    <a:pt x="85" y="507"/>
                  </a:cubicBezTo>
                  <a:lnTo>
                    <a:pt x="12" y="548"/>
                  </a:lnTo>
                  <a:lnTo>
                    <a:pt x="16" y="541"/>
                  </a:lnTo>
                  <a:lnTo>
                    <a:pt x="16" y="581"/>
                  </a:lnTo>
                  <a:lnTo>
                    <a:pt x="15" y="577"/>
                  </a:lnTo>
                  <a:lnTo>
                    <a:pt x="88" y="700"/>
                  </a:lnTo>
                  <a:lnTo>
                    <a:pt x="76" y="698"/>
                  </a:lnTo>
                  <a:lnTo>
                    <a:pt x="121" y="657"/>
                  </a:lnTo>
                  <a:cubicBezTo>
                    <a:pt x="123" y="655"/>
                    <a:pt x="126" y="655"/>
                    <a:pt x="129" y="656"/>
                  </a:cubicBezTo>
                  <a:cubicBezTo>
                    <a:pt x="132" y="657"/>
                    <a:pt x="134" y="659"/>
                    <a:pt x="134" y="662"/>
                  </a:cubicBezTo>
                  <a:lnTo>
                    <a:pt x="159" y="785"/>
                  </a:lnTo>
                  <a:lnTo>
                    <a:pt x="159" y="783"/>
                  </a:lnTo>
                  <a:lnTo>
                    <a:pt x="182" y="845"/>
                  </a:lnTo>
                  <a:lnTo>
                    <a:pt x="176" y="840"/>
                  </a:lnTo>
                  <a:lnTo>
                    <a:pt x="246" y="860"/>
                  </a:lnTo>
                  <a:lnTo>
                    <a:pt x="245" y="860"/>
                  </a:lnTo>
                  <a:lnTo>
                    <a:pt x="411" y="881"/>
                  </a:lnTo>
                  <a:close/>
                  <a:moveTo>
                    <a:pt x="243" y="876"/>
                  </a:moveTo>
                  <a:cubicBezTo>
                    <a:pt x="243" y="876"/>
                    <a:pt x="242" y="876"/>
                    <a:pt x="242" y="876"/>
                  </a:cubicBezTo>
                  <a:lnTo>
                    <a:pt x="172" y="855"/>
                  </a:lnTo>
                  <a:cubicBezTo>
                    <a:pt x="169" y="855"/>
                    <a:pt x="167" y="853"/>
                    <a:pt x="166" y="850"/>
                  </a:cubicBezTo>
                  <a:lnTo>
                    <a:pt x="144" y="789"/>
                  </a:lnTo>
                  <a:cubicBezTo>
                    <a:pt x="144" y="789"/>
                    <a:pt x="144" y="788"/>
                    <a:pt x="144" y="788"/>
                  </a:cubicBezTo>
                  <a:lnTo>
                    <a:pt x="118" y="665"/>
                  </a:lnTo>
                  <a:lnTo>
                    <a:pt x="132" y="669"/>
                  </a:lnTo>
                  <a:lnTo>
                    <a:pt x="87" y="710"/>
                  </a:lnTo>
                  <a:cubicBezTo>
                    <a:pt x="85" y="712"/>
                    <a:pt x="83" y="713"/>
                    <a:pt x="80" y="712"/>
                  </a:cubicBezTo>
                  <a:cubicBezTo>
                    <a:pt x="78" y="712"/>
                    <a:pt x="76" y="710"/>
                    <a:pt x="75" y="708"/>
                  </a:cubicBezTo>
                  <a:lnTo>
                    <a:pt x="2" y="586"/>
                  </a:lnTo>
                  <a:cubicBezTo>
                    <a:pt x="1" y="584"/>
                    <a:pt x="0" y="583"/>
                    <a:pt x="0" y="581"/>
                  </a:cubicBezTo>
                  <a:lnTo>
                    <a:pt x="0" y="541"/>
                  </a:lnTo>
                  <a:cubicBezTo>
                    <a:pt x="0" y="538"/>
                    <a:pt x="2" y="535"/>
                    <a:pt x="5" y="534"/>
                  </a:cubicBezTo>
                  <a:lnTo>
                    <a:pt x="77" y="493"/>
                  </a:lnTo>
                  <a:lnTo>
                    <a:pt x="75" y="505"/>
                  </a:lnTo>
                  <a:lnTo>
                    <a:pt x="27" y="443"/>
                  </a:lnTo>
                  <a:cubicBezTo>
                    <a:pt x="26" y="442"/>
                    <a:pt x="26" y="440"/>
                    <a:pt x="26" y="438"/>
                  </a:cubicBezTo>
                  <a:lnTo>
                    <a:pt x="26" y="377"/>
                  </a:lnTo>
                  <a:cubicBezTo>
                    <a:pt x="26" y="376"/>
                    <a:pt x="26" y="375"/>
                    <a:pt x="26" y="374"/>
                  </a:cubicBezTo>
                  <a:lnTo>
                    <a:pt x="49" y="313"/>
                  </a:lnTo>
                  <a:cubicBezTo>
                    <a:pt x="50" y="310"/>
                    <a:pt x="51" y="308"/>
                    <a:pt x="54" y="308"/>
                  </a:cubicBezTo>
                  <a:lnTo>
                    <a:pt x="124" y="287"/>
                  </a:lnTo>
                  <a:lnTo>
                    <a:pt x="121" y="301"/>
                  </a:lnTo>
                  <a:lnTo>
                    <a:pt x="76" y="260"/>
                  </a:lnTo>
                  <a:cubicBezTo>
                    <a:pt x="74" y="258"/>
                    <a:pt x="73" y="254"/>
                    <a:pt x="74" y="251"/>
                  </a:cubicBezTo>
                  <a:lnTo>
                    <a:pt x="96" y="190"/>
                  </a:lnTo>
                  <a:cubicBezTo>
                    <a:pt x="97" y="189"/>
                    <a:pt x="98" y="187"/>
                    <a:pt x="99" y="187"/>
                  </a:cubicBezTo>
                  <a:lnTo>
                    <a:pt x="146" y="146"/>
                  </a:lnTo>
                  <a:cubicBezTo>
                    <a:pt x="147" y="145"/>
                    <a:pt x="148" y="144"/>
                    <a:pt x="149" y="144"/>
                  </a:cubicBezTo>
                  <a:lnTo>
                    <a:pt x="219" y="124"/>
                  </a:lnTo>
                  <a:lnTo>
                    <a:pt x="290" y="103"/>
                  </a:lnTo>
                  <a:lnTo>
                    <a:pt x="288" y="104"/>
                  </a:lnTo>
                  <a:lnTo>
                    <a:pt x="361" y="63"/>
                  </a:lnTo>
                  <a:lnTo>
                    <a:pt x="358" y="66"/>
                  </a:lnTo>
                  <a:lnTo>
                    <a:pt x="380" y="25"/>
                  </a:lnTo>
                  <a:cubicBezTo>
                    <a:pt x="381" y="23"/>
                    <a:pt x="383" y="22"/>
                    <a:pt x="385" y="21"/>
                  </a:cubicBezTo>
                  <a:lnTo>
                    <a:pt x="455" y="1"/>
                  </a:lnTo>
                  <a:cubicBezTo>
                    <a:pt x="457" y="0"/>
                    <a:pt x="459" y="0"/>
                    <a:pt x="461" y="1"/>
                  </a:cubicBezTo>
                  <a:lnTo>
                    <a:pt x="508" y="22"/>
                  </a:lnTo>
                  <a:cubicBezTo>
                    <a:pt x="511" y="23"/>
                    <a:pt x="513" y="26"/>
                    <a:pt x="513" y="29"/>
                  </a:cubicBezTo>
                  <a:lnTo>
                    <a:pt x="513" y="70"/>
                  </a:lnTo>
                  <a:cubicBezTo>
                    <a:pt x="513" y="70"/>
                    <a:pt x="513" y="71"/>
                    <a:pt x="513" y="71"/>
                  </a:cubicBezTo>
                  <a:lnTo>
                    <a:pt x="491" y="194"/>
                  </a:lnTo>
                  <a:lnTo>
                    <a:pt x="490" y="191"/>
                  </a:lnTo>
                  <a:lnTo>
                    <a:pt x="513" y="293"/>
                  </a:lnTo>
                  <a:lnTo>
                    <a:pt x="509" y="288"/>
                  </a:lnTo>
                  <a:lnTo>
                    <a:pt x="605" y="350"/>
                  </a:lnTo>
                  <a:cubicBezTo>
                    <a:pt x="608" y="352"/>
                    <a:pt x="609" y="356"/>
                    <a:pt x="608" y="360"/>
                  </a:cubicBezTo>
                  <a:lnTo>
                    <a:pt x="538" y="503"/>
                  </a:lnTo>
                  <a:cubicBezTo>
                    <a:pt x="536" y="507"/>
                    <a:pt x="531" y="509"/>
                    <a:pt x="527" y="507"/>
                  </a:cubicBezTo>
                  <a:lnTo>
                    <a:pt x="479" y="487"/>
                  </a:lnTo>
                  <a:lnTo>
                    <a:pt x="489" y="484"/>
                  </a:lnTo>
                  <a:lnTo>
                    <a:pt x="371" y="648"/>
                  </a:lnTo>
                  <a:lnTo>
                    <a:pt x="373" y="643"/>
                  </a:lnTo>
                  <a:lnTo>
                    <a:pt x="373" y="725"/>
                  </a:lnTo>
                  <a:lnTo>
                    <a:pt x="372" y="721"/>
                  </a:lnTo>
                  <a:lnTo>
                    <a:pt x="417" y="803"/>
                  </a:lnTo>
                  <a:cubicBezTo>
                    <a:pt x="418" y="805"/>
                    <a:pt x="418" y="808"/>
                    <a:pt x="417" y="811"/>
                  </a:cubicBezTo>
                  <a:cubicBezTo>
                    <a:pt x="415" y="813"/>
                    <a:pt x="413" y="815"/>
                    <a:pt x="410" y="815"/>
                  </a:cubicBezTo>
                  <a:lnTo>
                    <a:pt x="340" y="815"/>
                  </a:lnTo>
                  <a:lnTo>
                    <a:pt x="346" y="801"/>
                  </a:lnTo>
                  <a:lnTo>
                    <a:pt x="416" y="883"/>
                  </a:lnTo>
                  <a:cubicBezTo>
                    <a:pt x="418" y="886"/>
                    <a:pt x="418" y="889"/>
                    <a:pt x="417" y="892"/>
                  </a:cubicBezTo>
                  <a:cubicBezTo>
                    <a:pt x="415" y="895"/>
                    <a:pt x="412" y="897"/>
                    <a:pt x="409" y="896"/>
                  </a:cubicBezTo>
                  <a:lnTo>
                    <a:pt x="243" y="876"/>
                  </a:lnTo>
                  <a:close/>
                </a:path>
              </a:pathLst>
            </a:custGeom>
            <a:solidFill>
              <a:srgbClr val="000000"/>
            </a:solidFill>
            <a:ln w="0" cap="flat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273" name="Rectangle 240"/>
            <p:cNvSpPr>
              <a:spLocks noChangeArrowheads="1"/>
            </p:cNvSpPr>
            <p:nvPr/>
          </p:nvSpPr>
          <p:spPr bwMode="auto">
            <a:xfrm>
              <a:off x="3553" y="1738"/>
              <a:ext cx="58" cy="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sz="500" b="1">
                  <a:solidFill>
                    <a:srgbClr val="000000"/>
                  </a:solidFill>
                </a:rPr>
                <a:t>DK</a:t>
              </a:r>
              <a:endParaRPr lang="de-DE"/>
            </a:p>
          </p:txBody>
        </p:sp>
        <p:sp>
          <p:nvSpPr>
            <p:cNvPr id="7274" name="Rectangle 241"/>
            <p:cNvSpPr>
              <a:spLocks noChangeArrowheads="1"/>
            </p:cNvSpPr>
            <p:nvPr/>
          </p:nvSpPr>
          <p:spPr bwMode="auto">
            <a:xfrm>
              <a:off x="3520" y="1383"/>
              <a:ext cx="60" cy="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sz="500" b="1">
                  <a:solidFill>
                    <a:srgbClr val="000000"/>
                  </a:solidFill>
                </a:rPr>
                <a:t>NO</a:t>
              </a:r>
              <a:endParaRPr lang="de-DE"/>
            </a:p>
          </p:txBody>
        </p:sp>
        <p:sp>
          <p:nvSpPr>
            <p:cNvPr id="7275" name="Freeform 242"/>
            <p:cNvSpPr>
              <a:spLocks noEditPoints="1"/>
            </p:cNvSpPr>
            <p:nvPr/>
          </p:nvSpPr>
          <p:spPr bwMode="auto">
            <a:xfrm>
              <a:off x="3673" y="789"/>
              <a:ext cx="458" cy="1030"/>
            </a:xfrm>
            <a:custGeom>
              <a:avLst/>
              <a:gdLst>
                <a:gd name="T0" fmla="*/ 0 w 1921"/>
                <a:gd name="T1" fmla="*/ 0 h 4320"/>
                <a:gd name="T2" fmla="*/ 0 w 1921"/>
                <a:gd name="T3" fmla="*/ 0 h 4320"/>
                <a:gd name="T4" fmla="*/ 0 w 1921"/>
                <a:gd name="T5" fmla="*/ 0 h 4320"/>
                <a:gd name="T6" fmla="*/ 0 w 1921"/>
                <a:gd name="T7" fmla="*/ 0 h 4320"/>
                <a:gd name="T8" fmla="*/ 0 w 1921"/>
                <a:gd name="T9" fmla="*/ 0 h 4320"/>
                <a:gd name="T10" fmla="*/ 0 w 1921"/>
                <a:gd name="T11" fmla="*/ 0 h 4320"/>
                <a:gd name="T12" fmla="*/ 0 w 1921"/>
                <a:gd name="T13" fmla="*/ 0 h 4320"/>
                <a:gd name="T14" fmla="*/ 0 w 1921"/>
                <a:gd name="T15" fmla="*/ 0 h 4320"/>
                <a:gd name="T16" fmla="*/ 0 w 1921"/>
                <a:gd name="T17" fmla="*/ 0 h 4320"/>
                <a:gd name="T18" fmla="*/ 0 w 1921"/>
                <a:gd name="T19" fmla="*/ 0 h 4320"/>
                <a:gd name="T20" fmla="*/ 0 w 1921"/>
                <a:gd name="T21" fmla="*/ 0 h 4320"/>
                <a:gd name="T22" fmla="*/ 0 w 1921"/>
                <a:gd name="T23" fmla="*/ 0 h 4320"/>
                <a:gd name="T24" fmla="*/ 0 w 1921"/>
                <a:gd name="T25" fmla="*/ 0 h 4320"/>
                <a:gd name="T26" fmla="*/ 0 w 1921"/>
                <a:gd name="T27" fmla="*/ 0 h 4320"/>
                <a:gd name="T28" fmla="*/ 0 w 1921"/>
                <a:gd name="T29" fmla="*/ 0 h 4320"/>
                <a:gd name="T30" fmla="*/ 0 w 1921"/>
                <a:gd name="T31" fmla="*/ 0 h 4320"/>
                <a:gd name="T32" fmla="*/ 0 w 1921"/>
                <a:gd name="T33" fmla="*/ 0 h 4320"/>
                <a:gd name="T34" fmla="*/ 0 w 1921"/>
                <a:gd name="T35" fmla="*/ 0 h 4320"/>
                <a:gd name="T36" fmla="*/ 0 w 1921"/>
                <a:gd name="T37" fmla="*/ 0 h 4320"/>
                <a:gd name="T38" fmla="*/ 0 w 1921"/>
                <a:gd name="T39" fmla="*/ 0 h 4320"/>
                <a:gd name="T40" fmla="*/ 0 w 1921"/>
                <a:gd name="T41" fmla="*/ 0 h 4320"/>
                <a:gd name="T42" fmla="*/ 0 w 1921"/>
                <a:gd name="T43" fmla="*/ 0 h 4320"/>
                <a:gd name="T44" fmla="*/ 0 w 1921"/>
                <a:gd name="T45" fmla="*/ 0 h 4320"/>
                <a:gd name="T46" fmla="*/ 0 w 1921"/>
                <a:gd name="T47" fmla="*/ 0 h 4320"/>
                <a:gd name="T48" fmla="*/ 0 w 1921"/>
                <a:gd name="T49" fmla="*/ 0 h 4320"/>
                <a:gd name="T50" fmla="*/ 0 w 1921"/>
                <a:gd name="T51" fmla="*/ 0 h 4320"/>
                <a:gd name="T52" fmla="*/ 0 w 1921"/>
                <a:gd name="T53" fmla="*/ 0 h 4320"/>
                <a:gd name="T54" fmla="*/ 0 w 1921"/>
                <a:gd name="T55" fmla="*/ 0 h 4320"/>
                <a:gd name="T56" fmla="*/ 0 w 1921"/>
                <a:gd name="T57" fmla="*/ 0 h 4320"/>
                <a:gd name="T58" fmla="*/ 0 w 1921"/>
                <a:gd name="T59" fmla="*/ 0 h 4320"/>
                <a:gd name="T60" fmla="*/ 0 w 1921"/>
                <a:gd name="T61" fmla="*/ 0 h 4320"/>
                <a:gd name="T62" fmla="*/ 0 w 1921"/>
                <a:gd name="T63" fmla="*/ 0 h 4320"/>
                <a:gd name="T64" fmla="*/ 0 w 1921"/>
                <a:gd name="T65" fmla="*/ 0 h 4320"/>
                <a:gd name="T66" fmla="*/ 0 w 1921"/>
                <a:gd name="T67" fmla="*/ 0 h 4320"/>
                <a:gd name="T68" fmla="*/ 0 w 1921"/>
                <a:gd name="T69" fmla="*/ 0 h 4320"/>
                <a:gd name="T70" fmla="*/ 0 w 1921"/>
                <a:gd name="T71" fmla="*/ 0 h 4320"/>
                <a:gd name="T72" fmla="*/ 0 w 1921"/>
                <a:gd name="T73" fmla="*/ 0 h 4320"/>
                <a:gd name="T74" fmla="*/ 0 w 1921"/>
                <a:gd name="T75" fmla="*/ 0 h 4320"/>
                <a:gd name="T76" fmla="*/ 0 w 1921"/>
                <a:gd name="T77" fmla="*/ 0 h 4320"/>
                <a:gd name="T78" fmla="*/ 0 w 1921"/>
                <a:gd name="T79" fmla="*/ 0 h 4320"/>
                <a:gd name="T80" fmla="*/ 0 w 1921"/>
                <a:gd name="T81" fmla="*/ 0 h 4320"/>
                <a:gd name="T82" fmla="*/ 0 w 1921"/>
                <a:gd name="T83" fmla="*/ 0 h 4320"/>
                <a:gd name="T84" fmla="*/ 0 w 1921"/>
                <a:gd name="T85" fmla="*/ 0 h 4320"/>
                <a:gd name="T86" fmla="*/ 0 w 1921"/>
                <a:gd name="T87" fmla="*/ 0 h 4320"/>
                <a:gd name="T88" fmla="*/ 0 w 1921"/>
                <a:gd name="T89" fmla="*/ 0 h 4320"/>
                <a:gd name="T90" fmla="*/ 0 w 1921"/>
                <a:gd name="T91" fmla="*/ 0 h 4320"/>
                <a:gd name="T92" fmla="*/ 0 w 1921"/>
                <a:gd name="T93" fmla="*/ 0 h 4320"/>
                <a:gd name="T94" fmla="*/ 0 w 1921"/>
                <a:gd name="T95" fmla="*/ 0 h 4320"/>
                <a:gd name="T96" fmla="*/ 0 w 1921"/>
                <a:gd name="T97" fmla="*/ 0 h 4320"/>
                <a:gd name="T98" fmla="*/ 0 w 1921"/>
                <a:gd name="T99" fmla="*/ 0 h 4320"/>
                <a:gd name="T100" fmla="*/ 0 w 1921"/>
                <a:gd name="T101" fmla="*/ 0 h 4320"/>
                <a:gd name="T102" fmla="*/ 0 w 1921"/>
                <a:gd name="T103" fmla="*/ 0 h 4320"/>
                <a:gd name="T104" fmla="*/ 0 w 1921"/>
                <a:gd name="T105" fmla="*/ 0 h 4320"/>
                <a:gd name="T106" fmla="*/ 0 w 1921"/>
                <a:gd name="T107" fmla="*/ 0 h 432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921"/>
                <a:gd name="T163" fmla="*/ 0 h 4320"/>
                <a:gd name="T164" fmla="*/ 1921 w 1921"/>
                <a:gd name="T165" fmla="*/ 4320 h 432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921" h="4320">
                  <a:moveTo>
                    <a:pt x="1199" y="232"/>
                  </a:moveTo>
                  <a:cubicBezTo>
                    <a:pt x="1199" y="234"/>
                    <a:pt x="1197" y="236"/>
                    <a:pt x="1196" y="238"/>
                  </a:cubicBezTo>
                  <a:cubicBezTo>
                    <a:pt x="1194" y="239"/>
                    <a:pt x="1191" y="240"/>
                    <a:pt x="1189" y="240"/>
                  </a:cubicBezTo>
                  <a:lnTo>
                    <a:pt x="982" y="199"/>
                  </a:lnTo>
                  <a:lnTo>
                    <a:pt x="991" y="194"/>
                  </a:lnTo>
                  <a:lnTo>
                    <a:pt x="945" y="336"/>
                  </a:lnTo>
                  <a:cubicBezTo>
                    <a:pt x="944" y="339"/>
                    <a:pt x="940" y="341"/>
                    <a:pt x="937" y="341"/>
                  </a:cubicBezTo>
                  <a:lnTo>
                    <a:pt x="821" y="341"/>
                  </a:lnTo>
                  <a:lnTo>
                    <a:pt x="827" y="339"/>
                  </a:lnTo>
                  <a:lnTo>
                    <a:pt x="734" y="440"/>
                  </a:lnTo>
                  <a:lnTo>
                    <a:pt x="736" y="435"/>
                  </a:lnTo>
                  <a:lnTo>
                    <a:pt x="736" y="557"/>
                  </a:lnTo>
                  <a:lnTo>
                    <a:pt x="735" y="555"/>
                  </a:lnTo>
                  <a:lnTo>
                    <a:pt x="757" y="656"/>
                  </a:lnTo>
                  <a:cubicBezTo>
                    <a:pt x="758" y="659"/>
                    <a:pt x="757" y="662"/>
                    <a:pt x="755" y="664"/>
                  </a:cubicBezTo>
                  <a:lnTo>
                    <a:pt x="592" y="806"/>
                  </a:lnTo>
                  <a:lnTo>
                    <a:pt x="595" y="800"/>
                  </a:lnTo>
                  <a:lnTo>
                    <a:pt x="595" y="963"/>
                  </a:lnTo>
                  <a:cubicBezTo>
                    <a:pt x="595" y="966"/>
                    <a:pt x="593" y="968"/>
                    <a:pt x="591" y="970"/>
                  </a:cubicBezTo>
                  <a:lnTo>
                    <a:pt x="475" y="1031"/>
                  </a:lnTo>
                  <a:lnTo>
                    <a:pt x="479" y="1024"/>
                  </a:lnTo>
                  <a:lnTo>
                    <a:pt x="479" y="1267"/>
                  </a:lnTo>
                  <a:cubicBezTo>
                    <a:pt x="479" y="1269"/>
                    <a:pt x="479" y="1270"/>
                    <a:pt x="478" y="1272"/>
                  </a:cubicBezTo>
                  <a:lnTo>
                    <a:pt x="340" y="1475"/>
                  </a:lnTo>
                  <a:lnTo>
                    <a:pt x="337" y="1463"/>
                  </a:lnTo>
                  <a:lnTo>
                    <a:pt x="453" y="1524"/>
                  </a:lnTo>
                  <a:cubicBezTo>
                    <a:pt x="457" y="1526"/>
                    <a:pt x="458" y="1530"/>
                    <a:pt x="457" y="1534"/>
                  </a:cubicBezTo>
                  <a:lnTo>
                    <a:pt x="410" y="1676"/>
                  </a:lnTo>
                  <a:cubicBezTo>
                    <a:pt x="409" y="1679"/>
                    <a:pt x="406" y="1681"/>
                    <a:pt x="403" y="1681"/>
                  </a:cubicBezTo>
                  <a:lnTo>
                    <a:pt x="194" y="1701"/>
                  </a:lnTo>
                  <a:lnTo>
                    <a:pt x="200" y="1697"/>
                  </a:lnTo>
                  <a:lnTo>
                    <a:pt x="107" y="1880"/>
                  </a:lnTo>
                  <a:lnTo>
                    <a:pt x="107" y="1875"/>
                  </a:lnTo>
                  <a:lnTo>
                    <a:pt x="154" y="2180"/>
                  </a:lnTo>
                  <a:cubicBezTo>
                    <a:pt x="154" y="2180"/>
                    <a:pt x="154" y="2180"/>
                    <a:pt x="154" y="2181"/>
                  </a:cubicBezTo>
                  <a:lnTo>
                    <a:pt x="154" y="2384"/>
                  </a:lnTo>
                  <a:lnTo>
                    <a:pt x="152" y="2378"/>
                  </a:lnTo>
                  <a:lnTo>
                    <a:pt x="267" y="2479"/>
                  </a:lnTo>
                  <a:cubicBezTo>
                    <a:pt x="269" y="2481"/>
                    <a:pt x="270" y="2483"/>
                    <a:pt x="270" y="2485"/>
                  </a:cubicBezTo>
                  <a:lnTo>
                    <a:pt x="270" y="2587"/>
                  </a:lnTo>
                  <a:cubicBezTo>
                    <a:pt x="270" y="2588"/>
                    <a:pt x="269" y="2590"/>
                    <a:pt x="269" y="2591"/>
                  </a:cubicBezTo>
                  <a:lnTo>
                    <a:pt x="200" y="2693"/>
                  </a:lnTo>
                  <a:lnTo>
                    <a:pt x="201" y="2688"/>
                  </a:lnTo>
                  <a:lnTo>
                    <a:pt x="201" y="2912"/>
                  </a:lnTo>
                  <a:cubicBezTo>
                    <a:pt x="201" y="2914"/>
                    <a:pt x="200" y="2916"/>
                    <a:pt x="198" y="2918"/>
                  </a:cubicBezTo>
                  <a:lnTo>
                    <a:pt x="105" y="2999"/>
                  </a:lnTo>
                  <a:lnTo>
                    <a:pt x="107" y="2994"/>
                  </a:lnTo>
                  <a:lnTo>
                    <a:pt x="63" y="3238"/>
                  </a:lnTo>
                  <a:cubicBezTo>
                    <a:pt x="63" y="3241"/>
                    <a:pt x="61" y="3243"/>
                    <a:pt x="58" y="3244"/>
                  </a:cubicBezTo>
                  <a:lnTo>
                    <a:pt x="12" y="3264"/>
                  </a:lnTo>
                  <a:lnTo>
                    <a:pt x="16" y="3255"/>
                  </a:lnTo>
                  <a:lnTo>
                    <a:pt x="38" y="3377"/>
                  </a:lnTo>
                  <a:lnTo>
                    <a:pt x="36" y="3373"/>
                  </a:lnTo>
                  <a:lnTo>
                    <a:pt x="105" y="3433"/>
                  </a:lnTo>
                  <a:cubicBezTo>
                    <a:pt x="106" y="3434"/>
                    <a:pt x="106" y="3435"/>
                    <a:pt x="107" y="3436"/>
                  </a:cubicBezTo>
                  <a:lnTo>
                    <a:pt x="132" y="3497"/>
                  </a:lnTo>
                  <a:cubicBezTo>
                    <a:pt x="132" y="3498"/>
                    <a:pt x="132" y="3499"/>
                    <a:pt x="132" y="3500"/>
                  </a:cubicBezTo>
                  <a:lnTo>
                    <a:pt x="132" y="3663"/>
                  </a:lnTo>
                  <a:lnTo>
                    <a:pt x="131" y="3658"/>
                  </a:lnTo>
                  <a:lnTo>
                    <a:pt x="246" y="3821"/>
                  </a:lnTo>
                  <a:lnTo>
                    <a:pt x="315" y="3901"/>
                  </a:lnTo>
                  <a:cubicBezTo>
                    <a:pt x="316" y="3902"/>
                    <a:pt x="316" y="3903"/>
                    <a:pt x="316" y="3904"/>
                  </a:cubicBezTo>
                  <a:lnTo>
                    <a:pt x="341" y="3985"/>
                  </a:lnTo>
                  <a:cubicBezTo>
                    <a:pt x="342" y="3987"/>
                    <a:pt x="342" y="3989"/>
                    <a:pt x="341" y="3991"/>
                  </a:cubicBezTo>
                  <a:lnTo>
                    <a:pt x="316" y="4052"/>
                  </a:lnTo>
                  <a:lnTo>
                    <a:pt x="317" y="4049"/>
                  </a:lnTo>
                  <a:lnTo>
                    <a:pt x="317" y="4109"/>
                  </a:lnTo>
                  <a:lnTo>
                    <a:pt x="314" y="4103"/>
                  </a:lnTo>
                  <a:lnTo>
                    <a:pt x="361" y="4144"/>
                  </a:lnTo>
                  <a:cubicBezTo>
                    <a:pt x="362" y="4145"/>
                    <a:pt x="363" y="4146"/>
                    <a:pt x="363" y="4148"/>
                  </a:cubicBezTo>
                  <a:lnTo>
                    <a:pt x="388" y="4229"/>
                  </a:lnTo>
                  <a:cubicBezTo>
                    <a:pt x="388" y="4230"/>
                    <a:pt x="388" y="4230"/>
                    <a:pt x="388" y="4231"/>
                  </a:cubicBezTo>
                  <a:lnTo>
                    <a:pt x="388" y="4312"/>
                  </a:lnTo>
                  <a:lnTo>
                    <a:pt x="380" y="4304"/>
                  </a:lnTo>
                  <a:lnTo>
                    <a:pt x="565" y="4304"/>
                  </a:lnTo>
                  <a:lnTo>
                    <a:pt x="562" y="4305"/>
                  </a:lnTo>
                  <a:lnTo>
                    <a:pt x="656" y="4265"/>
                  </a:lnTo>
                  <a:lnTo>
                    <a:pt x="651" y="4270"/>
                  </a:lnTo>
                  <a:lnTo>
                    <a:pt x="673" y="4189"/>
                  </a:lnTo>
                  <a:cubicBezTo>
                    <a:pt x="673" y="4188"/>
                    <a:pt x="674" y="4187"/>
                    <a:pt x="674" y="4187"/>
                  </a:cubicBezTo>
                  <a:lnTo>
                    <a:pt x="721" y="4105"/>
                  </a:lnTo>
                  <a:cubicBezTo>
                    <a:pt x="721" y="4104"/>
                    <a:pt x="722" y="4103"/>
                    <a:pt x="724" y="4103"/>
                  </a:cubicBezTo>
                  <a:lnTo>
                    <a:pt x="792" y="4062"/>
                  </a:lnTo>
                  <a:cubicBezTo>
                    <a:pt x="794" y="4061"/>
                    <a:pt x="796" y="4061"/>
                    <a:pt x="797" y="4061"/>
                  </a:cubicBezTo>
                  <a:lnTo>
                    <a:pt x="985" y="4081"/>
                  </a:lnTo>
                  <a:lnTo>
                    <a:pt x="976" y="4087"/>
                  </a:lnTo>
                  <a:lnTo>
                    <a:pt x="1067" y="3742"/>
                  </a:lnTo>
                  <a:lnTo>
                    <a:pt x="1092" y="3660"/>
                  </a:lnTo>
                  <a:lnTo>
                    <a:pt x="1092" y="3665"/>
                  </a:lnTo>
                  <a:lnTo>
                    <a:pt x="1067" y="3584"/>
                  </a:lnTo>
                  <a:cubicBezTo>
                    <a:pt x="1067" y="3583"/>
                    <a:pt x="1067" y="3582"/>
                    <a:pt x="1067" y="3582"/>
                  </a:cubicBezTo>
                  <a:lnTo>
                    <a:pt x="1067" y="3480"/>
                  </a:lnTo>
                  <a:cubicBezTo>
                    <a:pt x="1067" y="3479"/>
                    <a:pt x="1067" y="3479"/>
                    <a:pt x="1067" y="3478"/>
                  </a:cubicBezTo>
                  <a:lnTo>
                    <a:pt x="1092" y="3397"/>
                  </a:lnTo>
                  <a:lnTo>
                    <a:pt x="1114" y="3296"/>
                  </a:lnTo>
                  <a:cubicBezTo>
                    <a:pt x="1114" y="3295"/>
                    <a:pt x="1115" y="3293"/>
                    <a:pt x="1115" y="3292"/>
                  </a:cubicBezTo>
                  <a:lnTo>
                    <a:pt x="1162" y="3232"/>
                  </a:lnTo>
                  <a:cubicBezTo>
                    <a:pt x="1163" y="3231"/>
                    <a:pt x="1164" y="3230"/>
                    <a:pt x="1164" y="3230"/>
                  </a:cubicBezTo>
                  <a:lnTo>
                    <a:pt x="1305" y="3148"/>
                  </a:lnTo>
                  <a:lnTo>
                    <a:pt x="1374" y="3108"/>
                  </a:lnTo>
                  <a:lnTo>
                    <a:pt x="1370" y="3115"/>
                  </a:lnTo>
                  <a:lnTo>
                    <a:pt x="1370" y="3033"/>
                  </a:lnTo>
                  <a:cubicBezTo>
                    <a:pt x="1370" y="3033"/>
                    <a:pt x="1370" y="3032"/>
                    <a:pt x="1370" y="3031"/>
                  </a:cubicBezTo>
                  <a:lnTo>
                    <a:pt x="1392" y="2970"/>
                  </a:lnTo>
                  <a:cubicBezTo>
                    <a:pt x="1393" y="2969"/>
                    <a:pt x="1393" y="2968"/>
                    <a:pt x="1394" y="2968"/>
                  </a:cubicBezTo>
                  <a:lnTo>
                    <a:pt x="1440" y="2907"/>
                  </a:lnTo>
                  <a:lnTo>
                    <a:pt x="1441" y="2917"/>
                  </a:lnTo>
                  <a:lnTo>
                    <a:pt x="1325" y="2775"/>
                  </a:lnTo>
                  <a:lnTo>
                    <a:pt x="1327" y="2777"/>
                  </a:lnTo>
                  <a:lnTo>
                    <a:pt x="1143" y="2675"/>
                  </a:lnTo>
                  <a:lnTo>
                    <a:pt x="1096" y="2655"/>
                  </a:lnTo>
                  <a:cubicBezTo>
                    <a:pt x="1095" y="2654"/>
                    <a:pt x="1094" y="2653"/>
                    <a:pt x="1093" y="2652"/>
                  </a:cubicBezTo>
                  <a:lnTo>
                    <a:pt x="1068" y="2611"/>
                  </a:lnTo>
                  <a:cubicBezTo>
                    <a:pt x="1067" y="2610"/>
                    <a:pt x="1067" y="2609"/>
                    <a:pt x="1067" y="2607"/>
                  </a:cubicBezTo>
                  <a:lnTo>
                    <a:pt x="1067" y="2506"/>
                  </a:lnTo>
                  <a:lnTo>
                    <a:pt x="1045" y="2303"/>
                  </a:lnTo>
                  <a:cubicBezTo>
                    <a:pt x="1045" y="2303"/>
                    <a:pt x="1045" y="2302"/>
                    <a:pt x="1045" y="2302"/>
                  </a:cubicBezTo>
                  <a:lnTo>
                    <a:pt x="1067" y="2119"/>
                  </a:lnTo>
                  <a:cubicBezTo>
                    <a:pt x="1067" y="2118"/>
                    <a:pt x="1067" y="2117"/>
                    <a:pt x="1068" y="2116"/>
                  </a:cubicBezTo>
                  <a:lnTo>
                    <a:pt x="1184" y="1933"/>
                  </a:lnTo>
                  <a:cubicBezTo>
                    <a:pt x="1184" y="1932"/>
                    <a:pt x="1184" y="1932"/>
                    <a:pt x="1185" y="1932"/>
                  </a:cubicBezTo>
                  <a:lnTo>
                    <a:pt x="1325" y="1789"/>
                  </a:lnTo>
                  <a:lnTo>
                    <a:pt x="1488" y="1647"/>
                  </a:lnTo>
                  <a:lnTo>
                    <a:pt x="1487" y="1648"/>
                  </a:lnTo>
                  <a:lnTo>
                    <a:pt x="1534" y="1587"/>
                  </a:lnTo>
                  <a:lnTo>
                    <a:pt x="1533" y="1590"/>
                  </a:lnTo>
                  <a:lnTo>
                    <a:pt x="1555" y="1489"/>
                  </a:lnTo>
                  <a:cubicBezTo>
                    <a:pt x="1555" y="1488"/>
                    <a:pt x="1555" y="1487"/>
                    <a:pt x="1556" y="1486"/>
                  </a:cubicBezTo>
                  <a:lnTo>
                    <a:pt x="1603" y="1425"/>
                  </a:lnTo>
                  <a:lnTo>
                    <a:pt x="1601" y="1430"/>
                  </a:lnTo>
                  <a:lnTo>
                    <a:pt x="1601" y="1369"/>
                  </a:lnTo>
                  <a:lnTo>
                    <a:pt x="1602" y="1370"/>
                  </a:lnTo>
                  <a:lnTo>
                    <a:pt x="1579" y="1269"/>
                  </a:lnTo>
                  <a:cubicBezTo>
                    <a:pt x="1579" y="1268"/>
                    <a:pt x="1579" y="1266"/>
                    <a:pt x="1580" y="1265"/>
                  </a:cubicBezTo>
                  <a:lnTo>
                    <a:pt x="1602" y="1184"/>
                  </a:lnTo>
                  <a:cubicBezTo>
                    <a:pt x="1602" y="1183"/>
                    <a:pt x="1602" y="1182"/>
                    <a:pt x="1603" y="1181"/>
                  </a:cubicBezTo>
                  <a:lnTo>
                    <a:pt x="1672" y="1080"/>
                  </a:lnTo>
                  <a:lnTo>
                    <a:pt x="1670" y="1083"/>
                  </a:lnTo>
                  <a:lnTo>
                    <a:pt x="1695" y="981"/>
                  </a:lnTo>
                  <a:cubicBezTo>
                    <a:pt x="1696" y="978"/>
                    <a:pt x="1699" y="975"/>
                    <a:pt x="1702" y="975"/>
                  </a:cubicBezTo>
                  <a:lnTo>
                    <a:pt x="1887" y="955"/>
                  </a:lnTo>
                  <a:lnTo>
                    <a:pt x="1912" y="955"/>
                  </a:lnTo>
                  <a:lnTo>
                    <a:pt x="1905" y="966"/>
                  </a:lnTo>
                  <a:lnTo>
                    <a:pt x="1858" y="844"/>
                  </a:lnTo>
                  <a:lnTo>
                    <a:pt x="1812" y="743"/>
                  </a:lnTo>
                  <a:cubicBezTo>
                    <a:pt x="1811" y="742"/>
                    <a:pt x="1811" y="741"/>
                    <a:pt x="1811" y="741"/>
                  </a:cubicBezTo>
                  <a:lnTo>
                    <a:pt x="1789" y="619"/>
                  </a:lnTo>
                  <a:cubicBezTo>
                    <a:pt x="1789" y="618"/>
                    <a:pt x="1789" y="618"/>
                    <a:pt x="1789" y="618"/>
                  </a:cubicBezTo>
                  <a:lnTo>
                    <a:pt x="1789" y="496"/>
                  </a:lnTo>
                  <a:lnTo>
                    <a:pt x="1792" y="502"/>
                  </a:lnTo>
                  <a:lnTo>
                    <a:pt x="1674" y="421"/>
                  </a:lnTo>
                  <a:cubicBezTo>
                    <a:pt x="1672" y="420"/>
                    <a:pt x="1670" y="417"/>
                    <a:pt x="1670" y="415"/>
                  </a:cubicBezTo>
                  <a:lnTo>
                    <a:pt x="1670" y="313"/>
                  </a:lnTo>
                  <a:lnTo>
                    <a:pt x="1672" y="318"/>
                  </a:lnTo>
                  <a:lnTo>
                    <a:pt x="1581" y="217"/>
                  </a:lnTo>
                  <a:lnTo>
                    <a:pt x="1584" y="219"/>
                  </a:lnTo>
                  <a:lnTo>
                    <a:pt x="1328" y="117"/>
                  </a:lnTo>
                  <a:cubicBezTo>
                    <a:pt x="1327" y="117"/>
                    <a:pt x="1326" y="116"/>
                    <a:pt x="1325" y="115"/>
                  </a:cubicBezTo>
                  <a:lnTo>
                    <a:pt x="1231" y="14"/>
                  </a:lnTo>
                  <a:lnTo>
                    <a:pt x="1241" y="16"/>
                  </a:lnTo>
                  <a:lnTo>
                    <a:pt x="1194" y="36"/>
                  </a:lnTo>
                  <a:lnTo>
                    <a:pt x="1199" y="29"/>
                  </a:lnTo>
                  <a:lnTo>
                    <a:pt x="1199" y="232"/>
                  </a:lnTo>
                  <a:close/>
                  <a:moveTo>
                    <a:pt x="1183" y="29"/>
                  </a:moveTo>
                  <a:cubicBezTo>
                    <a:pt x="1183" y="26"/>
                    <a:pt x="1184" y="23"/>
                    <a:pt x="1187" y="21"/>
                  </a:cubicBezTo>
                  <a:lnTo>
                    <a:pt x="1234" y="1"/>
                  </a:lnTo>
                  <a:cubicBezTo>
                    <a:pt x="1237" y="0"/>
                    <a:pt x="1241" y="1"/>
                    <a:pt x="1243" y="3"/>
                  </a:cubicBezTo>
                  <a:lnTo>
                    <a:pt x="1337" y="105"/>
                  </a:lnTo>
                  <a:lnTo>
                    <a:pt x="1334" y="103"/>
                  </a:lnTo>
                  <a:lnTo>
                    <a:pt x="1590" y="204"/>
                  </a:lnTo>
                  <a:cubicBezTo>
                    <a:pt x="1591" y="205"/>
                    <a:pt x="1592" y="205"/>
                    <a:pt x="1593" y="206"/>
                  </a:cubicBezTo>
                  <a:lnTo>
                    <a:pt x="1684" y="308"/>
                  </a:lnTo>
                  <a:cubicBezTo>
                    <a:pt x="1686" y="309"/>
                    <a:pt x="1686" y="311"/>
                    <a:pt x="1686" y="313"/>
                  </a:cubicBezTo>
                  <a:lnTo>
                    <a:pt x="1686" y="415"/>
                  </a:lnTo>
                  <a:lnTo>
                    <a:pt x="1683" y="408"/>
                  </a:lnTo>
                  <a:lnTo>
                    <a:pt x="1801" y="489"/>
                  </a:lnTo>
                  <a:cubicBezTo>
                    <a:pt x="1803" y="491"/>
                    <a:pt x="1805" y="493"/>
                    <a:pt x="1805" y="496"/>
                  </a:cubicBezTo>
                  <a:lnTo>
                    <a:pt x="1805" y="618"/>
                  </a:lnTo>
                  <a:lnTo>
                    <a:pt x="1805" y="616"/>
                  </a:lnTo>
                  <a:lnTo>
                    <a:pt x="1827" y="738"/>
                  </a:lnTo>
                  <a:lnTo>
                    <a:pt x="1826" y="736"/>
                  </a:lnTo>
                  <a:lnTo>
                    <a:pt x="1873" y="838"/>
                  </a:lnTo>
                  <a:lnTo>
                    <a:pt x="1920" y="960"/>
                  </a:lnTo>
                  <a:cubicBezTo>
                    <a:pt x="1921" y="962"/>
                    <a:pt x="1921" y="965"/>
                    <a:pt x="1919" y="967"/>
                  </a:cubicBezTo>
                  <a:cubicBezTo>
                    <a:pt x="1918" y="969"/>
                    <a:pt x="1915" y="971"/>
                    <a:pt x="1912" y="971"/>
                  </a:cubicBezTo>
                  <a:lnTo>
                    <a:pt x="1889" y="971"/>
                  </a:lnTo>
                  <a:lnTo>
                    <a:pt x="1704" y="991"/>
                  </a:lnTo>
                  <a:lnTo>
                    <a:pt x="1711" y="985"/>
                  </a:lnTo>
                  <a:lnTo>
                    <a:pt x="1686" y="1086"/>
                  </a:lnTo>
                  <a:cubicBezTo>
                    <a:pt x="1686" y="1087"/>
                    <a:pt x="1685" y="1088"/>
                    <a:pt x="1685" y="1089"/>
                  </a:cubicBezTo>
                  <a:lnTo>
                    <a:pt x="1616" y="1190"/>
                  </a:lnTo>
                  <a:lnTo>
                    <a:pt x="1617" y="1188"/>
                  </a:lnTo>
                  <a:lnTo>
                    <a:pt x="1595" y="1269"/>
                  </a:lnTo>
                  <a:lnTo>
                    <a:pt x="1595" y="1265"/>
                  </a:lnTo>
                  <a:lnTo>
                    <a:pt x="1617" y="1367"/>
                  </a:lnTo>
                  <a:cubicBezTo>
                    <a:pt x="1617" y="1368"/>
                    <a:pt x="1617" y="1368"/>
                    <a:pt x="1617" y="1369"/>
                  </a:cubicBezTo>
                  <a:lnTo>
                    <a:pt x="1617" y="1430"/>
                  </a:lnTo>
                  <a:cubicBezTo>
                    <a:pt x="1617" y="1431"/>
                    <a:pt x="1617" y="1433"/>
                    <a:pt x="1616" y="1434"/>
                  </a:cubicBezTo>
                  <a:lnTo>
                    <a:pt x="1569" y="1495"/>
                  </a:lnTo>
                  <a:lnTo>
                    <a:pt x="1570" y="1492"/>
                  </a:lnTo>
                  <a:lnTo>
                    <a:pt x="1548" y="1594"/>
                  </a:lnTo>
                  <a:cubicBezTo>
                    <a:pt x="1548" y="1595"/>
                    <a:pt x="1548" y="1596"/>
                    <a:pt x="1547" y="1597"/>
                  </a:cubicBezTo>
                  <a:lnTo>
                    <a:pt x="1500" y="1658"/>
                  </a:lnTo>
                  <a:cubicBezTo>
                    <a:pt x="1500" y="1658"/>
                    <a:pt x="1499" y="1659"/>
                    <a:pt x="1499" y="1659"/>
                  </a:cubicBezTo>
                  <a:lnTo>
                    <a:pt x="1337" y="1801"/>
                  </a:lnTo>
                  <a:lnTo>
                    <a:pt x="1196" y="1943"/>
                  </a:lnTo>
                  <a:lnTo>
                    <a:pt x="1197" y="1941"/>
                  </a:lnTo>
                  <a:lnTo>
                    <a:pt x="1082" y="2124"/>
                  </a:lnTo>
                  <a:lnTo>
                    <a:pt x="1083" y="2121"/>
                  </a:lnTo>
                  <a:lnTo>
                    <a:pt x="1061" y="2304"/>
                  </a:lnTo>
                  <a:lnTo>
                    <a:pt x="1061" y="2302"/>
                  </a:lnTo>
                  <a:lnTo>
                    <a:pt x="1083" y="2506"/>
                  </a:lnTo>
                  <a:lnTo>
                    <a:pt x="1083" y="2607"/>
                  </a:lnTo>
                  <a:lnTo>
                    <a:pt x="1082" y="2603"/>
                  </a:lnTo>
                  <a:lnTo>
                    <a:pt x="1106" y="2644"/>
                  </a:lnTo>
                  <a:lnTo>
                    <a:pt x="1103" y="2640"/>
                  </a:lnTo>
                  <a:lnTo>
                    <a:pt x="1150" y="2661"/>
                  </a:lnTo>
                  <a:lnTo>
                    <a:pt x="1335" y="2763"/>
                  </a:lnTo>
                  <a:cubicBezTo>
                    <a:pt x="1336" y="2763"/>
                    <a:pt x="1337" y="2764"/>
                    <a:pt x="1337" y="2764"/>
                  </a:cubicBezTo>
                  <a:lnTo>
                    <a:pt x="1453" y="2907"/>
                  </a:lnTo>
                  <a:cubicBezTo>
                    <a:pt x="1455" y="2909"/>
                    <a:pt x="1455" y="2914"/>
                    <a:pt x="1453" y="2917"/>
                  </a:cubicBezTo>
                  <a:lnTo>
                    <a:pt x="1406" y="2977"/>
                  </a:lnTo>
                  <a:lnTo>
                    <a:pt x="1407" y="2975"/>
                  </a:lnTo>
                  <a:lnTo>
                    <a:pt x="1385" y="3036"/>
                  </a:lnTo>
                  <a:lnTo>
                    <a:pt x="1386" y="3033"/>
                  </a:lnTo>
                  <a:lnTo>
                    <a:pt x="1386" y="3115"/>
                  </a:lnTo>
                  <a:cubicBezTo>
                    <a:pt x="1386" y="3117"/>
                    <a:pt x="1384" y="3120"/>
                    <a:pt x="1382" y="3122"/>
                  </a:cubicBezTo>
                  <a:lnTo>
                    <a:pt x="1313" y="3162"/>
                  </a:lnTo>
                  <a:lnTo>
                    <a:pt x="1173" y="3243"/>
                  </a:lnTo>
                  <a:lnTo>
                    <a:pt x="1175" y="3241"/>
                  </a:lnTo>
                  <a:lnTo>
                    <a:pt x="1128" y="3302"/>
                  </a:lnTo>
                  <a:lnTo>
                    <a:pt x="1129" y="3299"/>
                  </a:lnTo>
                  <a:lnTo>
                    <a:pt x="1107" y="3401"/>
                  </a:lnTo>
                  <a:lnTo>
                    <a:pt x="1082" y="3482"/>
                  </a:lnTo>
                  <a:lnTo>
                    <a:pt x="1083" y="3480"/>
                  </a:lnTo>
                  <a:lnTo>
                    <a:pt x="1083" y="3582"/>
                  </a:lnTo>
                  <a:lnTo>
                    <a:pt x="1082" y="3579"/>
                  </a:lnTo>
                  <a:lnTo>
                    <a:pt x="1107" y="3660"/>
                  </a:lnTo>
                  <a:cubicBezTo>
                    <a:pt x="1108" y="3662"/>
                    <a:pt x="1108" y="3664"/>
                    <a:pt x="1107" y="3665"/>
                  </a:cubicBezTo>
                  <a:lnTo>
                    <a:pt x="1083" y="3746"/>
                  </a:lnTo>
                  <a:lnTo>
                    <a:pt x="992" y="4091"/>
                  </a:lnTo>
                  <a:cubicBezTo>
                    <a:pt x="991" y="4095"/>
                    <a:pt x="987" y="4098"/>
                    <a:pt x="983" y="4097"/>
                  </a:cubicBezTo>
                  <a:lnTo>
                    <a:pt x="796" y="4077"/>
                  </a:lnTo>
                  <a:lnTo>
                    <a:pt x="801" y="4076"/>
                  </a:lnTo>
                  <a:lnTo>
                    <a:pt x="732" y="4116"/>
                  </a:lnTo>
                  <a:lnTo>
                    <a:pt x="735" y="4113"/>
                  </a:lnTo>
                  <a:lnTo>
                    <a:pt x="688" y="4195"/>
                  </a:lnTo>
                  <a:lnTo>
                    <a:pt x="689" y="4193"/>
                  </a:lnTo>
                  <a:lnTo>
                    <a:pt x="666" y="4274"/>
                  </a:lnTo>
                  <a:cubicBezTo>
                    <a:pt x="666" y="4276"/>
                    <a:pt x="664" y="4278"/>
                    <a:pt x="662" y="4279"/>
                  </a:cubicBezTo>
                  <a:lnTo>
                    <a:pt x="568" y="4320"/>
                  </a:lnTo>
                  <a:cubicBezTo>
                    <a:pt x="567" y="4320"/>
                    <a:pt x="566" y="4320"/>
                    <a:pt x="565" y="4320"/>
                  </a:cubicBezTo>
                  <a:lnTo>
                    <a:pt x="380" y="4320"/>
                  </a:lnTo>
                  <a:cubicBezTo>
                    <a:pt x="376" y="4320"/>
                    <a:pt x="372" y="4317"/>
                    <a:pt x="372" y="4312"/>
                  </a:cubicBezTo>
                  <a:lnTo>
                    <a:pt x="372" y="4231"/>
                  </a:lnTo>
                  <a:lnTo>
                    <a:pt x="373" y="4234"/>
                  </a:lnTo>
                  <a:lnTo>
                    <a:pt x="348" y="4152"/>
                  </a:lnTo>
                  <a:lnTo>
                    <a:pt x="350" y="4156"/>
                  </a:lnTo>
                  <a:lnTo>
                    <a:pt x="304" y="4115"/>
                  </a:lnTo>
                  <a:cubicBezTo>
                    <a:pt x="302" y="4114"/>
                    <a:pt x="301" y="4112"/>
                    <a:pt x="301" y="4109"/>
                  </a:cubicBezTo>
                  <a:lnTo>
                    <a:pt x="301" y="4049"/>
                  </a:lnTo>
                  <a:cubicBezTo>
                    <a:pt x="301" y="4048"/>
                    <a:pt x="301" y="4046"/>
                    <a:pt x="301" y="4046"/>
                  </a:cubicBezTo>
                  <a:lnTo>
                    <a:pt x="326" y="3985"/>
                  </a:lnTo>
                  <a:lnTo>
                    <a:pt x="326" y="3990"/>
                  </a:lnTo>
                  <a:lnTo>
                    <a:pt x="301" y="3909"/>
                  </a:lnTo>
                  <a:lnTo>
                    <a:pt x="303" y="3912"/>
                  </a:lnTo>
                  <a:lnTo>
                    <a:pt x="233" y="3830"/>
                  </a:lnTo>
                  <a:lnTo>
                    <a:pt x="118" y="3667"/>
                  </a:lnTo>
                  <a:cubicBezTo>
                    <a:pt x="117" y="3666"/>
                    <a:pt x="116" y="3664"/>
                    <a:pt x="116" y="3663"/>
                  </a:cubicBezTo>
                  <a:lnTo>
                    <a:pt x="116" y="3500"/>
                  </a:lnTo>
                  <a:lnTo>
                    <a:pt x="117" y="3503"/>
                  </a:lnTo>
                  <a:lnTo>
                    <a:pt x="92" y="3443"/>
                  </a:lnTo>
                  <a:lnTo>
                    <a:pt x="94" y="3445"/>
                  </a:lnTo>
                  <a:lnTo>
                    <a:pt x="25" y="3385"/>
                  </a:lnTo>
                  <a:cubicBezTo>
                    <a:pt x="24" y="3383"/>
                    <a:pt x="23" y="3382"/>
                    <a:pt x="23" y="3380"/>
                  </a:cubicBezTo>
                  <a:lnTo>
                    <a:pt x="1" y="3258"/>
                  </a:lnTo>
                  <a:cubicBezTo>
                    <a:pt x="0" y="3255"/>
                    <a:pt x="2" y="3251"/>
                    <a:pt x="5" y="3249"/>
                  </a:cubicBezTo>
                  <a:lnTo>
                    <a:pt x="52" y="3229"/>
                  </a:lnTo>
                  <a:lnTo>
                    <a:pt x="47" y="3235"/>
                  </a:lnTo>
                  <a:lnTo>
                    <a:pt x="92" y="2991"/>
                  </a:lnTo>
                  <a:cubicBezTo>
                    <a:pt x="92" y="2990"/>
                    <a:pt x="93" y="2988"/>
                    <a:pt x="94" y="2987"/>
                  </a:cubicBezTo>
                  <a:lnTo>
                    <a:pt x="188" y="2906"/>
                  </a:lnTo>
                  <a:lnTo>
                    <a:pt x="185" y="2912"/>
                  </a:lnTo>
                  <a:lnTo>
                    <a:pt x="185" y="2688"/>
                  </a:lnTo>
                  <a:cubicBezTo>
                    <a:pt x="185" y="2687"/>
                    <a:pt x="186" y="2685"/>
                    <a:pt x="186" y="2684"/>
                  </a:cubicBezTo>
                  <a:lnTo>
                    <a:pt x="255" y="2582"/>
                  </a:lnTo>
                  <a:lnTo>
                    <a:pt x="254" y="2587"/>
                  </a:lnTo>
                  <a:lnTo>
                    <a:pt x="254" y="2485"/>
                  </a:lnTo>
                  <a:lnTo>
                    <a:pt x="257" y="2491"/>
                  </a:lnTo>
                  <a:lnTo>
                    <a:pt x="141" y="2390"/>
                  </a:lnTo>
                  <a:cubicBezTo>
                    <a:pt x="139" y="2388"/>
                    <a:pt x="138" y="2386"/>
                    <a:pt x="138" y="2384"/>
                  </a:cubicBezTo>
                  <a:lnTo>
                    <a:pt x="138" y="2181"/>
                  </a:lnTo>
                  <a:lnTo>
                    <a:pt x="138" y="2182"/>
                  </a:lnTo>
                  <a:lnTo>
                    <a:pt x="91" y="1877"/>
                  </a:lnTo>
                  <a:cubicBezTo>
                    <a:pt x="91" y="1876"/>
                    <a:pt x="91" y="1874"/>
                    <a:pt x="92" y="1873"/>
                  </a:cubicBezTo>
                  <a:lnTo>
                    <a:pt x="186" y="1690"/>
                  </a:lnTo>
                  <a:cubicBezTo>
                    <a:pt x="187" y="1687"/>
                    <a:pt x="190" y="1686"/>
                    <a:pt x="192" y="1686"/>
                  </a:cubicBezTo>
                  <a:lnTo>
                    <a:pt x="402" y="1665"/>
                  </a:lnTo>
                  <a:lnTo>
                    <a:pt x="395" y="1671"/>
                  </a:lnTo>
                  <a:lnTo>
                    <a:pt x="442" y="1529"/>
                  </a:lnTo>
                  <a:lnTo>
                    <a:pt x="446" y="1538"/>
                  </a:lnTo>
                  <a:lnTo>
                    <a:pt x="330" y="1477"/>
                  </a:lnTo>
                  <a:cubicBezTo>
                    <a:pt x="328" y="1476"/>
                    <a:pt x="326" y="1474"/>
                    <a:pt x="326" y="1472"/>
                  </a:cubicBezTo>
                  <a:cubicBezTo>
                    <a:pt x="325" y="1470"/>
                    <a:pt x="326" y="1468"/>
                    <a:pt x="327" y="1466"/>
                  </a:cubicBezTo>
                  <a:lnTo>
                    <a:pt x="465" y="1263"/>
                  </a:lnTo>
                  <a:lnTo>
                    <a:pt x="463" y="1267"/>
                  </a:lnTo>
                  <a:lnTo>
                    <a:pt x="463" y="1024"/>
                  </a:lnTo>
                  <a:cubicBezTo>
                    <a:pt x="463" y="1021"/>
                    <a:pt x="465" y="1018"/>
                    <a:pt x="468" y="1016"/>
                  </a:cubicBezTo>
                  <a:lnTo>
                    <a:pt x="583" y="956"/>
                  </a:lnTo>
                  <a:lnTo>
                    <a:pt x="579" y="963"/>
                  </a:lnTo>
                  <a:lnTo>
                    <a:pt x="579" y="800"/>
                  </a:lnTo>
                  <a:cubicBezTo>
                    <a:pt x="579" y="798"/>
                    <a:pt x="580" y="796"/>
                    <a:pt x="582" y="794"/>
                  </a:cubicBezTo>
                  <a:lnTo>
                    <a:pt x="744" y="652"/>
                  </a:lnTo>
                  <a:lnTo>
                    <a:pt x="742" y="660"/>
                  </a:lnTo>
                  <a:lnTo>
                    <a:pt x="720" y="558"/>
                  </a:lnTo>
                  <a:cubicBezTo>
                    <a:pt x="720" y="558"/>
                    <a:pt x="720" y="557"/>
                    <a:pt x="720" y="557"/>
                  </a:cubicBezTo>
                  <a:lnTo>
                    <a:pt x="720" y="435"/>
                  </a:lnTo>
                  <a:cubicBezTo>
                    <a:pt x="720" y="433"/>
                    <a:pt x="720" y="431"/>
                    <a:pt x="722" y="429"/>
                  </a:cubicBezTo>
                  <a:lnTo>
                    <a:pt x="815" y="328"/>
                  </a:lnTo>
                  <a:cubicBezTo>
                    <a:pt x="817" y="326"/>
                    <a:pt x="819" y="325"/>
                    <a:pt x="821" y="325"/>
                  </a:cubicBezTo>
                  <a:lnTo>
                    <a:pt x="937" y="325"/>
                  </a:lnTo>
                  <a:lnTo>
                    <a:pt x="929" y="331"/>
                  </a:lnTo>
                  <a:lnTo>
                    <a:pt x="976" y="189"/>
                  </a:lnTo>
                  <a:cubicBezTo>
                    <a:pt x="978" y="185"/>
                    <a:pt x="981" y="183"/>
                    <a:pt x="985" y="183"/>
                  </a:cubicBezTo>
                  <a:lnTo>
                    <a:pt x="1192" y="224"/>
                  </a:lnTo>
                  <a:lnTo>
                    <a:pt x="1183" y="232"/>
                  </a:lnTo>
                  <a:lnTo>
                    <a:pt x="1183" y="29"/>
                  </a:lnTo>
                  <a:close/>
                </a:path>
              </a:pathLst>
            </a:custGeom>
            <a:solidFill>
              <a:srgbClr val="000000"/>
            </a:solidFill>
            <a:ln w="0" cap="flat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276" name="Rectangle 243"/>
            <p:cNvSpPr>
              <a:spLocks noChangeArrowheads="1"/>
            </p:cNvSpPr>
            <p:nvPr/>
          </p:nvSpPr>
          <p:spPr bwMode="auto">
            <a:xfrm>
              <a:off x="3824" y="1465"/>
              <a:ext cx="54" cy="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sz="500" b="1">
                  <a:solidFill>
                    <a:srgbClr val="000000"/>
                  </a:solidFill>
                </a:rPr>
                <a:t>SE</a:t>
              </a:r>
              <a:endParaRPr lang="de-DE"/>
            </a:p>
          </p:txBody>
        </p:sp>
        <p:sp>
          <p:nvSpPr>
            <p:cNvPr id="7277" name="Freeform 244"/>
            <p:cNvSpPr>
              <a:spLocks noEditPoints="1"/>
            </p:cNvSpPr>
            <p:nvPr/>
          </p:nvSpPr>
          <p:spPr bwMode="auto">
            <a:xfrm>
              <a:off x="3956" y="682"/>
              <a:ext cx="527" cy="774"/>
            </a:xfrm>
            <a:custGeom>
              <a:avLst/>
              <a:gdLst>
                <a:gd name="T0" fmla="*/ 0 w 2209"/>
                <a:gd name="T1" fmla="*/ 0 h 3248"/>
                <a:gd name="T2" fmla="*/ 0 w 2209"/>
                <a:gd name="T3" fmla="*/ 0 h 3248"/>
                <a:gd name="T4" fmla="*/ 0 w 2209"/>
                <a:gd name="T5" fmla="*/ 0 h 3248"/>
                <a:gd name="T6" fmla="*/ 0 w 2209"/>
                <a:gd name="T7" fmla="*/ 0 h 3248"/>
                <a:gd name="T8" fmla="*/ 0 w 2209"/>
                <a:gd name="T9" fmla="*/ 0 h 3248"/>
                <a:gd name="T10" fmla="*/ 0 w 2209"/>
                <a:gd name="T11" fmla="*/ 0 h 3248"/>
                <a:gd name="T12" fmla="*/ 0 w 2209"/>
                <a:gd name="T13" fmla="*/ 0 h 3248"/>
                <a:gd name="T14" fmla="*/ 0 w 2209"/>
                <a:gd name="T15" fmla="*/ 0 h 3248"/>
                <a:gd name="T16" fmla="*/ 0 w 2209"/>
                <a:gd name="T17" fmla="*/ 0 h 3248"/>
                <a:gd name="T18" fmla="*/ 0 w 2209"/>
                <a:gd name="T19" fmla="*/ 0 h 3248"/>
                <a:gd name="T20" fmla="*/ 0 w 2209"/>
                <a:gd name="T21" fmla="*/ 0 h 3248"/>
                <a:gd name="T22" fmla="*/ 0 w 2209"/>
                <a:gd name="T23" fmla="*/ 0 h 3248"/>
                <a:gd name="T24" fmla="*/ 0 w 2209"/>
                <a:gd name="T25" fmla="*/ 0 h 3248"/>
                <a:gd name="T26" fmla="*/ 0 w 2209"/>
                <a:gd name="T27" fmla="*/ 0 h 3248"/>
                <a:gd name="T28" fmla="*/ 0 w 2209"/>
                <a:gd name="T29" fmla="*/ 0 h 3248"/>
                <a:gd name="T30" fmla="*/ 0 w 2209"/>
                <a:gd name="T31" fmla="*/ 0 h 3248"/>
                <a:gd name="T32" fmla="*/ 0 w 2209"/>
                <a:gd name="T33" fmla="*/ 0 h 3248"/>
                <a:gd name="T34" fmla="*/ 0 w 2209"/>
                <a:gd name="T35" fmla="*/ 0 h 3248"/>
                <a:gd name="T36" fmla="*/ 0 w 2209"/>
                <a:gd name="T37" fmla="*/ 0 h 3248"/>
                <a:gd name="T38" fmla="*/ 0 w 2209"/>
                <a:gd name="T39" fmla="*/ 0 h 3248"/>
                <a:gd name="T40" fmla="*/ 0 w 2209"/>
                <a:gd name="T41" fmla="*/ 0 h 3248"/>
                <a:gd name="T42" fmla="*/ 0 w 2209"/>
                <a:gd name="T43" fmla="*/ 0 h 3248"/>
                <a:gd name="T44" fmla="*/ 0 w 2209"/>
                <a:gd name="T45" fmla="*/ 0 h 3248"/>
                <a:gd name="T46" fmla="*/ 0 w 2209"/>
                <a:gd name="T47" fmla="*/ 0 h 3248"/>
                <a:gd name="T48" fmla="*/ 0 w 2209"/>
                <a:gd name="T49" fmla="*/ 0 h 3248"/>
                <a:gd name="T50" fmla="*/ 0 w 2209"/>
                <a:gd name="T51" fmla="*/ 0 h 3248"/>
                <a:gd name="T52" fmla="*/ 0 w 2209"/>
                <a:gd name="T53" fmla="*/ 0 h 3248"/>
                <a:gd name="T54" fmla="*/ 0 w 2209"/>
                <a:gd name="T55" fmla="*/ 0 h 3248"/>
                <a:gd name="T56" fmla="*/ 0 w 2209"/>
                <a:gd name="T57" fmla="*/ 0 h 3248"/>
                <a:gd name="T58" fmla="*/ 0 w 2209"/>
                <a:gd name="T59" fmla="*/ 0 h 3248"/>
                <a:gd name="T60" fmla="*/ 0 w 2209"/>
                <a:gd name="T61" fmla="*/ 0 h 3248"/>
                <a:gd name="T62" fmla="*/ 0 w 2209"/>
                <a:gd name="T63" fmla="*/ 0 h 3248"/>
                <a:gd name="T64" fmla="*/ 0 w 2209"/>
                <a:gd name="T65" fmla="*/ 0 h 3248"/>
                <a:gd name="T66" fmla="*/ 0 w 2209"/>
                <a:gd name="T67" fmla="*/ 0 h 3248"/>
                <a:gd name="T68" fmla="*/ 0 w 2209"/>
                <a:gd name="T69" fmla="*/ 0 h 3248"/>
                <a:gd name="T70" fmla="*/ 0 w 2209"/>
                <a:gd name="T71" fmla="*/ 0 h 3248"/>
                <a:gd name="T72" fmla="*/ 0 w 2209"/>
                <a:gd name="T73" fmla="*/ 0 h 3248"/>
                <a:gd name="T74" fmla="*/ 0 w 2209"/>
                <a:gd name="T75" fmla="*/ 0 h 3248"/>
                <a:gd name="T76" fmla="*/ 0 w 2209"/>
                <a:gd name="T77" fmla="*/ 0 h 3248"/>
                <a:gd name="T78" fmla="*/ 0 w 2209"/>
                <a:gd name="T79" fmla="*/ 0 h 3248"/>
                <a:gd name="T80" fmla="*/ 0 w 2209"/>
                <a:gd name="T81" fmla="*/ 0 h 3248"/>
                <a:gd name="T82" fmla="*/ 0 w 2209"/>
                <a:gd name="T83" fmla="*/ 0 h 3248"/>
                <a:gd name="T84" fmla="*/ 0 w 2209"/>
                <a:gd name="T85" fmla="*/ 0 h 3248"/>
                <a:gd name="T86" fmla="*/ 0 w 2209"/>
                <a:gd name="T87" fmla="*/ 0 h 3248"/>
                <a:gd name="T88" fmla="*/ 0 w 2209"/>
                <a:gd name="T89" fmla="*/ 0 h 3248"/>
                <a:gd name="T90" fmla="*/ 0 w 2209"/>
                <a:gd name="T91" fmla="*/ 0 h 3248"/>
                <a:gd name="T92" fmla="*/ 0 w 2209"/>
                <a:gd name="T93" fmla="*/ 0 h 3248"/>
                <a:gd name="T94" fmla="*/ 0 w 2209"/>
                <a:gd name="T95" fmla="*/ 0 h 3248"/>
                <a:gd name="T96" fmla="*/ 0 w 2209"/>
                <a:gd name="T97" fmla="*/ 0 h 3248"/>
                <a:gd name="T98" fmla="*/ 0 w 2209"/>
                <a:gd name="T99" fmla="*/ 0 h 3248"/>
                <a:gd name="T100" fmla="*/ 0 w 2209"/>
                <a:gd name="T101" fmla="*/ 0 h 3248"/>
                <a:gd name="T102" fmla="*/ 0 w 2209"/>
                <a:gd name="T103" fmla="*/ 0 h 3248"/>
                <a:gd name="T104" fmla="*/ 0 w 2209"/>
                <a:gd name="T105" fmla="*/ 0 h 3248"/>
                <a:gd name="T106" fmla="*/ 0 w 2209"/>
                <a:gd name="T107" fmla="*/ 0 h 3248"/>
                <a:gd name="T108" fmla="*/ 0 w 2209"/>
                <a:gd name="T109" fmla="*/ 0 h 3248"/>
                <a:gd name="T110" fmla="*/ 0 w 2209"/>
                <a:gd name="T111" fmla="*/ 0 h 3248"/>
                <a:gd name="T112" fmla="*/ 0 w 2209"/>
                <a:gd name="T113" fmla="*/ 0 h 3248"/>
                <a:gd name="T114" fmla="*/ 0 w 2209"/>
                <a:gd name="T115" fmla="*/ 0 h 3248"/>
                <a:gd name="T116" fmla="*/ 0 w 2209"/>
                <a:gd name="T117" fmla="*/ 0 h 324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209"/>
                <a:gd name="T178" fmla="*/ 0 h 3248"/>
                <a:gd name="T179" fmla="*/ 2209 w 2209"/>
                <a:gd name="T180" fmla="*/ 3248 h 324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209" h="3248">
                  <a:moveTo>
                    <a:pt x="2056" y="1946"/>
                  </a:moveTo>
                  <a:lnTo>
                    <a:pt x="2057" y="1947"/>
                  </a:lnTo>
                  <a:lnTo>
                    <a:pt x="1874" y="1845"/>
                  </a:lnTo>
                  <a:cubicBezTo>
                    <a:pt x="1870" y="1843"/>
                    <a:pt x="1869" y="1839"/>
                    <a:pt x="1870" y="1835"/>
                  </a:cubicBezTo>
                  <a:lnTo>
                    <a:pt x="1917" y="1713"/>
                  </a:lnTo>
                  <a:lnTo>
                    <a:pt x="1918" y="1721"/>
                  </a:lnTo>
                  <a:lnTo>
                    <a:pt x="1803" y="1579"/>
                  </a:lnTo>
                  <a:lnTo>
                    <a:pt x="1805" y="1581"/>
                  </a:lnTo>
                  <a:lnTo>
                    <a:pt x="1619" y="1479"/>
                  </a:lnTo>
                  <a:cubicBezTo>
                    <a:pt x="1617" y="1478"/>
                    <a:pt x="1616" y="1476"/>
                    <a:pt x="1615" y="1473"/>
                  </a:cubicBezTo>
                  <a:lnTo>
                    <a:pt x="1593" y="1331"/>
                  </a:lnTo>
                  <a:cubicBezTo>
                    <a:pt x="1593" y="1329"/>
                    <a:pt x="1594" y="1326"/>
                    <a:pt x="1595" y="1324"/>
                  </a:cubicBezTo>
                  <a:lnTo>
                    <a:pt x="1710" y="1202"/>
                  </a:lnTo>
                  <a:lnTo>
                    <a:pt x="1711" y="1214"/>
                  </a:lnTo>
                  <a:lnTo>
                    <a:pt x="1527" y="1051"/>
                  </a:lnTo>
                  <a:cubicBezTo>
                    <a:pt x="1527" y="1051"/>
                    <a:pt x="1526" y="1050"/>
                    <a:pt x="1526" y="1049"/>
                  </a:cubicBezTo>
                  <a:lnTo>
                    <a:pt x="1386" y="805"/>
                  </a:lnTo>
                  <a:cubicBezTo>
                    <a:pt x="1385" y="803"/>
                    <a:pt x="1385" y="801"/>
                    <a:pt x="1386" y="799"/>
                  </a:cubicBezTo>
                  <a:lnTo>
                    <a:pt x="1432" y="656"/>
                  </a:lnTo>
                  <a:lnTo>
                    <a:pt x="1434" y="665"/>
                  </a:lnTo>
                  <a:lnTo>
                    <a:pt x="1319" y="563"/>
                  </a:lnTo>
                  <a:lnTo>
                    <a:pt x="1322" y="565"/>
                  </a:lnTo>
                  <a:lnTo>
                    <a:pt x="1207" y="524"/>
                  </a:lnTo>
                  <a:cubicBezTo>
                    <a:pt x="1205" y="523"/>
                    <a:pt x="1203" y="522"/>
                    <a:pt x="1202" y="520"/>
                  </a:cubicBezTo>
                  <a:lnTo>
                    <a:pt x="1131" y="357"/>
                  </a:lnTo>
                  <a:cubicBezTo>
                    <a:pt x="1131" y="356"/>
                    <a:pt x="1130" y="354"/>
                    <a:pt x="1131" y="352"/>
                  </a:cubicBezTo>
                  <a:lnTo>
                    <a:pt x="1155" y="230"/>
                  </a:lnTo>
                  <a:cubicBezTo>
                    <a:pt x="1156" y="230"/>
                    <a:pt x="1156" y="229"/>
                    <a:pt x="1156" y="228"/>
                  </a:cubicBezTo>
                  <a:lnTo>
                    <a:pt x="1178" y="188"/>
                  </a:lnTo>
                  <a:lnTo>
                    <a:pt x="1178" y="195"/>
                  </a:lnTo>
                  <a:lnTo>
                    <a:pt x="1131" y="93"/>
                  </a:lnTo>
                  <a:lnTo>
                    <a:pt x="1135" y="97"/>
                  </a:lnTo>
                  <a:lnTo>
                    <a:pt x="952" y="16"/>
                  </a:lnTo>
                  <a:lnTo>
                    <a:pt x="955" y="16"/>
                  </a:lnTo>
                  <a:lnTo>
                    <a:pt x="816" y="16"/>
                  </a:lnTo>
                  <a:lnTo>
                    <a:pt x="822" y="14"/>
                  </a:lnTo>
                  <a:lnTo>
                    <a:pt x="731" y="115"/>
                  </a:lnTo>
                  <a:lnTo>
                    <a:pt x="733" y="110"/>
                  </a:lnTo>
                  <a:lnTo>
                    <a:pt x="733" y="293"/>
                  </a:lnTo>
                  <a:cubicBezTo>
                    <a:pt x="733" y="294"/>
                    <a:pt x="733" y="294"/>
                    <a:pt x="733" y="295"/>
                  </a:cubicBezTo>
                  <a:lnTo>
                    <a:pt x="687" y="478"/>
                  </a:lnTo>
                  <a:cubicBezTo>
                    <a:pt x="686" y="482"/>
                    <a:pt x="681" y="485"/>
                    <a:pt x="677" y="484"/>
                  </a:cubicBezTo>
                  <a:lnTo>
                    <a:pt x="516" y="443"/>
                  </a:lnTo>
                  <a:lnTo>
                    <a:pt x="520" y="443"/>
                  </a:lnTo>
                  <a:lnTo>
                    <a:pt x="405" y="484"/>
                  </a:lnTo>
                  <a:cubicBezTo>
                    <a:pt x="403" y="484"/>
                    <a:pt x="401" y="484"/>
                    <a:pt x="399" y="483"/>
                  </a:cubicBezTo>
                  <a:lnTo>
                    <a:pt x="123" y="361"/>
                  </a:lnTo>
                  <a:lnTo>
                    <a:pt x="130" y="361"/>
                  </a:lnTo>
                  <a:lnTo>
                    <a:pt x="12" y="422"/>
                  </a:lnTo>
                  <a:lnTo>
                    <a:pt x="14" y="409"/>
                  </a:lnTo>
                  <a:lnTo>
                    <a:pt x="154" y="552"/>
                  </a:lnTo>
                  <a:lnTo>
                    <a:pt x="151" y="550"/>
                  </a:lnTo>
                  <a:lnTo>
                    <a:pt x="406" y="651"/>
                  </a:lnTo>
                  <a:cubicBezTo>
                    <a:pt x="407" y="652"/>
                    <a:pt x="408" y="653"/>
                    <a:pt x="409" y="654"/>
                  </a:cubicBezTo>
                  <a:lnTo>
                    <a:pt x="499" y="755"/>
                  </a:lnTo>
                  <a:cubicBezTo>
                    <a:pt x="500" y="757"/>
                    <a:pt x="501" y="759"/>
                    <a:pt x="501" y="761"/>
                  </a:cubicBezTo>
                  <a:lnTo>
                    <a:pt x="501" y="862"/>
                  </a:lnTo>
                  <a:lnTo>
                    <a:pt x="497" y="856"/>
                  </a:lnTo>
                  <a:lnTo>
                    <a:pt x="615" y="937"/>
                  </a:lnTo>
                  <a:cubicBezTo>
                    <a:pt x="617" y="938"/>
                    <a:pt x="619" y="941"/>
                    <a:pt x="619" y="944"/>
                  </a:cubicBezTo>
                  <a:lnTo>
                    <a:pt x="619" y="1065"/>
                  </a:lnTo>
                  <a:lnTo>
                    <a:pt x="618" y="1064"/>
                  </a:lnTo>
                  <a:lnTo>
                    <a:pt x="640" y="1186"/>
                  </a:lnTo>
                  <a:lnTo>
                    <a:pt x="640" y="1184"/>
                  </a:lnTo>
                  <a:lnTo>
                    <a:pt x="686" y="1286"/>
                  </a:lnTo>
                  <a:lnTo>
                    <a:pt x="733" y="1408"/>
                  </a:lnTo>
                  <a:lnTo>
                    <a:pt x="727" y="1403"/>
                  </a:lnTo>
                  <a:lnTo>
                    <a:pt x="818" y="1424"/>
                  </a:lnTo>
                  <a:cubicBezTo>
                    <a:pt x="818" y="1424"/>
                    <a:pt x="818" y="1424"/>
                    <a:pt x="819" y="1424"/>
                  </a:cubicBezTo>
                  <a:lnTo>
                    <a:pt x="912" y="1465"/>
                  </a:lnTo>
                  <a:lnTo>
                    <a:pt x="979" y="1485"/>
                  </a:lnTo>
                  <a:cubicBezTo>
                    <a:pt x="983" y="1486"/>
                    <a:pt x="985" y="1489"/>
                    <a:pt x="985" y="1492"/>
                  </a:cubicBezTo>
                  <a:lnTo>
                    <a:pt x="985" y="1533"/>
                  </a:lnTo>
                  <a:lnTo>
                    <a:pt x="984" y="1529"/>
                  </a:lnTo>
                  <a:lnTo>
                    <a:pt x="1009" y="1570"/>
                  </a:lnTo>
                  <a:cubicBezTo>
                    <a:pt x="1010" y="1572"/>
                    <a:pt x="1010" y="1575"/>
                    <a:pt x="1009" y="1578"/>
                  </a:cubicBezTo>
                  <a:lnTo>
                    <a:pt x="984" y="1618"/>
                  </a:lnTo>
                  <a:lnTo>
                    <a:pt x="894" y="1781"/>
                  </a:lnTo>
                  <a:lnTo>
                    <a:pt x="661" y="2127"/>
                  </a:lnTo>
                  <a:cubicBezTo>
                    <a:pt x="661" y="2127"/>
                    <a:pt x="660" y="2128"/>
                    <a:pt x="660" y="2128"/>
                  </a:cubicBezTo>
                  <a:lnTo>
                    <a:pt x="569" y="2210"/>
                  </a:lnTo>
                  <a:lnTo>
                    <a:pt x="499" y="2290"/>
                  </a:lnTo>
                  <a:lnTo>
                    <a:pt x="501" y="2285"/>
                  </a:lnTo>
                  <a:lnTo>
                    <a:pt x="501" y="2387"/>
                  </a:lnTo>
                  <a:lnTo>
                    <a:pt x="501" y="2385"/>
                  </a:lnTo>
                  <a:lnTo>
                    <a:pt x="525" y="2486"/>
                  </a:lnTo>
                  <a:lnTo>
                    <a:pt x="593" y="2669"/>
                  </a:lnTo>
                  <a:lnTo>
                    <a:pt x="593" y="2667"/>
                  </a:lnTo>
                  <a:lnTo>
                    <a:pt x="639" y="2749"/>
                  </a:lnTo>
                  <a:cubicBezTo>
                    <a:pt x="640" y="2750"/>
                    <a:pt x="640" y="2751"/>
                    <a:pt x="640" y="2753"/>
                  </a:cubicBezTo>
                  <a:lnTo>
                    <a:pt x="640" y="2854"/>
                  </a:lnTo>
                  <a:lnTo>
                    <a:pt x="640" y="2853"/>
                  </a:lnTo>
                  <a:lnTo>
                    <a:pt x="662" y="2954"/>
                  </a:lnTo>
                  <a:lnTo>
                    <a:pt x="661" y="2952"/>
                  </a:lnTo>
                  <a:lnTo>
                    <a:pt x="708" y="3033"/>
                  </a:lnTo>
                  <a:lnTo>
                    <a:pt x="704" y="3030"/>
                  </a:lnTo>
                  <a:lnTo>
                    <a:pt x="797" y="3071"/>
                  </a:lnTo>
                  <a:lnTo>
                    <a:pt x="890" y="3111"/>
                  </a:lnTo>
                  <a:cubicBezTo>
                    <a:pt x="894" y="3113"/>
                    <a:pt x="896" y="3116"/>
                    <a:pt x="895" y="3120"/>
                  </a:cubicBezTo>
                  <a:lnTo>
                    <a:pt x="870" y="3242"/>
                  </a:lnTo>
                  <a:lnTo>
                    <a:pt x="862" y="3232"/>
                  </a:lnTo>
                  <a:lnTo>
                    <a:pt x="1002" y="3232"/>
                  </a:lnTo>
                  <a:lnTo>
                    <a:pt x="999" y="3233"/>
                  </a:lnTo>
                  <a:lnTo>
                    <a:pt x="1045" y="3213"/>
                  </a:lnTo>
                  <a:lnTo>
                    <a:pt x="1113" y="3173"/>
                  </a:lnTo>
                  <a:lnTo>
                    <a:pt x="1390" y="3030"/>
                  </a:lnTo>
                  <a:lnTo>
                    <a:pt x="1645" y="2928"/>
                  </a:lnTo>
                  <a:lnTo>
                    <a:pt x="1852" y="2827"/>
                  </a:lnTo>
                  <a:lnTo>
                    <a:pt x="1848" y="2832"/>
                  </a:lnTo>
                  <a:lnTo>
                    <a:pt x="1916" y="2588"/>
                  </a:lnTo>
                  <a:cubicBezTo>
                    <a:pt x="1917" y="2587"/>
                    <a:pt x="1917" y="2586"/>
                    <a:pt x="1918" y="2585"/>
                  </a:cubicBezTo>
                  <a:lnTo>
                    <a:pt x="2054" y="2402"/>
                  </a:lnTo>
                  <a:lnTo>
                    <a:pt x="2172" y="2220"/>
                  </a:lnTo>
                  <a:lnTo>
                    <a:pt x="2171" y="2223"/>
                  </a:lnTo>
                  <a:lnTo>
                    <a:pt x="2193" y="2060"/>
                  </a:lnTo>
                  <a:lnTo>
                    <a:pt x="2195" y="2068"/>
                  </a:lnTo>
                  <a:lnTo>
                    <a:pt x="2056" y="1946"/>
                  </a:lnTo>
                  <a:close/>
                  <a:moveTo>
                    <a:pt x="2206" y="2055"/>
                  </a:moveTo>
                  <a:cubicBezTo>
                    <a:pt x="2208" y="2057"/>
                    <a:pt x="2209" y="2060"/>
                    <a:pt x="2208" y="2063"/>
                  </a:cubicBezTo>
                  <a:lnTo>
                    <a:pt x="2187" y="2225"/>
                  </a:lnTo>
                  <a:cubicBezTo>
                    <a:pt x="2186" y="2226"/>
                    <a:pt x="2186" y="2227"/>
                    <a:pt x="2185" y="2228"/>
                  </a:cubicBezTo>
                  <a:lnTo>
                    <a:pt x="2067" y="2412"/>
                  </a:lnTo>
                  <a:lnTo>
                    <a:pt x="1930" y="2595"/>
                  </a:lnTo>
                  <a:lnTo>
                    <a:pt x="1932" y="2592"/>
                  </a:lnTo>
                  <a:lnTo>
                    <a:pt x="1863" y="2836"/>
                  </a:lnTo>
                  <a:cubicBezTo>
                    <a:pt x="1863" y="2838"/>
                    <a:pt x="1861" y="2840"/>
                    <a:pt x="1859" y="2841"/>
                  </a:cubicBezTo>
                  <a:lnTo>
                    <a:pt x="1651" y="2943"/>
                  </a:lnTo>
                  <a:lnTo>
                    <a:pt x="1397" y="3044"/>
                  </a:lnTo>
                  <a:lnTo>
                    <a:pt x="1121" y="3186"/>
                  </a:lnTo>
                  <a:lnTo>
                    <a:pt x="1052" y="3227"/>
                  </a:lnTo>
                  <a:lnTo>
                    <a:pt x="1005" y="3248"/>
                  </a:lnTo>
                  <a:cubicBezTo>
                    <a:pt x="1004" y="3248"/>
                    <a:pt x="1003" y="3248"/>
                    <a:pt x="1002" y="3248"/>
                  </a:cubicBezTo>
                  <a:lnTo>
                    <a:pt x="862" y="3248"/>
                  </a:lnTo>
                  <a:cubicBezTo>
                    <a:pt x="860" y="3248"/>
                    <a:pt x="858" y="3247"/>
                    <a:pt x="856" y="3246"/>
                  </a:cubicBezTo>
                  <a:cubicBezTo>
                    <a:pt x="855" y="3244"/>
                    <a:pt x="854" y="3241"/>
                    <a:pt x="854" y="3239"/>
                  </a:cubicBezTo>
                  <a:lnTo>
                    <a:pt x="879" y="3117"/>
                  </a:lnTo>
                  <a:lnTo>
                    <a:pt x="884" y="3126"/>
                  </a:lnTo>
                  <a:lnTo>
                    <a:pt x="791" y="3085"/>
                  </a:lnTo>
                  <a:lnTo>
                    <a:pt x="698" y="3045"/>
                  </a:lnTo>
                  <a:cubicBezTo>
                    <a:pt x="696" y="3044"/>
                    <a:pt x="695" y="3043"/>
                    <a:pt x="694" y="3041"/>
                  </a:cubicBezTo>
                  <a:lnTo>
                    <a:pt x="647" y="2960"/>
                  </a:lnTo>
                  <a:cubicBezTo>
                    <a:pt x="647" y="2959"/>
                    <a:pt x="647" y="2958"/>
                    <a:pt x="646" y="2958"/>
                  </a:cubicBezTo>
                  <a:lnTo>
                    <a:pt x="625" y="2856"/>
                  </a:lnTo>
                  <a:cubicBezTo>
                    <a:pt x="624" y="2855"/>
                    <a:pt x="624" y="2855"/>
                    <a:pt x="624" y="2854"/>
                  </a:cubicBezTo>
                  <a:lnTo>
                    <a:pt x="624" y="2753"/>
                  </a:lnTo>
                  <a:lnTo>
                    <a:pt x="625" y="2757"/>
                  </a:lnTo>
                  <a:lnTo>
                    <a:pt x="579" y="2675"/>
                  </a:lnTo>
                  <a:cubicBezTo>
                    <a:pt x="579" y="2675"/>
                    <a:pt x="579" y="2675"/>
                    <a:pt x="578" y="2674"/>
                  </a:cubicBezTo>
                  <a:lnTo>
                    <a:pt x="510" y="2490"/>
                  </a:lnTo>
                  <a:lnTo>
                    <a:pt x="485" y="2389"/>
                  </a:lnTo>
                  <a:cubicBezTo>
                    <a:pt x="485" y="2388"/>
                    <a:pt x="485" y="2387"/>
                    <a:pt x="485" y="2387"/>
                  </a:cubicBezTo>
                  <a:lnTo>
                    <a:pt x="485" y="2285"/>
                  </a:lnTo>
                  <a:cubicBezTo>
                    <a:pt x="485" y="2283"/>
                    <a:pt x="486" y="2281"/>
                    <a:pt x="487" y="2280"/>
                  </a:cubicBezTo>
                  <a:lnTo>
                    <a:pt x="559" y="2198"/>
                  </a:lnTo>
                  <a:lnTo>
                    <a:pt x="649" y="2117"/>
                  </a:lnTo>
                  <a:lnTo>
                    <a:pt x="648" y="2118"/>
                  </a:lnTo>
                  <a:lnTo>
                    <a:pt x="880" y="1773"/>
                  </a:lnTo>
                  <a:lnTo>
                    <a:pt x="970" y="1610"/>
                  </a:lnTo>
                  <a:lnTo>
                    <a:pt x="995" y="1570"/>
                  </a:lnTo>
                  <a:lnTo>
                    <a:pt x="995" y="1578"/>
                  </a:lnTo>
                  <a:lnTo>
                    <a:pt x="970" y="1537"/>
                  </a:lnTo>
                  <a:cubicBezTo>
                    <a:pt x="970" y="1536"/>
                    <a:pt x="969" y="1534"/>
                    <a:pt x="969" y="1533"/>
                  </a:cubicBezTo>
                  <a:lnTo>
                    <a:pt x="969" y="1492"/>
                  </a:lnTo>
                  <a:lnTo>
                    <a:pt x="975" y="1500"/>
                  </a:lnTo>
                  <a:lnTo>
                    <a:pt x="906" y="1479"/>
                  </a:lnTo>
                  <a:lnTo>
                    <a:pt x="813" y="1439"/>
                  </a:lnTo>
                  <a:lnTo>
                    <a:pt x="814" y="1439"/>
                  </a:lnTo>
                  <a:lnTo>
                    <a:pt x="724" y="1419"/>
                  </a:lnTo>
                  <a:cubicBezTo>
                    <a:pt x="721" y="1418"/>
                    <a:pt x="719" y="1416"/>
                    <a:pt x="718" y="1414"/>
                  </a:cubicBezTo>
                  <a:lnTo>
                    <a:pt x="672" y="1292"/>
                  </a:lnTo>
                  <a:lnTo>
                    <a:pt x="625" y="1191"/>
                  </a:lnTo>
                  <a:cubicBezTo>
                    <a:pt x="625" y="1190"/>
                    <a:pt x="625" y="1190"/>
                    <a:pt x="625" y="1189"/>
                  </a:cubicBezTo>
                  <a:lnTo>
                    <a:pt x="603" y="1067"/>
                  </a:lnTo>
                  <a:cubicBezTo>
                    <a:pt x="603" y="1066"/>
                    <a:pt x="603" y="1066"/>
                    <a:pt x="603" y="1065"/>
                  </a:cubicBezTo>
                  <a:lnTo>
                    <a:pt x="603" y="944"/>
                  </a:lnTo>
                  <a:lnTo>
                    <a:pt x="606" y="950"/>
                  </a:lnTo>
                  <a:lnTo>
                    <a:pt x="488" y="869"/>
                  </a:lnTo>
                  <a:cubicBezTo>
                    <a:pt x="486" y="867"/>
                    <a:pt x="485" y="865"/>
                    <a:pt x="485" y="862"/>
                  </a:cubicBezTo>
                  <a:lnTo>
                    <a:pt x="485" y="761"/>
                  </a:lnTo>
                  <a:lnTo>
                    <a:pt x="487" y="766"/>
                  </a:lnTo>
                  <a:lnTo>
                    <a:pt x="397" y="664"/>
                  </a:lnTo>
                  <a:lnTo>
                    <a:pt x="400" y="666"/>
                  </a:lnTo>
                  <a:lnTo>
                    <a:pt x="145" y="565"/>
                  </a:lnTo>
                  <a:cubicBezTo>
                    <a:pt x="144" y="564"/>
                    <a:pt x="143" y="564"/>
                    <a:pt x="142" y="563"/>
                  </a:cubicBezTo>
                  <a:lnTo>
                    <a:pt x="3" y="421"/>
                  </a:lnTo>
                  <a:cubicBezTo>
                    <a:pt x="1" y="419"/>
                    <a:pt x="0" y="416"/>
                    <a:pt x="1" y="414"/>
                  </a:cubicBezTo>
                  <a:cubicBezTo>
                    <a:pt x="1" y="411"/>
                    <a:pt x="3" y="409"/>
                    <a:pt x="5" y="408"/>
                  </a:cubicBezTo>
                  <a:lnTo>
                    <a:pt x="122" y="347"/>
                  </a:lnTo>
                  <a:cubicBezTo>
                    <a:pt x="125" y="346"/>
                    <a:pt x="127" y="346"/>
                    <a:pt x="129" y="347"/>
                  </a:cubicBezTo>
                  <a:lnTo>
                    <a:pt x="406" y="469"/>
                  </a:lnTo>
                  <a:lnTo>
                    <a:pt x="400" y="468"/>
                  </a:lnTo>
                  <a:lnTo>
                    <a:pt x="515" y="428"/>
                  </a:lnTo>
                  <a:cubicBezTo>
                    <a:pt x="516" y="427"/>
                    <a:pt x="518" y="427"/>
                    <a:pt x="519" y="428"/>
                  </a:cubicBezTo>
                  <a:lnTo>
                    <a:pt x="681" y="468"/>
                  </a:lnTo>
                  <a:lnTo>
                    <a:pt x="671" y="474"/>
                  </a:lnTo>
                  <a:lnTo>
                    <a:pt x="718" y="291"/>
                  </a:lnTo>
                  <a:lnTo>
                    <a:pt x="717" y="293"/>
                  </a:lnTo>
                  <a:lnTo>
                    <a:pt x="717" y="110"/>
                  </a:lnTo>
                  <a:cubicBezTo>
                    <a:pt x="717" y="108"/>
                    <a:pt x="718" y="106"/>
                    <a:pt x="719" y="105"/>
                  </a:cubicBezTo>
                  <a:lnTo>
                    <a:pt x="810" y="3"/>
                  </a:lnTo>
                  <a:cubicBezTo>
                    <a:pt x="811" y="1"/>
                    <a:pt x="813" y="0"/>
                    <a:pt x="816" y="0"/>
                  </a:cubicBezTo>
                  <a:lnTo>
                    <a:pt x="955" y="0"/>
                  </a:lnTo>
                  <a:cubicBezTo>
                    <a:pt x="956" y="0"/>
                    <a:pt x="958" y="1"/>
                    <a:pt x="959" y="1"/>
                  </a:cubicBezTo>
                  <a:lnTo>
                    <a:pt x="1142" y="82"/>
                  </a:lnTo>
                  <a:cubicBezTo>
                    <a:pt x="1144" y="83"/>
                    <a:pt x="1145" y="85"/>
                    <a:pt x="1146" y="86"/>
                  </a:cubicBezTo>
                  <a:lnTo>
                    <a:pt x="1192" y="188"/>
                  </a:lnTo>
                  <a:cubicBezTo>
                    <a:pt x="1194" y="190"/>
                    <a:pt x="1193" y="193"/>
                    <a:pt x="1192" y="195"/>
                  </a:cubicBezTo>
                  <a:lnTo>
                    <a:pt x="1170" y="236"/>
                  </a:lnTo>
                  <a:lnTo>
                    <a:pt x="1171" y="234"/>
                  </a:lnTo>
                  <a:lnTo>
                    <a:pt x="1147" y="356"/>
                  </a:lnTo>
                  <a:lnTo>
                    <a:pt x="1146" y="351"/>
                  </a:lnTo>
                  <a:lnTo>
                    <a:pt x="1217" y="513"/>
                  </a:lnTo>
                  <a:lnTo>
                    <a:pt x="1212" y="509"/>
                  </a:lnTo>
                  <a:lnTo>
                    <a:pt x="1327" y="550"/>
                  </a:lnTo>
                  <a:cubicBezTo>
                    <a:pt x="1328" y="550"/>
                    <a:pt x="1329" y="551"/>
                    <a:pt x="1330" y="551"/>
                  </a:cubicBezTo>
                  <a:lnTo>
                    <a:pt x="1445" y="653"/>
                  </a:lnTo>
                  <a:cubicBezTo>
                    <a:pt x="1447" y="655"/>
                    <a:pt x="1448" y="658"/>
                    <a:pt x="1447" y="661"/>
                  </a:cubicBezTo>
                  <a:lnTo>
                    <a:pt x="1401" y="804"/>
                  </a:lnTo>
                  <a:lnTo>
                    <a:pt x="1400" y="797"/>
                  </a:lnTo>
                  <a:lnTo>
                    <a:pt x="1540" y="1041"/>
                  </a:lnTo>
                  <a:lnTo>
                    <a:pt x="1538" y="1039"/>
                  </a:lnTo>
                  <a:lnTo>
                    <a:pt x="1721" y="1202"/>
                  </a:lnTo>
                  <a:cubicBezTo>
                    <a:pt x="1723" y="1203"/>
                    <a:pt x="1724" y="1205"/>
                    <a:pt x="1724" y="1207"/>
                  </a:cubicBezTo>
                  <a:cubicBezTo>
                    <a:pt x="1724" y="1210"/>
                    <a:pt x="1723" y="1212"/>
                    <a:pt x="1722" y="1213"/>
                  </a:cubicBezTo>
                  <a:lnTo>
                    <a:pt x="1607" y="1335"/>
                  </a:lnTo>
                  <a:lnTo>
                    <a:pt x="1609" y="1329"/>
                  </a:lnTo>
                  <a:lnTo>
                    <a:pt x="1631" y="1471"/>
                  </a:lnTo>
                  <a:lnTo>
                    <a:pt x="1627" y="1465"/>
                  </a:lnTo>
                  <a:lnTo>
                    <a:pt x="1813" y="1567"/>
                  </a:lnTo>
                  <a:cubicBezTo>
                    <a:pt x="1814" y="1567"/>
                    <a:pt x="1815" y="1568"/>
                    <a:pt x="1815" y="1569"/>
                  </a:cubicBezTo>
                  <a:lnTo>
                    <a:pt x="1930" y="1711"/>
                  </a:lnTo>
                  <a:cubicBezTo>
                    <a:pt x="1932" y="1713"/>
                    <a:pt x="1933" y="1716"/>
                    <a:pt x="1932" y="1719"/>
                  </a:cubicBezTo>
                  <a:lnTo>
                    <a:pt x="1885" y="1841"/>
                  </a:lnTo>
                  <a:lnTo>
                    <a:pt x="1881" y="1831"/>
                  </a:lnTo>
                  <a:lnTo>
                    <a:pt x="2065" y="1933"/>
                  </a:lnTo>
                  <a:cubicBezTo>
                    <a:pt x="2065" y="1933"/>
                    <a:pt x="2066" y="1933"/>
                    <a:pt x="2066" y="1934"/>
                  </a:cubicBezTo>
                  <a:lnTo>
                    <a:pt x="2206" y="2055"/>
                  </a:lnTo>
                  <a:close/>
                </a:path>
              </a:pathLst>
            </a:custGeom>
            <a:solidFill>
              <a:srgbClr val="000000"/>
            </a:solidFill>
            <a:ln w="0" cap="flat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278" name="Rectangle 245"/>
            <p:cNvSpPr>
              <a:spLocks noChangeArrowheads="1"/>
            </p:cNvSpPr>
            <p:nvPr/>
          </p:nvSpPr>
          <p:spPr bwMode="auto">
            <a:xfrm>
              <a:off x="4249" y="1218"/>
              <a:ext cx="35" cy="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sz="500" b="1">
                  <a:solidFill>
                    <a:srgbClr val="000000"/>
                  </a:solidFill>
                </a:rPr>
                <a:t>FI</a:t>
              </a:r>
              <a:endParaRPr lang="de-DE"/>
            </a:p>
          </p:txBody>
        </p:sp>
        <p:sp>
          <p:nvSpPr>
            <p:cNvPr id="7279" name="Freeform 246"/>
            <p:cNvSpPr>
              <a:spLocks noEditPoints="1"/>
            </p:cNvSpPr>
            <p:nvPr/>
          </p:nvSpPr>
          <p:spPr bwMode="auto">
            <a:xfrm>
              <a:off x="4219" y="1442"/>
              <a:ext cx="226" cy="152"/>
            </a:xfrm>
            <a:custGeom>
              <a:avLst/>
              <a:gdLst>
                <a:gd name="T0" fmla="*/ 0 w 945"/>
                <a:gd name="T1" fmla="*/ 0 h 641"/>
                <a:gd name="T2" fmla="*/ 0 w 945"/>
                <a:gd name="T3" fmla="*/ 0 h 641"/>
                <a:gd name="T4" fmla="*/ 0 w 945"/>
                <a:gd name="T5" fmla="*/ 0 h 641"/>
                <a:gd name="T6" fmla="*/ 0 w 945"/>
                <a:gd name="T7" fmla="*/ 0 h 641"/>
                <a:gd name="T8" fmla="*/ 0 w 945"/>
                <a:gd name="T9" fmla="*/ 0 h 641"/>
                <a:gd name="T10" fmla="*/ 0 w 945"/>
                <a:gd name="T11" fmla="*/ 0 h 641"/>
                <a:gd name="T12" fmla="*/ 0 w 945"/>
                <a:gd name="T13" fmla="*/ 0 h 641"/>
                <a:gd name="T14" fmla="*/ 0 w 945"/>
                <a:gd name="T15" fmla="*/ 0 h 641"/>
                <a:gd name="T16" fmla="*/ 0 w 945"/>
                <a:gd name="T17" fmla="*/ 0 h 641"/>
                <a:gd name="T18" fmla="*/ 0 w 945"/>
                <a:gd name="T19" fmla="*/ 0 h 641"/>
                <a:gd name="T20" fmla="*/ 0 w 945"/>
                <a:gd name="T21" fmla="*/ 0 h 641"/>
                <a:gd name="T22" fmla="*/ 0 w 945"/>
                <a:gd name="T23" fmla="*/ 0 h 641"/>
                <a:gd name="T24" fmla="*/ 0 w 945"/>
                <a:gd name="T25" fmla="*/ 0 h 641"/>
                <a:gd name="T26" fmla="*/ 0 w 945"/>
                <a:gd name="T27" fmla="*/ 0 h 641"/>
                <a:gd name="T28" fmla="*/ 0 w 945"/>
                <a:gd name="T29" fmla="*/ 0 h 641"/>
                <a:gd name="T30" fmla="*/ 0 w 945"/>
                <a:gd name="T31" fmla="*/ 0 h 641"/>
                <a:gd name="T32" fmla="*/ 0 w 945"/>
                <a:gd name="T33" fmla="*/ 0 h 641"/>
                <a:gd name="T34" fmla="*/ 0 w 945"/>
                <a:gd name="T35" fmla="*/ 0 h 641"/>
                <a:gd name="T36" fmla="*/ 0 w 945"/>
                <a:gd name="T37" fmla="*/ 0 h 641"/>
                <a:gd name="T38" fmla="*/ 0 w 945"/>
                <a:gd name="T39" fmla="*/ 0 h 641"/>
                <a:gd name="T40" fmla="*/ 0 w 945"/>
                <a:gd name="T41" fmla="*/ 0 h 641"/>
                <a:gd name="T42" fmla="*/ 0 w 945"/>
                <a:gd name="T43" fmla="*/ 0 h 641"/>
                <a:gd name="T44" fmla="*/ 0 w 945"/>
                <a:gd name="T45" fmla="*/ 0 h 641"/>
                <a:gd name="T46" fmla="*/ 0 w 945"/>
                <a:gd name="T47" fmla="*/ 0 h 641"/>
                <a:gd name="T48" fmla="*/ 0 w 945"/>
                <a:gd name="T49" fmla="*/ 0 h 641"/>
                <a:gd name="T50" fmla="*/ 0 w 945"/>
                <a:gd name="T51" fmla="*/ 0 h 641"/>
                <a:gd name="T52" fmla="*/ 0 w 945"/>
                <a:gd name="T53" fmla="*/ 0 h 641"/>
                <a:gd name="T54" fmla="*/ 0 w 945"/>
                <a:gd name="T55" fmla="*/ 0 h 641"/>
                <a:gd name="T56" fmla="*/ 0 w 945"/>
                <a:gd name="T57" fmla="*/ 0 h 641"/>
                <a:gd name="T58" fmla="*/ 0 w 945"/>
                <a:gd name="T59" fmla="*/ 0 h 641"/>
                <a:gd name="T60" fmla="*/ 0 w 945"/>
                <a:gd name="T61" fmla="*/ 0 h 641"/>
                <a:gd name="T62" fmla="*/ 0 w 945"/>
                <a:gd name="T63" fmla="*/ 0 h 641"/>
                <a:gd name="T64" fmla="*/ 0 w 945"/>
                <a:gd name="T65" fmla="*/ 0 h 641"/>
                <a:gd name="T66" fmla="*/ 0 w 945"/>
                <a:gd name="T67" fmla="*/ 0 h 641"/>
                <a:gd name="T68" fmla="*/ 0 w 945"/>
                <a:gd name="T69" fmla="*/ 0 h 641"/>
                <a:gd name="T70" fmla="*/ 0 w 945"/>
                <a:gd name="T71" fmla="*/ 0 h 641"/>
                <a:gd name="T72" fmla="*/ 0 w 945"/>
                <a:gd name="T73" fmla="*/ 0 h 641"/>
                <a:gd name="T74" fmla="*/ 0 w 945"/>
                <a:gd name="T75" fmla="*/ 0 h 641"/>
                <a:gd name="T76" fmla="*/ 0 w 945"/>
                <a:gd name="T77" fmla="*/ 0 h 641"/>
                <a:gd name="T78" fmla="*/ 0 w 945"/>
                <a:gd name="T79" fmla="*/ 0 h 641"/>
                <a:gd name="T80" fmla="*/ 0 w 945"/>
                <a:gd name="T81" fmla="*/ 0 h 641"/>
                <a:gd name="T82" fmla="*/ 0 w 945"/>
                <a:gd name="T83" fmla="*/ 0 h 641"/>
                <a:gd name="T84" fmla="*/ 0 w 945"/>
                <a:gd name="T85" fmla="*/ 0 h 641"/>
                <a:gd name="T86" fmla="*/ 0 w 945"/>
                <a:gd name="T87" fmla="*/ 0 h 641"/>
                <a:gd name="T88" fmla="*/ 0 w 945"/>
                <a:gd name="T89" fmla="*/ 0 h 641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945"/>
                <a:gd name="T136" fmla="*/ 0 h 641"/>
                <a:gd name="T137" fmla="*/ 945 w 945"/>
                <a:gd name="T138" fmla="*/ 641 h 641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945" h="641">
                  <a:moveTo>
                    <a:pt x="815" y="336"/>
                  </a:moveTo>
                  <a:cubicBezTo>
                    <a:pt x="814" y="335"/>
                    <a:pt x="813" y="333"/>
                    <a:pt x="813" y="331"/>
                  </a:cubicBezTo>
                  <a:lnTo>
                    <a:pt x="813" y="170"/>
                  </a:lnTo>
                  <a:lnTo>
                    <a:pt x="813" y="49"/>
                  </a:lnTo>
                  <a:lnTo>
                    <a:pt x="814" y="53"/>
                  </a:lnTo>
                  <a:lnTo>
                    <a:pt x="789" y="13"/>
                  </a:lnTo>
                  <a:lnTo>
                    <a:pt x="797" y="16"/>
                  </a:lnTo>
                  <a:lnTo>
                    <a:pt x="659" y="37"/>
                  </a:lnTo>
                  <a:lnTo>
                    <a:pt x="356" y="57"/>
                  </a:lnTo>
                  <a:lnTo>
                    <a:pt x="358" y="56"/>
                  </a:lnTo>
                  <a:lnTo>
                    <a:pt x="196" y="117"/>
                  </a:lnTo>
                  <a:lnTo>
                    <a:pt x="81" y="177"/>
                  </a:lnTo>
                  <a:lnTo>
                    <a:pt x="84" y="174"/>
                  </a:lnTo>
                  <a:lnTo>
                    <a:pt x="37" y="235"/>
                  </a:lnTo>
                  <a:lnTo>
                    <a:pt x="38" y="233"/>
                  </a:lnTo>
                  <a:lnTo>
                    <a:pt x="16" y="293"/>
                  </a:lnTo>
                  <a:lnTo>
                    <a:pt x="13" y="283"/>
                  </a:lnTo>
                  <a:lnTo>
                    <a:pt x="81" y="324"/>
                  </a:lnTo>
                  <a:cubicBezTo>
                    <a:pt x="85" y="326"/>
                    <a:pt x="86" y="330"/>
                    <a:pt x="85" y="333"/>
                  </a:cubicBezTo>
                  <a:lnTo>
                    <a:pt x="63" y="394"/>
                  </a:lnTo>
                  <a:lnTo>
                    <a:pt x="63" y="388"/>
                  </a:lnTo>
                  <a:lnTo>
                    <a:pt x="85" y="449"/>
                  </a:lnTo>
                  <a:lnTo>
                    <a:pt x="80" y="444"/>
                  </a:lnTo>
                  <a:lnTo>
                    <a:pt x="127" y="464"/>
                  </a:lnTo>
                  <a:lnTo>
                    <a:pt x="124" y="463"/>
                  </a:lnTo>
                  <a:lnTo>
                    <a:pt x="193" y="463"/>
                  </a:lnTo>
                  <a:lnTo>
                    <a:pt x="191" y="464"/>
                  </a:lnTo>
                  <a:lnTo>
                    <a:pt x="262" y="444"/>
                  </a:lnTo>
                  <a:cubicBezTo>
                    <a:pt x="265" y="443"/>
                    <a:pt x="267" y="443"/>
                    <a:pt x="269" y="445"/>
                  </a:cubicBezTo>
                  <a:cubicBezTo>
                    <a:pt x="271" y="446"/>
                    <a:pt x="272" y="448"/>
                    <a:pt x="272" y="450"/>
                  </a:cubicBezTo>
                  <a:lnTo>
                    <a:pt x="295" y="611"/>
                  </a:lnTo>
                  <a:lnTo>
                    <a:pt x="283" y="605"/>
                  </a:lnTo>
                  <a:lnTo>
                    <a:pt x="423" y="525"/>
                  </a:lnTo>
                  <a:cubicBezTo>
                    <a:pt x="424" y="524"/>
                    <a:pt x="426" y="524"/>
                    <a:pt x="427" y="524"/>
                  </a:cubicBezTo>
                  <a:lnTo>
                    <a:pt x="543" y="524"/>
                  </a:lnTo>
                  <a:cubicBezTo>
                    <a:pt x="544" y="524"/>
                    <a:pt x="545" y="524"/>
                    <a:pt x="547" y="525"/>
                  </a:cubicBezTo>
                  <a:lnTo>
                    <a:pt x="731" y="625"/>
                  </a:lnTo>
                  <a:lnTo>
                    <a:pt x="726" y="625"/>
                  </a:lnTo>
                  <a:lnTo>
                    <a:pt x="841" y="604"/>
                  </a:lnTo>
                  <a:cubicBezTo>
                    <a:pt x="842" y="604"/>
                    <a:pt x="842" y="604"/>
                    <a:pt x="843" y="604"/>
                  </a:cubicBezTo>
                  <a:lnTo>
                    <a:pt x="890" y="604"/>
                  </a:lnTo>
                  <a:lnTo>
                    <a:pt x="882" y="610"/>
                  </a:lnTo>
                  <a:lnTo>
                    <a:pt x="929" y="449"/>
                  </a:lnTo>
                  <a:lnTo>
                    <a:pt x="931" y="457"/>
                  </a:lnTo>
                  <a:lnTo>
                    <a:pt x="815" y="336"/>
                  </a:lnTo>
                  <a:close/>
                  <a:moveTo>
                    <a:pt x="942" y="446"/>
                  </a:moveTo>
                  <a:cubicBezTo>
                    <a:pt x="944" y="448"/>
                    <a:pt x="945" y="451"/>
                    <a:pt x="944" y="454"/>
                  </a:cubicBezTo>
                  <a:lnTo>
                    <a:pt x="897" y="615"/>
                  </a:lnTo>
                  <a:cubicBezTo>
                    <a:pt x="896" y="618"/>
                    <a:pt x="893" y="620"/>
                    <a:pt x="890" y="620"/>
                  </a:cubicBezTo>
                  <a:lnTo>
                    <a:pt x="843" y="620"/>
                  </a:lnTo>
                  <a:lnTo>
                    <a:pt x="844" y="620"/>
                  </a:lnTo>
                  <a:lnTo>
                    <a:pt x="729" y="640"/>
                  </a:lnTo>
                  <a:cubicBezTo>
                    <a:pt x="727" y="641"/>
                    <a:pt x="725" y="640"/>
                    <a:pt x="723" y="639"/>
                  </a:cubicBezTo>
                  <a:lnTo>
                    <a:pt x="539" y="539"/>
                  </a:lnTo>
                  <a:lnTo>
                    <a:pt x="543" y="540"/>
                  </a:lnTo>
                  <a:lnTo>
                    <a:pt x="427" y="540"/>
                  </a:lnTo>
                  <a:lnTo>
                    <a:pt x="431" y="539"/>
                  </a:lnTo>
                  <a:lnTo>
                    <a:pt x="291" y="619"/>
                  </a:lnTo>
                  <a:cubicBezTo>
                    <a:pt x="288" y="621"/>
                    <a:pt x="285" y="621"/>
                    <a:pt x="283" y="620"/>
                  </a:cubicBezTo>
                  <a:cubicBezTo>
                    <a:pt x="281" y="618"/>
                    <a:pt x="279" y="616"/>
                    <a:pt x="279" y="613"/>
                  </a:cubicBezTo>
                  <a:lnTo>
                    <a:pt x="257" y="452"/>
                  </a:lnTo>
                  <a:lnTo>
                    <a:pt x="267" y="459"/>
                  </a:lnTo>
                  <a:lnTo>
                    <a:pt x="195" y="479"/>
                  </a:lnTo>
                  <a:cubicBezTo>
                    <a:pt x="194" y="479"/>
                    <a:pt x="194" y="479"/>
                    <a:pt x="193" y="479"/>
                  </a:cubicBezTo>
                  <a:lnTo>
                    <a:pt x="124" y="479"/>
                  </a:lnTo>
                  <a:cubicBezTo>
                    <a:pt x="123" y="479"/>
                    <a:pt x="122" y="479"/>
                    <a:pt x="121" y="479"/>
                  </a:cubicBezTo>
                  <a:lnTo>
                    <a:pt x="74" y="459"/>
                  </a:lnTo>
                  <a:cubicBezTo>
                    <a:pt x="72" y="458"/>
                    <a:pt x="71" y="456"/>
                    <a:pt x="70" y="454"/>
                  </a:cubicBezTo>
                  <a:lnTo>
                    <a:pt x="48" y="394"/>
                  </a:lnTo>
                  <a:cubicBezTo>
                    <a:pt x="47" y="392"/>
                    <a:pt x="47" y="390"/>
                    <a:pt x="48" y="388"/>
                  </a:cubicBezTo>
                  <a:lnTo>
                    <a:pt x="70" y="328"/>
                  </a:lnTo>
                  <a:lnTo>
                    <a:pt x="73" y="337"/>
                  </a:lnTo>
                  <a:lnTo>
                    <a:pt x="4" y="297"/>
                  </a:lnTo>
                  <a:cubicBezTo>
                    <a:pt x="1" y="295"/>
                    <a:pt x="0" y="291"/>
                    <a:pt x="1" y="288"/>
                  </a:cubicBezTo>
                  <a:lnTo>
                    <a:pt x="23" y="227"/>
                  </a:lnTo>
                  <a:cubicBezTo>
                    <a:pt x="23" y="226"/>
                    <a:pt x="24" y="226"/>
                    <a:pt x="24" y="225"/>
                  </a:cubicBezTo>
                  <a:lnTo>
                    <a:pt x="71" y="165"/>
                  </a:lnTo>
                  <a:cubicBezTo>
                    <a:pt x="72" y="164"/>
                    <a:pt x="73" y="163"/>
                    <a:pt x="74" y="162"/>
                  </a:cubicBezTo>
                  <a:lnTo>
                    <a:pt x="190" y="102"/>
                  </a:lnTo>
                  <a:lnTo>
                    <a:pt x="353" y="41"/>
                  </a:lnTo>
                  <a:cubicBezTo>
                    <a:pt x="353" y="41"/>
                    <a:pt x="354" y="41"/>
                    <a:pt x="355" y="41"/>
                  </a:cubicBezTo>
                  <a:lnTo>
                    <a:pt x="657" y="21"/>
                  </a:lnTo>
                  <a:lnTo>
                    <a:pt x="795" y="1"/>
                  </a:lnTo>
                  <a:cubicBezTo>
                    <a:pt x="798" y="0"/>
                    <a:pt x="801" y="2"/>
                    <a:pt x="803" y="4"/>
                  </a:cubicBezTo>
                  <a:lnTo>
                    <a:pt x="828" y="45"/>
                  </a:lnTo>
                  <a:cubicBezTo>
                    <a:pt x="828" y="46"/>
                    <a:pt x="829" y="47"/>
                    <a:pt x="829" y="49"/>
                  </a:cubicBezTo>
                  <a:lnTo>
                    <a:pt x="829" y="170"/>
                  </a:lnTo>
                  <a:lnTo>
                    <a:pt x="829" y="331"/>
                  </a:lnTo>
                  <a:lnTo>
                    <a:pt x="827" y="325"/>
                  </a:lnTo>
                  <a:lnTo>
                    <a:pt x="942" y="446"/>
                  </a:lnTo>
                  <a:close/>
                </a:path>
              </a:pathLst>
            </a:custGeom>
            <a:solidFill>
              <a:srgbClr val="000000"/>
            </a:solidFill>
            <a:ln w="0" cap="flat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280" name="Rectangle 247"/>
            <p:cNvSpPr>
              <a:spLocks noChangeArrowheads="1"/>
            </p:cNvSpPr>
            <p:nvPr/>
          </p:nvSpPr>
          <p:spPr bwMode="auto">
            <a:xfrm>
              <a:off x="4301" y="1492"/>
              <a:ext cx="78" cy="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sz="500" b="1">
                  <a:solidFill>
                    <a:srgbClr val="000000"/>
                  </a:solidFill>
                </a:rPr>
                <a:t>EST</a:t>
              </a:r>
              <a:endParaRPr lang="de-DE"/>
            </a:p>
          </p:txBody>
        </p:sp>
        <p:sp>
          <p:nvSpPr>
            <p:cNvPr id="7281" name="Freeform 248"/>
            <p:cNvSpPr>
              <a:spLocks noEditPoints="1"/>
            </p:cNvSpPr>
            <p:nvPr/>
          </p:nvSpPr>
          <p:spPr bwMode="auto">
            <a:xfrm>
              <a:off x="4150" y="1567"/>
              <a:ext cx="353" cy="172"/>
            </a:xfrm>
            <a:custGeom>
              <a:avLst/>
              <a:gdLst>
                <a:gd name="T0" fmla="*/ 0 w 1473"/>
                <a:gd name="T1" fmla="*/ 0 h 721"/>
                <a:gd name="T2" fmla="*/ 0 w 1473"/>
                <a:gd name="T3" fmla="*/ 0 h 721"/>
                <a:gd name="T4" fmla="*/ 0 w 1473"/>
                <a:gd name="T5" fmla="*/ 0 h 721"/>
                <a:gd name="T6" fmla="*/ 0 w 1473"/>
                <a:gd name="T7" fmla="*/ 0 h 721"/>
                <a:gd name="T8" fmla="*/ 0 w 1473"/>
                <a:gd name="T9" fmla="*/ 0 h 721"/>
                <a:gd name="T10" fmla="*/ 0 w 1473"/>
                <a:gd name="T11" fmla="*/ 0 h 721"/>
                <a:gd name="T12" fmla="*/ 0 w 1473"/>
                <a:gd name="T13" fmla="*/ 0 h 721"/>
                <a:gd name="T14" fmla="*/ 0 w 1473"/>
                <a:gd name="T15" fmla="*/ 0 h 721"/>
                <a:gd name="T16" fmla="*/ 0 w 1473"/>
                <a:gd name="T17" fmla="*/ 0 h 721"/>
                <a:gd name="T18" fmla="*/ 0 w 1473"/>
                <a:gd name="T19" fmla="*/ 0 h 721"/>
                <a:gd name="T20" fmla="*/ 0 w 1473"/>
                <a:gd name="T21" fmla="*/ 0 h 721"/>
                <a:gd name="T22" fmla="*/ 0 w 1473"/>
                <a:gd name="T23" fmla="*/ 0 h 721"/>
                <a:gd name="T24" fmla="*/ 0 w 1473"/>
                <a:gd name="T25" fmla="*/ 0 h 721"/>
                <a:gd name="T26" fmla="*/ 0 w 1473"/>
                <a:gd name="T27" fmla="*/ 0 h 721"/>
                <a:gd name="T28" fmla="*/ 0 w 1473"/>
                <a:gd name="T29" fmla="*/ 0 h 721"/>
                <a:gd name="T30" fmla="*/ 0 w 1473"/>
                <a:gd name="T31" fmla="*/ 0 h 721"/>
                <a:gd name="T32" fmla="*/ 0 w 1473"/>
                <a:gd name="T33" fmla="*/ 0 h 721"/>
                <a:gd name="T34" fmla="*/ 0 w 1473"/>
                <a:gd name="T35" fmla="*/ 0 h 721"/>
                <a:gd name="T36" fmla="*/ 0 w 1473"/>
                <a:gd name="T37" fmla="*/ 0 h 721"/>
                <a:gd name="T38" fmla="*/ 0 w 1473"/>
                <a:gd name="T39" fmla="*/ 0 h 721"/>
                <a:gd name="T40" fmla="*/ 0 w 1473"/>
                <a:gd name="T41" fmla="*/ 0 h 721"/>
                <a:gd name="T42" fmla="*/ 0 w 1473"/>
                <a:gd name="T43" fmla="*/ 0 h 721"/>
                <a:gd name="T44" fmla="*/ 0 w 1473"/>
                <a:gd name="T45" fmla="*/ 0 h 721"/>
                <a:gd name="T46" fmla="*/ 0 w 1473"/>
                <a:gd name="T47" fmla="*/ 0 h 721"/>
                <a:gd name="T48" fmla="*/ 0 w 1473"/>
                <a:gd name="T49" fmla="*/ 0 h 721"/>
                <a:gd name="T50" fmla="*/ 0 w 1473"/>
                <a:gd name="T51" fmla="*/ 0 h 721"/>
                <a:gd name="T52" fmla="*/ 0 w 1473"/>
                <a:gd name="T53" fmla="*/ 0 h 721"/>
                <a:gd name="T54" fmla="*/ 0 w 1473"/>
                <a:gd name="T55" fmla="*/ 0 h 721"/>
                <a:gd name="T56" fmla="*/ 0 w 1473"/>
                <a:gd name="T57" fmla="*/ 0 h 721"/>
                <a:gd name="T58" fmla="*/ 0 w 1473"/>
                <a:gd name="T59" fmla="*/ 0 h 721"/>
                <a:gd name="T60" fmla="*/ 0 w 1473"/>
                <a:gd name="T61" fmla="*/ 0 h 721"/>
                <a:gd name="T62" fmla="*/ 0 w 1473"/>
                <a:gd name="T63" fmla="*/ 0 h 721"/>
                <a:gd name="T64" fmla="*/ 0 w 1473"/>
                <a:gd name="T65" fmla="*/ 0 h 721"/>
                <a:gd name="T66" fmla="*/ 0 w 1473"/>
                <a:gd name="T67" fmla="*/ 0 h 721"/>
                <a:gd name="T68" fmla="*/ 0 w 1473"/>
                <a:gd name="T69" fmla="*/ 0 h 721"/>
                <a:gd name="T70" fmla="*/ 0 w 1473"/>
                <a:gd name="T71" fmla="*/ 0 h 721"/>
                <a:gd name="T72" fmla="*/ 0 w 1473"/>
                <a:gd name="T73" fmla="*/ 0 h 721"/>
                <a:gd name="T74" fmla="*/ 0 w 1473"/>
                <a:gd name="T75" fmla="*/ 0 h 721"/>
                <a:gd name="T76" fmla="*/ 0 w 1473"/>
                <a:gd name="T77" fmla="*/ 0 h 721"/>
                <a:gd name="T78" fmla="*/ 0 w 1473"/>
                <a:gd name="T79" fmla="*/ 0 h 721"/>
                <a:gd name="T80" fmla="*/ 0 w 1473"/>
                <a:gd name="T81" fmla="*/ 0 h 721"/>
                <a:gd name="T82" fmla="*/ 0 w 1473"/>
                <a:gd name="T83" fmla="*/ 0 h 721"/>
                <a:gd name="T84" fmla="*/ 0 w 1473"/>
                <a:gd name="T85" fmla="*/ 0 h 721"/>
                <a:gd name="T86" fmla="*/ 0 w 1473"/>
                <a:gd name="T87" fmla="*/ 0 h 721"/>
                <a:gd name="T88" fmla="*/ 0 w 1473"/>
                <a:gd name="T89" fmla="*/ 0 h 721"/>
                <a:gd name="T90" fmla="*/ 0 w 1473"/>
                <a:gd name="T91" fmla="*/ 0 h 721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473"/>
                <a:gd name="T139" fmla="*/ 0 h 721"/>
                <a:gd name="T140" fmla="*/ 1473 w 1473"/>
                <a:gd name="T141" fmla="*/ 721 h 721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473" h="721">
                  <a:moveTo>
                    <a:pt x="1297" y="216"/>
                  </a:moveTo>
                  <a:cubicBezTo>
                    <a:pt x="1296" y="215"/>
                    <a:pt x="1295" y="213"/>
                    <a:pt x="1295" y="211"/>
                  </a:cubicBezTo>
                  <a:lnTo>
                    <a:pt x="1273" y="111"/>
                  </a:lnTo>
                  <a:lnTo>
                    <a:pt x="1280" y="117"/>
                  </a:lnTo>
                  <a:lnTo>
                    <a:pt x="1140" y="97"/>
                  </a:lnTo>
                  <a:lnTo>
                    <a:pt x="1142" y="97"/>
                  </a:lnTo>
                  <a:lnTo>
                    <a:pt x="1027" y="117"/>
                  </a:lnTo>
                  <a:cubicBezTo>
                    <a:pt x="1025" y="117"/>
                    <a:pt x="1023" y="117"/>
                    <a:pt x="1022" y="116"/>
                  </a:cubicBezTo>
                  <a:lnTo>
                    <a:pt x="838" y="15"/>
                  </a:lnTo>
                  <a:lnTo>
                    <a:pt x="842" y="16"/>
                  </a:lnTo>
                  <a:lnTo>
                    <a:pt x="727" y="16"/>
                  </a:lnTo>
                  <a:lnTo>
                    <a:pt x="731" y="15"/>
                  </a:lnTo>
                  <a:lnTo>
                    <a:pt x="591" y="96"/>
                  </a:lnTo>
                  <a:lnTo>
                    <a:pt x="595" y="89"/>
                  </a:lnTo>
                  <a:lnTo>
                    <a:pt x="595" y="109"/>
                  </a:lnTo>
                  <a:lnTo>
                    <a:pt x="595" y="107"/>
                  </a:lnTo>
                  <a:lnTo>
                    <a:pt x="617" y="187"/>
                  </a:lnTo>
                  <a:cubicBezTo>
                    <a:pt x="617" y="188"/>
                    <a:pt x="617" y="189"/>
                    <a:pt x="617" y="189"/>
                  </a:cubicBezTo>
                  <a:lnTo>
                    <a:pt x="617" y="270"/>
                  </a:lnTo>
                  <a:cubicBezTo>
                    <a:pt x="617" y="271"/>
                    <a:pt x="617" y="272"/>
                    <a:pt x="616" y="273"/>
                  </a:cubicBezTo>
                  <a:lnTo>
                    <a:pt x="595" y="333"/>
                  </a:lnTo>
                  <a:cubicBezTo>
                    <a:pt x="593" y="336"/>
                    <a:pt x="590" y="338"/>
                    <a:pt x="587" y="338"/>
                  </a:cubicBezTo>
                  <a:lnTo>
                    <a:pt x="540" y="338"/>
                  </a:lnTo>
                  <a:lnTo>
                    <a:pt x="447" y="338"/>
                  </a:lnTo>
                  <a:cubicBezTo>
                    <a:pt x="445" y="338"/>
                    <a:pt x="443" y="338"/>
                    <a:pt x="442" y="336"/>
                  </a:cubicBezTo>
                  <a:lnTo>
                    <a:pt x="305" y="216"/>
                  </a:lnTo>
                  <a:lnTo>
                    <a:pt x="307" y="217"/>
                  </a:lnTo>
                  <a:lnTo>
                    <a:pt x="214" y="177"/>
                  </a:lnTo>
                  <a:lnTo>
                    <a:pt x="221" y="176"/>
                  </a:lnTo>
                  <a:lnTo>
                    <a:pt x="131" y="236"/>
                  </a:lnTo>
                  <a:lnTo>
                    <a:pt x="134" y="233"/>
                  </a:lnTo>
                  <a:lnTo>
                    <a:pt x="63" y="414"/>
                  </a:lnTo>
                  <a:cubicBezTo>
                    <a:pt x="62" y="414"/>
                    <a:pt x="62" y="414"/>
                    <a:pt x="62" y="415"/>
                  </a:cubicBezTo>
                  <a:lnTo>
                    <a:pt x="15" y="495"/>
                  </a:lnTo>
                  <a:lnTo>
                    <a:pt x="16" y="491"/>
                  </a:lnTo>
                  <a:lnTo>
                    <a:pt x="16" y="572"/>
                  </a:lnTo>
                  <a:lnTo>
                    <a:pt x="16" y="570"/>
                  </a:lnTo>
                  <a:lnTo>
                    <a:pt x="41" y="711"/>
                  </a:lnTo>
                  <a:lnTo>
                    <a:pt x="28" y="706"/>
                  </a:lnTo>
                  <a:lnTo>
                    <a:pt x="96" y="646"/>
                  </a:lnTo>
                  <a:cubicBezTo>
                    <a:pt x="97" y="646"/>
                    <a:pt x="98" y="645"/>
                    <a:pt x="98" y="645"/>
                  </a:cubicBezTo>
                  <a:lnTo>
                    <a:pt x="260" y="564"/>
                  </a:lnTo>
                  <a:cubicBezTo>
                    <a:pt x="261" y="564"/>
                    <a:pt x="262" y="564"/>
                    <a:pt x="263" y="564"/>
                  </a:cubicBezTo>
                  <a:lnTo>
                    <a:pt x="425" y="564"/>
                  </a:lnTo>
                  <a:lnTo>
                    <a:pt x="424" y="564"/>
                  </a:lnTo>
                  <a:lnTo>
                    <a:pt x="539" y="544"/>
                  </a:lnTo>
                  <a:cubicBezTo>
                    <a:pt x="540" y="544"/>
                    <a:pt x="541" y="544"/>
                    <a:pt x="542" y="544"/>
                  </a:cubicBezTo>
                  <a:lnTo>
                    <a:pt x="657" y="564"/>
                  </a:lnTo>
                  <a:lnTo>
                    <a:pt x="652" y="565"/>
                  </a:lnTo>
                  <a:lnTo>
                    <a:pt x="791" y="484"/>
                  </a:lnTo>
                  <a:cubicBezTo>
                    <a:pt x="793" y="483"/>
                    <a:pt x="796" y="483"/>
                    <a:pt x="798" y="484"/>
                  </a:cubicBezTo>
                  <a:cubicBezTo>
                    <a:pt x="800" y="484"/>
                    <a:pt x="801" y="485"/>
                    <a:pt x="802" y="487"/>
                  </a:cubicBezTo>
                  <a:lnTo>
                    <a:pt x="824" y="528"/>
                  </a:lnTo>
                  <a:lnTo>
                    <a:pt x="818" y="524"/>
                  </a:lnTo>
                  <a:lnTo>
                    <a:pt x="958" y="544"/>
                  </a:lnTo>
                  <a:cubicBezTo>
                    <a:pt x="959" y="544"/>
                    <a:pt x="960" y="544"/>
                    <a:pt x="960" y="544"/>
                  </a:cubicBezTo>
                  <a:lnTo>
                    <a:pt x="1054" y="584"/>
                  </a:lnTo>
                  <a:lnTo>
                    <a:pt x="1123" y="625"/>
                  </a:lnTo>
                  <a:lnTo>
                    <a:pt x="1119" y="624"/>
                  </a:lnTo>
                  <a:lnTo>
                    <a:pt x="1188" y="624"/>
                  </a:lnTo>
                  <a:lnTo>
                    <a:pt x="1183" y="625"/>
                  </a:lnTo>
                  <a:lnTo>
                    <a:pt x="1252" y="585"/>
                  </a:lnTo>
                  <a:cubicBezTo>
                    <a:pt x="1253" y="584"/>
                    <a:pt x="1255" y="584"/>
                    <a:pt x="1256" y="584"/>
                  </a:cubicBezTo>
                  <a:lnTo>
                    <a:pt x="1374" y="584"/>
                  </a:lnTo>
                  <a:lnTo>
                    <a:pt x="1367" y="587"/>
                  </a:lnTo>
                  <a:lnTo>
                    <a:pt x="1458" y="447"/>
                  </a:lnTo>
                  <a:lnTo>
                    <a:pt x="1457" y="454"/>
                  </a:lnTo>
                  <a:lnTo>
                    <a:pt x="1389" y="293"/>
                  </a:lnTo>
                  <a:lnTo>
                    <a:pt x="1391" y="296"/>
                  </a:lnTo>
                  <a:lnTo>
                    <a:pt x="1297" y="216"/>
                  </a:lnTo>
                  <a:close/>
                  <a:moveTo>
                    <a:pt x="1401" y="284"/>
                  </a:moveTo>
                  <a:cubicBezTo>
                    <a:pt x="1402" y="285"/>
                    <a:pt x="1403" y="286"/>
                    <a:pt x="1403" y="287"/>
                  </a:cubicBezTo>
                  <a:lnTo>
                    <a:pt x="1472" y="448"/>
                  </a:lnTo>
                  <a:cubicBezTo>
                    <a:pt x="1473" y="450"/>
                    <a:pt x="1473" y="453"/>
                    <a:pt x="1471" y="455"/>
                  </a:cubicBezTo>
                  <a:lnTo>
                    <a:pt x="1381" y="596"/>
                  </a:lnTo>
                  <a:cubicBezTo>
                    <a:pt x="1379" y="598"/>
                    <a:pt x="1377" y="600"/>
                    <a:pt x="1374" y="600"/>
                  </a:cubicBezTo>
                  <a:lnTo>
                    <a:pt x="1256" y="600"/>
                  </a:lnTo>
                  <a:lnTo>
                    <a:pt x="1260" y="599"/>
                  </a:lnTo>
                  <a:lnTo>
                    <a:pt x="1192" y="639"/>
                  </a:lnTo>
                  <a:cubicBezTo>
                    <a:pt x="1190" y="640"/>
                    <a:pt x="1189" y="640"/>
                    <a:pt x="1188" y="640"/>
                  </a:cubicBezTo>
                  <a:lnTo>
                    <a:pt x="1119" y="640"/>
                  </a:lnTo>
                  <a:cubicBezTo>
                    <a:pt x="1118" y="640"/>
                    <a:pt x="1116" y="640"/>
                    <a:pt x="1115" y="639"/>
                  </a:cubicBezTo>
                  <a:lnTo>
                    <a:pt x="1047" y="599"/>
                  </a:lnTo>
                  <a:lnTo>
                    <a:pt x="954" y="559"/>
                  </a:lnTo>
                  <a:lnTo>
                    <a:pt x="956" y="559"/>
                  </a:lnTo>
                  <a:lnTo>
                    <a:pt x="816" y="539"/>
                  </a:lnTo>
                  <a:cubicBezTo>
                    <a:pt x="814" y="539"/>
                    <a:pt x="812" y="537"/>
                    <a:pt x="810" y="535"/>
                  </a:cubicBezTo>
                  <a:lnTo>
                    <a:pt x="788" y="495"/>
                  </a:lnTo>
                  <a:lnTo>
                    <a:pt x="799" y="498"/>
                  </a:lnTo>
                  <a:lnTo>
                    <a:pt x="660" y="579"/>
                  </a:lnTo>
                  <a:cubicBezTo>
                    <a:pt x="658" y="580"/>
                    <a:pt x="656" y="580"/>
                    <a:pt x="654" y="580"/>
                  </a:cubicBezTo>
                  <a:lnTo>
                    <a:pt x="539" y="559"/>
                  </a:lnTo>
                  <a:lnTo>
                    <a:pt x="542" y="559"/>
                  </a:lnTo>
                  <a:lnTo>
                    <a:pt x="427" y="580"/>
                  </a:lnTo>
                  <a:cubicBezTo>
                    <a:pt x="426" y="580"/>
                    <a:pt x="426" y="580"/>
                    <a:pt x="425" y="580"/>
                  </a:cubicBezTo>
                  <a:lnTo>
                    <a:pt x="263" y="580"/>
                  </a:lnTo>
                  <a:lnTo>
                    <a:pt x="267" y="579"/>
                  </a:lnTo>
                  <a:lnTo>
                    <a:pt x="105" y="659"/>
                  </a:lnTo>
                  <a:lnTo>
                    <a:pt x="107" y="658"/>
                  </a:lnTo>
                  <a:lnTo>
                    <a:pt x="38" y="718"/>
                  </a:lnTo>
                  <a:cubicBezTo>
                    <a:pt x="36" y="720"/>
                    <a:pt x="33" y="721"/>
                    <a:pt x="30" y="720"/>
                  </a:cubicBezTo>
                  <a:cubicBezTo>
                    <a:pt x="28" y="719"/>
                    <a:pt x="26" y="717"/>
                    <a:pt x="25" y="714"/>
                  </a:cubicBezTo>
                  <a:lnTo>
                    <a:pt x="1" y="573"/>
                  </a:lnTo>
                  <a:cubicBezTo>
                    <a:pt x="0" y="573"/>
                    <a:pt x="0" y="572"/>
                    <a:pt x="0" y="572"/>
                  </a:cubicBezTo>
                  <a:lnTo>
                    <a:pt x="0" y="491"/>
                  </a:lnTo>
                  <a:cubicBezTo>
                    <a:pt x="0" y="490"/>
                    <a:pt x="1" y="488"/>
                    <a:pt x="2" y="487"/>
                  </a:cubicBezTo>
                  <a:lnTo>
                    <a:pt x="48" y="407"/>
                  </a:lnTo>
                  <a:lnTo>
                    <a:pt x="48" y="408"/>
                  </a:lnTo>
                  <a:lnTo>
                    <a:pt x="119" y="227"/>
                  </a:lnTo>
                  <a:cubicBezTo>
                    <a:pt x="120" y="225"/>
                    <a:pt x="121" y="224"/>
                    <a:pt x="122" y="223"/>
                  </a:cubicBezTo>
                  <a:lnTo>
                    <a:pt x="212" y="163"/>
                  </a:lnTo>
                  <a:cubicBezTo>
                    <a:pt x="215" y="161"/>
                    <a:pt x="218" y="161"/>
                    <a:pt x="220" y="162"/>
                  </a:cubicBezTo>
                  <a:lnTo>
                    <a:pt x="313" y="202"/>
                  </a:lnTo>
                  <a:cubicBezTo>
                    <a:pt x="314" y="203"/>
                    <a:pt x="315" y="203"/>
                    <a:pt x="315" y="204"/>
                  </a:cubicBezTo>
                  <a:lnTo>
                    <a:pt x="452" y="324"/>
                  </a:lnTo>
                  <a:lnTo>
                    <a:pt x="447" y="322"/>
                  </a:lnTo>
                  <a:lnTo>
                    <a:pt x="540" y="322"/>
                  </a:lnTo>
                  <a:lnTo>
                    <a:pt x="587" y="322"/>
                  </a:lnTo>
                  <a:lnTo>
                    <a:pt x="579" y="328"/>
                  </a:lnTo>
                  <a:lnTo>
                    <a:pt x="601" y="267"/>
                  </a:lnTo>
                  <a:lnTo>
                    <a:pt x="601" y="270"/>
                  </a:lnTo>
                  <a:lnTo>
                    <a:pt x="601" y="189"/>
                  </a:lnTo>
                  <a:lnTo>
                    <a:pt x="601" y="192"/>
                  </a:lnTo>
                  <a:lnTo>
                    <a:pt x="579" y="111"/>
                  </a:lnTo>
                  <a:cubicBezTo>
                    <a:pt x="579" y="110"/>
                    <a:pt x="579" y="110"/>
                    <a:pt x="579" y="109"/>
                  </a:cubicBezTo>
                  <a:lnTo>
                    <a:pt x="579" y="89"/>
                  </a:lnTo>
                  <a:cubicBezTo>
                    <a:pt x="579" y="86"/>
                    <a:pt x="581" y="83"/>
                    <a:pt x="583" y="82"/>
                  </a:cubicBezTo>
                  <a:lnTo>
                    <a:pt x="723" y="2"/>
                  </a:lnTo>
                  <a:cubicBezTo>
                    <a:pt x="724" y="1"/>
                    <a:pt x="725" y="0"/>
                    <a:pt x="727" y="0"/>
                  </a:cubicBezTo>
                  <a:lnTo>
                    <a:pt x="842" y="0"/>
                  </a:lnTo>
                  <a:cubicBezTo>
                    <a:pt x="843" y="0"/>
                    <a:pt x="845" y="1"/>
                    <a:pt x="846" y="1"/>
                  </a:cubicBezTo>
                  <a:lnTo>
                    <a:pt x="1030" y="102"/>
                  </a:lnTo>
                  <a:lnTo>
                    <a:pt x="1024" y="101"/>
                  </a:lnTo>
                  <a:lnTo>
                    <a:pt x="1140" y="81"/>
                  </a:lnTo>
                  <a:cubicBezTo>
                    <a:pt x="1140" y="81"/>
                    <a:pt x="1141" y="81"/>
                    <a:pt x="1142" y="81"/>
                  </a:cubicBezTo>
                  <a:lnTo>
                    <a:pt x="1282" y="101"/>
                  </a:lnTo>
                  <a:cubicBezTo>
                    <a:pt x="1285" y="102"/>
                    <a:pt x="1288" y="104"/>
                    <a:pt x="1289" y="107"/>
                  </a:cubicBezTo>
                  <a:lnTo>
                    <a:pt x="1311" y="208"/>
                  </a:lnTo>
                  <a:lnTo>
                    <a:pt x="1308" y="204"/>
                  </a:lnTo>
                  <a:lnTo>
                    <a:pt x="1401" y="284"/>
                  </a:lnTo>
                  <a:close/>
                </a:path>
              </a:pathLst>
            </a:custGeom>
            <a:solidFill>
              <a:srgbClr val="000000"/>
            </a:solidFill>
            <a:ln w="0" cap="flat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282" name="Rectangle 249"/>
            <p:cNvSpPr>
              <a:spLocks noChangeArrowheads="1"/>
            </p:cNvSpPr>
            <p:nvPr/>
          </p:nvSpPr>
          <p:spPr bwMode="auto">
            <a:xfrm>
              <a:off x="4345" y="1630"/>
              <a:ext cx="52" cy="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sz="500" b="1">
                  <a:solidFill>
                    <a:srgbClr val="000000"/>
                  </a:solidFill>
                </a:rPr>
                <a:t>LV</a:t>
              </a:r>
              <a:endParaRPr lang="de-DE"/>
            </a:p>
          </p:txBody>
        </p:sp>
        <p:sp>
          <p:nvSpPr>
            <p:cNvPr id="7283" name="Freeform 250"/>
            <p:cNvSpPr>
              <a:spLocks noEditPoints="1"/>
            </p:cNvSpPr>
            <p:nvPr/>
          </p:nvSpPr>
          <p:spPr bwMode="auto">
            <a:xfrm>
              <a:off x="4155" y="1682"/>
              <a:ext cx="301" cy="198"/>
            </a:xfrm>
            <a:custGeom>
              <a:avLst/>
              <a:gdLst>
                <a:gd name="T0" fmla="*/ 0 w 1265"/>
                <a:gd name="T1" fmla="*/ 0 h 833"/>
                <a:gd name="T2" fmla="*/ 0 w 1265"/>
                <a:gd name="T3" fmla="*/ 0 h 833"/>
                <a:gd name="T4" fmla="*/ 0 w 1265"/>
                <a:gd name="T5" fmla="*/ 0 h 833"/>
                <a:gd name="T6" fmla="*/ 0 w 1265"/>
                <a:gd name="T7" fmla="*/ 0 h 833"/>
                <a:gd name="T8" fmla="*/ 0 w 1265"/>
                <a:gd name="T9" fmla="*/ 0 h 833"/>
                <a:gd name="T10" fmla="*/ 0 w 1265"/>
                <a:gd name="T11" fmla="*/ 0 h 833"/>
                <a:gd name="T12" fmla="*/ 0 w 1265"/>
                <a:gd name="T13" fmla="*/ 0 h 833"/>
                <a:gd name="T14" fmla="*/ 0 w 1265"/>
                <a:gd name="T15" fmla="*/ 0 h 833"/>
                <a:gd name="T16" fmla="*/ 0 w 1265"/>
                <a:gd name="T17" fmla="*/ 0 h 833"/>
                <a:gd name="T18" fmla="*/ 0 w 1265"/>
                <a:gd name="T19" fmla="*/ 0 h 833"/>
                <a:gd name="T20" fmla="*/ 0 w 1265"/>
                <a:gd name="T21" fmla="*/ 0 h 833"/>
                <a:gd name="T22" fmla="*/ 0 w 1265"/>
                <a:gd name="T23" fmla="*/ 0 h 833"/>
                <a:gd name="T24" fmla="*/ 0 w 1265"/>
                <a:gd name="T25" fmla="*/ 0 h 833"/>
                <a:gd name="T26" fmla="*/ 0 w 1265"/>
                <a:gd name="T27" fmla="*/ 0 h 833"/>
                <a:gd name="T28" fmla="*/ 0 w 1265"/>
                <a:gd name="T29" fmla="*/ 0 h 833"/>
                <a:gd name="T30" fmla="*/ 0 w 1265"/>
                <a:gd name="T31" fmla="*/ 0 h 833"/>
                <a:gd name="T32" fmla="*/ 0 w 1265"/>
                <a:gd name="T33" fmla="*/ 0 h 833"/>
                <a:gd name="T34" fmla="*/ 0 w 1265"/>
                <a:gd name="T35" fmla="*/ 0 h 833"/>
                <a:gd name="T36" fmla="*/ 0 w 1265"/>
                <a:gd name="T37" fmla="*/ 0 h 833"/>
                <a:gd name="T38" fmla="*/ 0 w 1265"/>
                <a:gd name="T39" fmla="*/ 0 h 833"/>
                <a:gd name="T40" fmla="*/ 0 w 1265"/>
                <a:gd name="T41" fmla="*/ 0 h 833"/>
                <a:gd name="T42" fmla="*/ 0 w 1265"/>
                <a:gd name="T43" fmla="*/ 0 h 833"/>
                <a:gd name="T44" fmla="*/ 0 w 1265"/>
                <a:gd name="T45" fmla="*/ 0 h 833"/>
                <a:gd name="T46" fmla="*/ 0 w 1265"/>
                <a:gd name="T47" fmla="*/ 0 h 833"/>
                <a:gd name="T48" fmla="*/ 0 w 1265"/>
                <a:gd name="T49" fmla="*/ 0 h 833"/>
                <a:gd name="T50" fmla="*/ 0 w 1265"/>
                <a:gd name="T51" fmla="*/ 0 h 833"/>
                <a:gd name="T52" fmla="*/ 0 w 1265"/>
                <a:gd name="T53" fmla="*/ 0 h 833"/>
                <a:gd name="T54" fmla="*/ 0 w 1265"/>
                <a:gd name="T55" fmla="*/ 0 h 833"/>
                <a:gd name="T56" fmla="*/ 0 w 1265"/>
                <a:gd name="T57" fmla="*/ 0 h 833"/>
                <a:gd name="T58" fmla="*/ 0 w 1265"/>
                <a:gd name="T59" fmla="*/ 0 h 833"/>
                <a:gd name="T60" fmla="*/ 0 w 1265"/>
                <a:gd name="T61" fmla="*/ 0 h 833"/>
                <a:gd name="T62" fmla="*/ 0 w 1265"/>
                <a:gd name="T63" fmla="*/ 0 h 833"/>
                <a:gd name="T64" fmla="*/ 0 w 1265"/>
                <a:gd name="T65" fmla="*/ 0 h 833"/>
                <a:gd name="T66" fmla="*/ 0 w 1265"/>
                <a:gd name="T67" fmla="*/ 0 h 833"/>
                <a:gd name="T68" fmla="*/ 0 w 1265"/>
                <a:gd name="T69" fmla="*/ 0 h 833"/>
                <a:gd name="T70" fmla="*/ 0 w 1265"/>
                <a:gd name="T71" fmla="*/ 0 h 833"/>
                <a:gd name="T72" fmla="*/ 0 w 1265"/>
                <a:gd name="T73" fmla="*/ 0 h 833"/>
                <a:gd name="T74" fmla="*/ 0 w 1265"/>
                <a:gd name="T75" fmla="*/ 0 h 833"/>
                <a:gd name="T76" fmla="*/ 0 w 1265"/>
                <a:gd name="T77" fmla="*/ 0 h 833"/>
                <a:gd name="T78" fmla="*/ 0 w 1265"/>
                <a:gd name="T79" fmla="*/ 0 h 833"/>
                <a:gd name="T80" fmla="*/ 0 w 1265"/>
                <a:gd name="T81" fmla="*/ 0 h 833"/>
                <a:gd name="T82" fmla="*/ 0 w 1265"/>
                <a:gd name="T83" fmla="*/ 0 h 833"/>
                <a:gd name="T84" fmla="*/ 0 w 1265"/>
                <a:gd name="T85" fmla="*/ 0 h 833"/>
                <a:gd name="T86" fmla="*/ 0 w 1265"/>
                <a:gd name="T87" fmla="*/ 0 h 833"/>
                <a:gd name="T88" fmla="*/ 0 w 1265"/>
                <a:gd name="T89" fmla="*/ 0 h 833"/>
                <a:gd name="T90" fmla="*/ 0 w 1265"/>
                <a:gd name="T91" fmla="*/ 0 h 833"/>
                <a:gd name="T92" fmla="*/ 0 w 1265"/>
                <a:gd name="T93" fmla="*/ 0 h 833"/>
                <a:gd name="T94" fmla="*/ 0 w 1265"/>
                <a:gd name="T95" fmla="*/ 0 h 833"/>
                <a:gd name="T96" fmla="*/ 0 w 1265"/>
                <a:gd name="T97" fmla="*/ 0 h 833"/>
                <a:gd name="T98" fmla="*/ 0 w 1265"/>
                <a:gd name="T99" fmla="*/ 0 h 833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1265"/>
                <a:gd name="T151" fmla="*/ 0 h 833"/>
                <a:gd name="T152" fmla="*/ 1265 w 1265"/>
                <a:gd name="T153" fmla="*/ 833 h 833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1265" h="833">
                  <a:moveTo>
                    <a:pt x="866" y="776"/>
                  </a:moveTo>
                  <a:lnTo>
                    <a:pt x="861" y="776"/>
                  </a:lnTo>
                  <a:lnTo>
                    <a:pt x="905" y="756"/>
                  </a:lnTo>
                  <a:lnTo>
                    <a:pt x="901" y="766"/>
                  </a:lnTo>
                  <a:lnTo>
                    <a:pt x="879" y="705"/>
                  </a:lnTo>
                  <a:cubicBezTo>
                    <a:pt x="878" y="703"/>
                    <a:pt x="878" y="700"/>
                    <a:pt x="879" y="698"/>
                  </a:cubicBezTo>
                  <a:cubicBezTo>
                    <a:pt x="880" y="696"/>
                    <a:pt x="882" y="695"/>
                    <a:pt x="884" y="694"/>
                  </a:cubicBezTo>
                  <a:lnTo>
                    <a:pt x="978" y="674"/>
                  </a:lnTo>
                  <a:lnTo>
                    <a:pt x="975" y="675"/>
                  </a:lnTo>
                  <a:lnTo>
                    <a:pt x="1044" y="634"/>
                  </a:lnTo>
                  <a:cubicBezTo>
                    <a:pt x="1046" y="633"/>
                    <a:pt x="1048" y="633"/>
                    <a:pt x="1050" y="633"/>
                  </a:cubicBezTo>
                  <a:lnTo>
                    <a:pt x="1119" y="654"/>
                  </a:lnTo>
                  <a:lnTo>
                    <a:pt x="1110" y="665"/>
                  </a:lnTo>
                  <a:lnTo>
                    <a:pt x="1063" y="584"/>
                  </a:lnTo>
                  <a:cubicBezTo>
                    <a:pt x="1062" y="582"/>
                    <a:pt x="1062" y="581"/>
                    <a:pt x="1062" y="580"/>
                  </a:cubicBezTo>
                  <a:lnTo>
                    <a:pt x="1062" y="498"/>
                  </a:lnTo>
                  <a:lnTo>
                    <a:pt x="1062" y="416"/>
                  </a:lnTo>
                  <a:cubicBezTo>
                    <a:pt x="1062" y="413"/>
                    <a:pt x="1064" y="410"/>
                    <a:pt x="1068" y="409"/>
                  </a:cubicBezTo>
                  <a:lnTo>
                    <a:pt x="1139" y="388"/>
                  </a:lnTo>
                  <a:lnTo>
                    <a:pt x="1134" y="393"/>
                  </a:lnTo>
                  <a:lnTo>
                    <a:pt x="1156" y="332"/>
                  </a:lnTo>
                  <a:cubicBezTo>
                    <a:pt x="1157" y="330"/>
                    <a:pt x="1158" y="328"/>
                    <a:pt x="1161" y="327"/>
                  </a:cubicBezTo>
                  <a:lnTo>
                    <a:pt x="1229" y="307"/>
                  </a:lnTo>
                  <a:lnTo>
                    <a:pt x="1225" y="310"/>
                  </a:lnTo>
                  <a:lnTo>
                    <a:pt x="1250" y="270"/>
                  </a:lnTo>
                  <a:lnTo>
                    <a:pt x="1254" y="281"/>
                  </a:lnTo>
                  <a:lnTo>
                    <a:pt x="1186" y="261"/>
                  </a:lnTo>
                  <a:cubicBezTo>
                    <a:pt x="1182" y="260"/>
                    <a:pt x="1180" y="257"/>
                    <a:pt x="1180" y="253"/>
                  </a:cubicBezTo>
                  <a:lnTo>
                    <a:pt x="1180" y="172"/>
                  </a:lnTo>
                  <a:lnTo>
                    <a:pt x="1186" y="179"/>
                  </a:lnTo>
                  <a:lnTo>
                    <a:pt x="1093" y="159"/>
                  </a:lnTo>
                  <a:cubicBezTo>
                    <a:pt x="1092" y="159"/>
                    <a:pt x="1091" y="159"/>
                    <a:pt x="1091" y="158"/>
                  </a:cubicBezTo>
                  <a:lnTo>
                    <a:pt x="1022" y="117"/>
                  </a:lnTo>
                  <a:lnTo>
                    <a:pt x="930" y="77"/>
                  </a:lnTo>
                  <a:lnTo>
                    <a:pt x="932" y="78"/>
                  </a:lnTo>
                  <a:lnTo>
                    <a:pt x="792" y="57"/>
                  </a:lnTo>
                  <a:cubicBezTo>
                    <a:pt x="789" y="57"/>
                    <a:pt x="787" y="55"/>
                    <a:pt x="786" y="53"/>
                  </a:cubicBezTo>
                  <a:lnTo>
                    <a:pt x="764" y="12"/>
                  </a:lnTo>
                  <a:lnTo>
                    <a:pt x="775" y="15"/>
                  </a:lnTo>
                  <a:lnTo>
                    <a:pt x="635" y="97"/>
                  </a:lnTo>
                  <a:cubicBezTo>
                    <a:pt x="633" y="98"/>
                    <a:pt x="632" y="98"/>
                    <a:pt x="630" y="98"/>
                  </a:cubicBezTo>
                  <a:lnTo>
                    <a:pt x="514" y="78"/>
                  </a:lnTo>
                  <a:lnTo>
                    <a:pt x="517" y="78"/>
                  </a:lnTo>
                  <a:lnTo>
                    <a:pt x="402" y="98"/>
                  </a:lnTo>
                  <a:cubicBezTo>
                    <a:pt x="402" y="98"/>
                    <a:pt x="401" y="98"/>
                    <a:pt x="401" y="98"/>
                  </a:cubicBezTo>
                  <a:lnTo>
                    <a:pt x="239" y="98"/>
                  </a:lnTo>
                  <a:lnTo>
                    <a:pt x="242" y="97"/>
                  </a:lnTo>
                  <a:lnTo>
                    <a:pt x="81" y="179"/>
                  </a:lnTo>
                  <a:lnTo>
                    <a:pt x="82" y="178"/>
                  </a:lnTo>
                  <a:lnTo>
                    <a:pt x="14" y="239"/>
                  </a:lnTo>
                  <a:lnTo>
                    <a:pt x="16" y="229"/>
                  </a:lnTo>
                  <a:lnTo>
                    <a:pt x="37" y="270"/>
                  </a:lnTo>
                  <a:cubicBezTo>
                    <a:pt x="38" y="270"/>
                    <a:pt x="38" y="271"/>
                    <a:pt x="38" y="271"/>
                  </a:cubicBezTo>
                  <a:lnTo>
                    <a:pt x="85" y="435"/>
                  </a:lnTo>
                  <a:lnTo>
                    <a:pt x="84" y="433"/>
                  </a:lnTo>
                  <a:lnTo>
                    <a:pt x="109" y="474"/>
                  </a:lnTo>
                  <a:lnTo>
                    <a:pt x="103" y="470"/>
                  </a:lnTo>
                  <a:lnTo>
                    <a:pt x="194" y="490"/>
                  </a:lnTo>
                  <a:lnTo>
                    <a:pt x="192" y="490"/>
                  </a:lnTo>
                  <a:lnTo>
                    <a:pt x="354" y="490"/>
                  </a:lnTo>
                  <a:cubicBezTo>
                    <a:pt x="355" y="490"/>
                    <a:pt x="356" y="490"/>
                    <a:pt x="356" y="490"/>
                  </a:cubicBezTo>
                  <a:lnTo>
                    <a:pt x="425" y="511"/>
                  </a:lnTo>
                  <a:cubicBezTo>
                    <a:pt x="428" y="512"/>
                    <a:pt x="430" y="514"/>
                    <a:pt x="430" y="516"/>
                  </a:cubicBezTo>
                  <a:lnTo>
                    <a:pt x="477" y="700"/>
                  </a:lnTo>
                  <a:lnTo>
                    <a:pt x="469" y="694"/>
                  </a:lnTo>
                  <a:lnTo>
                    <a:pt x="494" y="694"/>
                  </a:lnTo>
                  <a:cubicBezTo>
                    <a:pt x="495" y="694"/>
                    <a:pt x="496" y="694"/>
                    <a:pt x="497" y="695"/>
                  </a:cubicBezTo>
                  <a:lnTo>
                    <a:pt x="659" y="756"/>
                  </a:lnTo>
                  <a:cubicBezTo>
                    <a:pt x="661" y="757"/>
                    <a:pt x="663" y="758"/>
                    <a:pt x="663" y="761"/>
                  </a:cubicBezTo>
                  <a:lnTo>
                    <a:pt x="685" y="822"/>
                  </a:lnTo>
                  <a:lnTo>
                    <a:pt x="673" y="818"/>
                  </a:lnTo>
                  <a:lnTo>
                    <a:pt x="767" y="757"/>
                  </a:lnTo>
                  <a:cubicBezTo>
                    <a:pt x="768" y="755"/>
                    <a:pt x="771" y="755"/>
                    <a:pt x="773" y="755"/>
                  </a:cubicBezTo>
                  <a:lnTo>
                    <a:pt x="866" y="776"/>
                  </a:lnTo>
                  <a:close/>
                  <a:moveTo>
                    <a:pt x="769" y="771"/>
                  </a:moveTo>
                  <a:lnTo>
                    <a:pt x="775" y="770"/>
                  </a:lnTo>
                  <a:lnTo>
                    <a:pt x="682" y="831"/>
                  </a:lnTo>
                  <a:cubicBezTo>
                    <a:pt x="680" y="833"/>
                    <a:pt x="678" y="833"/>
                    <a:pt x="675" y="832"/>
                  </a:cubicBezTo>
                  <a:cubicBezTo>
                    <a:pt x="673" y="831"/>
                    <a:pt x="671" y="829"/>
                    <a:pt x="670" y="827"/>
                  </a:cubicBezTo>
                  <a:lnTo>
                    <a:pt x="648" y="766"/>
                  </a:lnTo>
                  <a:lnTo>
                    <a:pt x="653" y="771"/>
                  </a:lnTo>
                  <a:lnTo>
                    <a:pt x="491" y="710"/>
                  </a:lnTo>
                  <a:lnTo>
                    <a:pt x="494" y="710"/>
                  </a:lnTo>
                  <a:lnTo>
                    <a:pt x="469" y="710"/>
                  </a:lnTo>
                  <a:cubicBezTo>
                    <a:pt x="466" y="710"/>
                    <a:pt x="462" y="708"/>
                    <a:pt x="462" y="704"/>
                  </a:cubicBezTo>
                  <a:lnTo>
                    <a:pt x="415" y="520"/>
                  </a:lnTo>
                  <a:lnTo>
                    <a:pt x="420" y="526"/>
                  </a:lnTo>
                  <a:lnTo>
                    <a:pt x="352" y="506"/>
                  </a:lnTo>
                  <a:lnTo>
                    <a:pt x="354" y="506"/>
                  </a:lnTo>
                  <a:lnTo>
                    <a:pt x="192" y="506"/>
                  </a:lnTo>
                  <a:cubicBezTo>
                    <a:pt x="192" y="506"/>
                    <a:pt x="191" y="506"/>
                    <a:pt x="190" y="506"/>
                  </a:cubicBezTo>
                  <a:lnTo>
                    <a:pt x="100" y="485"/>
                  </a:lnTo>
                  <a:cubicBezTo>
                    <a:pt x="98" y="485"/>
                    <a:pt x="96" y="484"/>
                    <a:pt x="95" y="482"/>
                  </a:cubicBezTo>
                  <a:lnTo>
                    <a:pt x="70" y="441"/>
                  </a:lnTo>
                  <a:cubicBezTo>
                    <a:pt x="70" y="440"/>
                    <a:pt x="70" y="440"/>
                    <a:pt x="69" y="439"/>
                  </a:cubicBezTo>
                  <a:lnTo>
                    <a:pt x="23" y="276"/>
                  </a:lnTo>
                  <a:lnTo>
                    <a:pt x="23" y="277"/>
                  </a:lnTo>
                  <a:lnTo>
                    <a:pt x="1" y="237"/>
                  </a:lnTo>
                  <a:cubicBezTo>
                    <a:pt x="0" y="233"/>
                    <a:pt x="0" y="229"/>
                    <a:pt x="3" y="227"/>
                  </a:cubicBezTo>
                  <a:lnTo>
                    <a:pt x="72" y="166"/>
                  </a:lnTo>
                  <a:cubicBezTo>
                    <a:pt x="72" y="165"/>
                    <a:pt x="73" y="165"/>
                    <a:pt x="73" y="165"/>
                  </a:cubicBezTo>
                  <a:lnTo>
                    <a:pt x="235" y="83"/>
                  </a:lnTo>
                  <a:cubicBezTo>
                    <a:pt x="236" y="82"/>
                    <a:pt x="238" y="82"/>
                    <a:pt x="239" y="82"/>
                  </a:cubicBezTo>
                  <a:lnTo>
                    <a:pt x="401" y="82"/>
                  </a:lnTo>
                  <a:lnTo>
                    <a:pt x="399" y="82"/>
                  </a:lnTo>
                  <a:lnTo>
                    <a:pt x="514" y="62"/>
                  </a:lnTo>
                  <a:cubicBezTo>
                    <a:pt x="515" y="62"/>
                    <a:pt x="516" y="62"/>
                    <a:pt x="517" y="62"/>
                  </a:cubicBezTo>
                  <a:lnTo>
                    <a:pt x="632" y="82"/>
                  </a:lnTo>
                  <a:lnTo>
                    <a:pt x="627" y="83"/>
                  </a:lnTo>
                  <a:lnTo>
                    <a:pt x="767" y="2"/>
                  </a:lnTo>
                  <a:cubicBezTo>
                    <a:pt x="769" y="0"/>
                    <a:pt x="771" y="0"/>
                    <a:pt x="773" y="1"/>
                  </a:cubicBezTo>
                  <a:cubicBezTo>
                    <a:pt x="775" y="1"/>
                    <a:pt x="777" y="3"/>
                    <a:pt x="778" y="5"/>
                  </a:cubicBezTo>
                  <a:lnTo>
                    <a:pt x="800" y="45"/>
                  </a:lnTo>
                  <a:lnTo>
                    <a:pt x="794" y="41"/>
                  </a:lnTo>
                  <a:lnTo>
                    <a:pt x="934" y="62"/>
                  </a:lnTo>
                  <a:cubicBezTo>
                    <a:pt x="935" y="62"/>
                    <a:pt x="935" y="62"/>
                    <a:pt x="936" y="62"/>
                  </a:cubicBezTo>
                  <a:lnTo>
                    <a:pt x="1030" y="104"/>
                  </a:lnTo>
                  <a:lnTo>
                    <a:pt x="1099" y="144"/>
                  </a:lnTo>
                  <a:lnTo>
                    <a:pt x="1096" y="143"/>
                  </a:lnTo>
                  <a:lnTo>
                    <a:pt x="1190" y="164"/>
                  </a:lnTo>
                  <a:cubicBezTo>
                    <a:pt x="1193" y="165"/>
                    <a:pt x="1196" y="168"/>
                    <a:pt x="1196" y="172"/>
                  </a:cubicBezTo>
                  <a:lnTo>
                    <a:pt x="1196" y="253"/>
                  </a:lnTo>
                  <a:lnTo>
                    <a:pt x="1190" y="246"/>
                  </a:lnTo>
                  <a:lnTo>
                    <a:pt x="1259" y="266"/>
                  </a:lnTo>
                  <a:cubicBezTo>
                    <a:pt x="1261" y="267"/>
                    <a:pt x="1263" y="268"/>
                    <a:pt x="1264" y="271"/>
                  </a:cubicBezTo>
                  <a:cubicBezTo>
                    <a:pt x="1265" y="273"/>
                    <a:pt x="1265" y="276"/>
                    <a:pt x="1263" y="278"/>
                  </a:cubicBezTo>
                  <a:lnTo>
                    <a:pt x="1239" y="319"/>
                  </a:lnTo>
                  <a:cubicBezTo>
                    <a:pt x="1238" y="320"/>
                    <a:pt x="1236" y="322"/>
                    <a:pt x="1234" y="322"/>
                  </a:cubicBezTo>
                  <a:lnTo>
                    <a:pt x="1165" y="343"/>
                  </a:lnTo>
                  <a:lnTo>
                    <a:pt x="1171" y="338"/>
                  </a:lnTo>
                  <a:lnTo>
                    <a:pt x="1149" y="399"/>
                  </a:lnTo>
                  <a:cubicBezTo>
                    <a:pt x="1148" y="401"/>
                    <a:pt x="1146" y="403"/>
                    <a:pt x="1143" y="404"/>
                  </a:cubicBezTo>
                  <a:lnTo>
                    <a:pt x="1072" y="424"/>
                  </a:lnTo>
                  <a:lnTo>
                    <a:pt x="1078" y="416"/>
                  </a:lnTo>
                  <a:lnTo>
                    <a:pt x="1078" y="498"/>
                  </a:lnTo>
                  <a:lnTo>
                    <a:pt x="1078" y="580"/>
                  </a:lnTo>
                  <a:lnTo>
                    <a:pt x="1077" y="576"/>
                  </a:lnTo>
                  <a:lnTo>
                    <a:pt x="1124" y="657"/>
                  </a:lnTo>
                  <a:cubicBezTo>
                    <a:pt x="1125" y="660"/>
                    <a:pt x="1125" y="664"/>
                    <a:pt x="1123" y="666"/>
                  </a:cubicBezTo>
                  <a:cubicBezTo>
                    <a:pt x="1121" y="669"/>
                    <a:pt x="1117" y="670"/>
                    <a:pt x="1114" y="669"/>
                  </a:cubicBezTo>
                  <a:lnTo>
                    <a:pt x="1046" y="649"/>
                  </a:lnTo>
                  <a:lnTo>
                    <a:pt x="1052" y="648"/>
                  </a:lnTo>
                  <a:lnTo>
                    <a:pt x="984" y="689"/>
                  </a:lnTo>
                  <a:cubicBezTo>
                    <a:pt x="983" y="689"/>
                    <a:pt x="982" y="689"/>
                    <a:pt x="981" y="689"/>
                  </a:cubicBezTo>
                  <a:lnTo>
                    <a:pt x="888" y="710"/>
                  </a:lnTo>
                  <a:lnTo>
                    <a:pt x="894" y="699"/>
                  </a:lnTo>
                  <a:lnTo>
                    <a:pt x="916" y="761"/>
                  </a:lnTo>
                  <a:cubicBezTo>
                    <a:pt x="917" y="764"/>
                    <a:pt x="915" y="769"/>
                    <a:pt x="911" y="771"/>
                  </a:cubicBezTo>
                  <a:lnTo>
                    <a:pt x="868" y="791"/>
                  </a:lnTo>
                  <a:cubicBezTo>
                    <a:pt x="866" y="792"/>
                    <a:pt x="864" y="792"/>
                    <a:pt x="863" y="791"/>
                  </a:cubicBezTo>
                  <a:lnTo>
                    <a:pt x="769" y="771"/>
                  </a:lnTo>
                  <a:close/>
                </a:path>
              </a:pathLst>
            </a:custGeom>
            <a:solidFill>
              <a:srgbClr val="000000"/>
            </a:solidFill>
            <a:ln w="0" cap="flat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284" name="Rectangle 251"/>
            <p:cNvSpPr>
              <a:spLocks noChangeArrowheads="1"/>
            </p:cNvSpPr>
            <p:nvPr/>
          </p:nvSpPr>
          <p:spPr bwMode="auto">
            <a:xfrm>
              <a:off x="4282" y="1738"/>
              <a:ext cx="48" cy="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sz="500" b="1">
                  <a:solidFill>
                    <a:srgbClr val="000000"/>
                  </a:solidFill>
                </a:rPr>
                <a:t>LT</a:t>
              </a:r>
              <a:endParaRPr lang="de-DE"/>
            </a:p>
          </p:txBody>
        </p:sp>
        <p:sp>
          <p:nvSpPr>
            <p:cNvPr id="7285" name="Freeform 252"/>
            <p:cNvSpPr>
              <a:spLocks/>
            </p:cNvSpPr>
            <p:nvPr/>
          </p:nvSpPr>
          <p:spPr bwMode="auto">
            <a:xfrm>
              <a:off x="4408" y="2530"/>
              <a:ext cx="390" cy="249"/>
            </a:xfrm>
            <a:custGeom>
              <a:avLst/>
              <a:gdLst>
                <a:gd name="T0" fmla="*/ 521 w 371"/>
                <a:gd name="T1" fmla="*/ 270 h 237"/>
                <a:gd name="T2" fmla="*/ 559 w 371"/>
                <a:gd name="T3" fmla="*/ 260 h 237"/>
                <a:gd name="T4" fmla="*/ 587 w 371"/>
                <a:gd name="T5" fmla="*/ 245 h 237"/>
                <a:gd name="T6" fmla="*/ 644 w 371"/>
                <a:gd name="T7" fmla="*/ 250 h 237"/>
                <a:gd name="T8" fmla="*/ 675 w 371"/>
                <a:gd name="T9" fmla="*/ 245 h 237"/>
                <a:gd name="T10" fmla="*/ 644 w 371"/>
                <a:gd name="T11" fmla="*/ 209 h 237"/>
                <a:gd name="T12" fmla="*/ 602 w 371"/>
                <a:gd name="T13" fmla="*/ 184 h 237"/>
                <a:gd name="T14" fmla="*/ 631 w 371"/>
                <a:gd name="T15" fmla="*/ 151 h 237"/>
                <a:gd name="T16" fmla="*/ 631 w 371"/>
                <a:gd name="T17" fmla="*/ 110 h 237"/>
                <a:gd name="T18" fmla="*/ 631 w 371"/>
                <a:gd name="T19" fmla="*/ 75 h 237"/>
                <a:gd name="T20" fmla="*/ 653 w 371"/>
                <a:gd name="T21" fmla="*/ 68 h 237"/>
                <a:gd name="T22" fmla="*/ 668 w 371"/>
                <a:gd name="T23" fmla="*/ 50 h 237"/>
                <a:gd name="T24" fmla="*/ 668 w 371"/>
                <a:gd name="T25" fmla="*/ 32 h 237"/>
                <a:gd name="T26" fmla="*/ 668 w 371"/>
                <a:gd name="T27" fmla="*/ 22 h 237"/>
                <a:gd name="T28" fmla="*/ 609 w 371"/>
                <a:gd name="T29" fmla="*/ 22 h 237"/>
                <a:gd name="T30" fmla="*/ 602 w 371"/>
                <a:gd name="T31" fmla="*/ 0 h 237"/>
                <a:gd name="T32" fmla="*/ 552 w 371"/>
                <a:gd name="T33" fmla="*/ 5 h 237"/>
                <a:gd name="T34" fmla="*/ 521 w 371"/>
                <a:gd name="T35" fmla="*/ 0 h 237"/>
                <a:gd name="T36" fmla="*/ 473 w 371"/>
                <a:gd name="T37" fmla="*/ 5 h 237"/>
                <a:gd name="T38" fmla="*/ 417 w 371"/>
                <a:gd name="T39" fmla="*/ 26 h 237"/>
                <a:gd name="T40" fmla="*/ 367 w 371"/>
                <a:gd name="T41" fmla="*/ 84 h 237"/>
                <a:gd name="T42" fmla="*/ 310 w 371"/>
                <a:gd name="T43" fmla="*/ 92 h 237"/>
                <a:gd name="T44" fmla="*/ 252 w 371"/>
                <a:gd name="T45" fmla="*/ 92 h 237"/>
                <a:gd name="T46" fmla="*/ 222 w 371"/>
                <a:gd name="T47" fmla="*/ 92 h 237"/>
                <a:gd name="T48" fmla="*/ 194 w 371"/>
                <a:gd name="T49" fmla="*/ 117 h 237"/>
                <a:gd name="T50" fmla="*/ 87 w 371"/>
                <a:gd name="T51" fmla="*/ 117 h 237"/>
                <a:gd name="T52" fmla="*/ 48 w 371"/>
                <a:gd name="T53" fmla="*/ 110 h 237"/>
                <a:gd name="T54" fmla="*/ 48 w 371"/>
                <a:gd name="T55" fmla="*/ 84 h 237"/>
                <a:gd name="T56" fmla="*/ 6 w 371"/>
                <a:gd name="T57" fmla="*/ 68 h 237"/>
                <a:gd name="T58" fmla="*/ 0 w 371"/>
                <a:gd name="T59" fmla="*/ 92 h 237"/>
                <a:gd name="T60" fmla="*/ 6 w 371"/>
                <a:gd name="T61" fmla="*/ 128 h 237"/>
                <a:gd name="T62" fmla="*/ 29 w 371"/>
                <a:gd name="T63" fmla="*/ 159 h 237"/>
                <a:gd name="T64" fmla="*/ 78 w 371"/>
                <a:gd name="T65" fmla="*/ 193 h 237"/>
                <a:gd name="T66" fmla="*/ 61 w 371"/>
                <a:gd name="T67" fmla="*/ 235 h 237"/>
                <a:gd name="T68" fmla="*/ 38 w 371"/>
                <a:gd name="T69" fmla="*/ 245 h 237"/>
                <a:gd name="T70" fmla="*/ 38 w 371"/>
                <a:gd name="T71" fmla="*/ 276 h 237"/>
                <a:gd name="T72" fmla="*/ 61 w 371"/>
                <a:gd name="T73" fmla="*/ 285 h 237"/>
                <a:gd name="T74" fmla="*/ 48 w 371"/>
                <a:gd name="T75" fmla="*/ 318 h 237"/>
                <a:gd name="T76" fmla="*/ 61 w 371"/>
                <a:gd name="T77" fmla="*/ 335 h 237"/>
                <a:gd name="T78" fmla="*/ 106 w 371"/>
                <a:gd name="T79" fmla="*/ 352 h 237"/>
                <a:gd name="T80" fmla="*/ 128 w 371"/>
                <a:gd name="T81" fmla="*/ 388 h 237"/>
                <a:gd name="T82" fmla="*/ 128 w 371"/>
                <a:gd name="T83" fmla="*/ 430 h 237"/>
                <a:gd name="T84" fmla="*/ 128 w 371"/>
                <a:gd name="T85" fmla="*/ 419 h 237"/>
                <a:gd name="T86" fmla="*/ 175 w 371"/>
                <a:gd name="T87" fmla="*/ 419 h 237"/>
                <a:gd name="T88" fmla="*/ 222 w 371"/>
                <a:gd name="T89" fmla="*/ 402 h 237"/>
                <a:gd name="T90" fmla="*/ 281 w 371"/>
                <a:gd name="T91" fmla="*/ 369 h 237"/>
                <a:gd name="T92" fmla="*/ 317 w 371"/>
                <a:gd name="T93" fmla="*/ 388 h 237"/>
                <a:gd name="T94" fmla="*/ 358 w 371"/>
                <a:gd name="T95" fmla="*/ 388 h 237"/>
                <a:gd name="T96" fmla="*/ 386 w 371"/>
                <a:gd name="T97" fmla="*/ 388 h 237"/>
                <a:gd name="T98" fmla="*/ 453 w 371"/>
                <a:gd name="T99" fmla="*/ 369 h 237"/>
                <a:gd name="T100" fmla="*/ 495 w 371"/>
                <a:gd name="T101" fmla="*/ 352 h 237"/>
                <a:gd name="T102" fmla="*/ 484 w 371"/>
                <a:gd name="T103" fmla="*/ 312 h 237"/>
                <a:gd name="T104" fmla="*/ 510 w 371"/>
                <a:gd name="T105" fmla="*/ 312 h 237"/>
                <a:gd name="T106" fmla="*/ 521 w 371"/>
                <a:gd name="T107" fmla="*/ 295 h 237"/>
                <a:gd name="T108" fmla="*/ 521 w 371"/>
                <a:gd name="T109" fmla="*/ 270 h 237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371"/>
                <a:gd name="T166" fmla="*/ 0 h 237"/>
                <a:gd name="T167" fmla="*/ 371 w 371"/>
                <a:gd name="T168" fmla="*/ 237 h 237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371" h="237">
                  <a:moveTo>
                    <a:pt x="286" y="149"/>
                  </a:moveTo>
                  <a:lnTo>
                    <a:pt x="308" y="144"/>
                  </a:lnTo>
                  <a:lnTo>
                    <a:pt x="323" y="135"/>
                  </a:lnTo>
                  <a:lnTo>
                    <a:pt x="355" y="139"/>
                  </a:lnTo>
                  <a:lnTo>
                    <a:pt x="371" y="135"/>
                  </a:lnTo>
                  <a:lnTo>
                    <a:pt x="355" y="116"/>
                  </a:lnTo>
                  <a:lnTo>
                    <a:pt x="329" y="102"/>
                  </a:lnTo>
                  <a:lnTo>
                    <a:pt x="345" y="84"/>
                  </a:lnTo>
                  <a:lnTo>
                    <a:pt x="345" y="61"/>
                  </a:lnTo>
                  <a:lnTo>
                    <a:pt x="345" y="42"/>
                  </a:lnTo>
                  <a:lnTo>
                    <a:pt x="360" y="38"/>
                  </a:lnTo>
                  <a:lnTo>
                    <a:pt x="366" y="28"/>
                  </a:lnTo>
                  <a:lnTo>
                    <a:pt x="366" y="19"/>
                  </a:lnTo>
                  <a:lnTo>
                    <a:pt x="366" y="10"/>
                  </a:lnTo>
                  <a:lnTo>
                    <a:pt x="334" y="10"/>
                  </a:lnTo>
                  <a:lnTo>
                    <a:pt x="329" y="0"/>
                  </a:lnTo>
                  <a:lnTo>
                    <a:pt x="303" y="5"/>
                  </a:lnTo>
                  <a:lnTo>
                    <a:pt x="286" y="0"/>
                  </a:lnTo>
                  <a:lnTo>
                    <a:pt x="260" y="5"/>
                  </a:lnTo>
                  <a:lnTo>
                    <a:pt x="229" y="14"/>
                  </a:lnTo>
                  <a:lnTo>
                    <a:pt x="202" y="47"/>
                  </a:lnTo>
                  <a:lnTo>
                    <a:pt x="170" y="51"/>
                  </a:lnTo>
                  <a:lnTo>
                    <a:pt x="138" y="51"/>
                  </a:lnTo>
                  <a:lnTo>
                    <a:pt x="122" y="51"/>
                  </a:lnTo>
                  <a:lnTo>
                    <a:pt x="107" y="65"/>
                  </a:lnTo>
                  <a:lnTo>
                    <a:pt x="48" y="65"/>
                  </a:lnTo>
                  <a:lnTo>
                    <a:pt x="27" y="61"/>
                  </a:lnTo>
                  <a:lnTo>
                    <a:pt x="27" y="47"/>
                  </a:lnTo>
                  <a:lnTo>
                    <a:pt x="6" y="38"/>
                  </a:lnTo>
                  <a:lnTo>
                    <a:pt x="0" y="51"/>
                  </a:lnTo>
                  <a:lnTo>
                    <a:pt x="6" y="70"/>
                  </a:lnTo>
                  <a:lnTo>
                    <a:pt x="17" y="88"/>
                  </a:lnTo>
                  <a:lnTo>
                    <a:pt x="43" y="107"/>
                  </a:lnTo>
                  <a:lnTo>
                    <a:pt x="33" y="130"/>
                  </a:lnTo>
                  <a:lnTo>
                    <a:pt x="22" y="135"/>
                  </a:lnTo>
                  <a:lnTo>
                    <a:pt x="22" y="153"/>
                  </a:lnTo>
                  <a:lnTo>
                    <a:pt x="33" y="158"/>
                  </a:lnTo>
                  <a:lnTo>
                    <a:pt x="27" y="176"/>
                  </a:lnTo>
                  <a:lnTo>
                    <a:pt x="33" y="186"/>
                  </a:lnTo>
                  <a:lnTo>
                    <a:pt x="59" y="195"/>
                  </a:lnTo>
                  <a:lnTo>
                    <a:pt x="70" y="214"/>
                  </a:lnTo>
                  <a:lnTo>
                    <a:pt x="70" y="237"/>
                  </a:lnTo>
                  <a:lnTo>
                    <a:pt x="70" y="232"/>
                  </a:lnTo>
                  <a:lnTo>
                    <a:pt x="96" y="232"/>
                  </a:lnTo>
                  <a:lnTo>
                    <a:pt x="122" y="223"/>
                  </a:lnTo>
                  <a:lnTo>
                    <a:pt x="154" y="204"/>
                  </a:lnTo>
                  <a:lnTo>
                    <a:pt x="175" y="214"/>
                  </a:lnTo>
                  <a:lnTo>
                    <a:pt x="196" y="214"/>
                  </a:lnTo>
                  <a:lnTo>
                    <a:pt x="212" y="214"/>
                  </a:lnTo>
                  <a:lnTo>
                    <a:pt x="249" y="204"/>
                  </a:lnTo>
                  <a:lnTo>
                    <a:pt x="271" y="195"/>
                  </a:lnTo>
                  <a:lnTo>
                    <a:pt x="266" y="172"/>
                  </a:lnTo>
                  <a:lnTo>
                    <a:pt x="281" y="172"/>
                  </a:lnTo>
                  <a:lnTo>
                    <a:pt x="286" y="162"/>
                  </a:lnTo>
                  <a:lnTo>
                    <a:pt x="286" y="149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cs-CZ"/>
            </a:p>
          </p:txBody>
        </p:sp>
        <p:sp>
          <p:nvSpPr>
            <p:cNvPr id="7286" name="Freeform 253"/>
            <p:cNvSpPr>
              <a:spLocks noEditPoints="1"/>
            </p:cNvSpPr>
            <p:nvPr/>
          </p:nvSpPr>
          <p:spPr bwMode="auto">
            <a:xfrm>
              <a:off x="4406" y="2528"/>
              <a:ext cx="394" cy="253"/>
            </a:xfrm>
            <a:custGeom>
              <a:avLst/>
              <a:gdLst>
                <a:gd name="T0" fmla="*/ 0 w 1649"/>
                <a:gd name="T1" fmla="*/ 0 h 1059"/>
                <a:gd name="T2" fmla="*/ 0 w 1649"/>
                <a:gd name="T3" fmla="*/ 0 h 1059"/>
                <a:gd name="T4" fmla="*/ 0 w 1649"/>
                <a:gd name="T5" fmla="*/ 0 h 1059"/>
                <a:gd name="T6" fmla="*/ 0 w 1649"/>
                <a:gd name="T7" fmla="*/ 0 h 1059"/>
                <a:gd name="T8" fmla="*/ 0 w 1649"/>
                <a:gd name="T9" fmla="*/ 0 h 1059"/>
                <a:gd name="T10" fmla="*/ 0 w 1649"/>
                <a:gd name="T11" fmla="*/ 0 h 1059"/>
                <a:gd name="T12" fmla="*/ 0 w 1649"/>
                <a:gd name="T13" fmla="*/ 0 h 1059"/>
                <a:gd name="T14" fmla="*/ 0 w 1649"/>
                <a:gd name="T15" fmla="*/ 0 h 1059"/>
                <a:gd name="T16" fmla="*/ 0 w 1649"/>
                <a:gd name="T17" fmla="*/ 0 h 1059"/>
                <a:gd name="T18" fmla="*/ 0 w 1649"/>
                <a:gd name="T19" fmla="*/ 0 h 1059"/>
                <a:gd name="T20" fmla="*/ 0 w 1649"/>
                <a:gd name="T21" fmla="*/ 0 h 1059"/>
                <a:gd name="T22" fmla="*/ 0 w 1649"/>
                <a:gd name="T23" fmla="*/ 0 h 1059"/>
                <a:gd name="T24" fmla="*/ 0 w 1649"/>
                <a:gd name="T25" fmla="*/ 0 h 1059"/>
                <a:gd name="T26" fmla="*/ 0 w 1649"/>
                <a:gd name="T27" fmla="*/ 0 h 1059"/>
                <a:gd name="T28" fmla="*/ 0 w 1649"/>
                <a:gd name="T29" fmla="*/ 0 h 1059"/>
                <a:gd name="T30" fmla="*/ 0 w 1649"/>
                <a:gd name="T31" fmla="*/ 0 h 1059"/>
                <a:gd name="T32" fmla="*/ 0 w 1649"/>
                <a:gd name="T33" fmla="*/ 0 h 1059"/>
                <a:gd name="T34" fmla="*/ 0 w 1649"/>
                <a:gd name="T35" fmla="*/ 0 h 1059"/>
                <a:gd name="T36" fmla="*/ 0 w 1649"/>
                <a:gd name="T37" fmla="*/ 0 h 1059"/>
                <a:gd name="T38" fmla="*/ 0 w 1649"/>
                <a:gd name="T39" fmla="*/ 0 h 1059"/>
                <a:gd name="T40" fmla="*/ 0 w 1649"/>
                <a:gd name="T41" fmla="*/ 0 h 1059"/>
                <a:gd name="T42" fmla="*/ 0 w 1649"/>
                <a:gd name="T43" fmla="*/ 0 h 1059"/>
                <a:gd name="T44" fmla="*/ 0 w 1649"/>
                <a:gd name="T45" fmla="*/ 0 h 1059"/>
                <a:gd name="T46" fmla="*/ 0 w 1649"/>
                <a:gd name="T47" fmla="*/ 0 h 1059"/>
                <a:gd name="T48" fmla="*/ 0 w 1649"/>
                <a:gd name="T49" fmla="*/ 0 h 1059"/>
                <a:gd name="T50" fmla="*/ 0 w 1649"/>
                <a:gd name="T51" fmla="*/ 0 h 1059"/>
                <a:gd name="T52" fmla="*/ 0 w 1649"/>
                <a:gd name="T53" fmla="*/ 0 h 1059"/>
                <a:gd name="T54" fmla="*/ 0 w 1649"/>
                <a:gd name="T55" fmla="*/ 0 h 1059"/>
                <a:gd name="T56" fmla="*/ 0 w 1649"/>
                <a:gd name="T57" fmla="*/ 0 h 1059"/>
                <a:gd name="T58" fmla="*/ 0 w 1649"/>
                <a:gd name="T59" fmla="*/ 0 h 1059"/>
                <a:gd name="T60" fmla="*/ 0 w 1649"/>
                <a:gd name="T61" fmla="*/ 0 h 1059"/>
                <a:gd name="T62" fmla="*/ 0 w 1649"/>
                <a:gd name="T63" fmla="*/ 0 h 1059"/>
                <a:gd name="T64" fmla="*/ 0 w 1649"/>
                <a:gd name="T65" fmla="*/ 0 h 1059"/>
                <a:gd name="T66" fmla="*/ 0 w 1649"/>
                <a:gd name="T67" fmla="*/ 0 h 1059"/>
                <a:gd name="T68" fmla="*/ 0 w 1649"/>
                <a:gd name="T69" fmla="*/ 0 h 1059"/>
                <a:gd name="T70" fmla="*/ 0 w 1649"/>
                <a:gd name="T71" fmla="*/ 0 h 1059"/>
                <a:gd name="T72" fmla="*/ 0 w 1649"/>
                <a:gd name="T73" fmla="*/ 0 h 1059"/>
                <a:gd name="T74" fmla="*/ 0 w 1649"/>
                <a:gd name="T75" fmla="*/ 0 h 1059"/>
                <a:gd name="T76" fmla="*/ 0 w 1649"/>
                <a:gd name="T77" fmla="*/ 0 h 1059"/>
                <a:gd name="T78" fmla="*/ 0 w 1649"/>
                <a:gd name="T79" fmla="*/ 0 h 1059"/>
                <a:gd name="T80" fmla="*/ 0 w 1649"/>
                <a:gd name="T81" fmla="*/ 0 h 1059"/>
                <a:gd name="T82" fmla="*/ 0 w 1649"/>
                <a:gd name="T83" fmla="*/ 0 h 1059"/>
                <a:gd name="T84" fmla="*/ 0 w 1649"/>
                <a:gd name="T85" fmla="*/ 0 h 1059"/>
                <a:gd name="T86" fmla="*/ 0 w 1649"/>
                <a:gd name="T87" fmla="*/ 0 h 1059"/>
                <a:gd name="T88" fmla="*/ 0 w 1649"/>
                <a:gd name="T89" fmla="*/ 0 h 1059"/>
                <a:gd name="T90" fmla="*/ 0 w 1649"/>
                <a:gd name="T91" fmla="*/ 0 h 1059"/>
                <a:gd name="T92" fmla="*/ 0 w 1649"/>
                <a:gd name="T93" fmla="*/ 0 h 1059"/>
                <a:gd name="T94" fmla="*/ 0 w 1649"/>
                <a:gd name="T95" fmla="*/ 0 h 1059"/>
                <a:gd name="T96" fmla="*/ 0 w 1649"/>
                <a:gd name="T97" fmla="*/ 0 h 1059"/>
                <a:gd name="T98" fmla="*/ 0 w 1649"/>
                <a:gd name="T99" fmla="*/ 0 h 1059"/>
                <a:gd name="T100" fmla="*/ 0 w 1649"/>
                <a:gd name="T101" fmla="*/ 0 h 1059"/>
                <a:gd name="T102" fmla="*/ 0 w 1649"/>
                <a:gd name="T103" fmla="*/ 0 h 1059"/>
                <a:gd name="T104" fmla="*/ 0 w 1649"/>
                <a:gd name="T105" fmla="*/ 0 h 1059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649"/>
                <a:gd name="T160" fmla="*/ 0 h 1059"/>
                <a:gd name="T161" fmla="*/ 1649 w 1649"/>
                <a:gd name="T162" fmla="*/ 1059 h 1059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649" h="1059">
                  <a:moveTo>
                    <a:pt x="1259" y="661"/>
                  </a:moveTo>
                  <a:cubicBezTo>
                    <a:pt x="1259" y="657"/>
                    <a:pt x="1262" y="654"/>
                    <a:pt x="1265" y="653"/>
                  </a:cubicBezTo>
                  <a:lnTo>
                    <a:pt x="1359" y="633"/>
                  </a:lnTo>
                  <a:lnTo>
                    <a:pt x="1357" y="634"/>
                  </a:lnTo>
                  <a:lnTo>
                    <a:pt x="1426" y="593"/>
                  </a:lnTo>
                  <a:cubicBezTo>
                    <a:pt x="1428" y="592"/>
                    <a:pt x="1430" y="592"/>
                    <a:pt x="1431" y="592"/>
                  </a:cubicBezTo>
                  <a:lnTo>
                    <a:pt x="1572" y="612"/>
                  </a:lnTo>
                  <a:lnTo>
                    <a:pt x="1569" y="613"/>
                  </a:lnTo>
                  <a:lnTo>
                    <a:pt x="1638" y="592"/>
                  </a:lnTo>
                  <a:lnTo>
                    <a:pt x="1634" y="605"/>
                  </a:lnTo>
                  <a:lnTo>
                    <a:pt x="1565" y="523"/>
                  </a:lnTo>
                  <a:lnTo>
                    <a:pt x="1568" y="525"/>
                  </a:lnTo>
                  <a:lnTo>
                    <a:pt x="1451" y="464"/>
                  </a:lnTo>
                  <a:cubicBezTo>
                    <a:pt x="1449" y="463"/>
                    <a:pt x="1448" y="461"/>
                    <a:pt x="1447" y="459"/>
                  </a:cubicBezTo>
                  <a:cubicBezTo>
                    <a:pt x="1447" y="456"/>
                    <a:pt x="1447" y="454"/>
                    <a:pt x="1449" y="452"/>
                  </a:cubicBezTo>
                  <a:lnTo>
                    <a:pt x="1518" y="370"/>
                  </a:lnTo>
                  <a:lnTo>
                    <a:pt x="1516" y="376"/>
                  </a:lnTo>
                  <a:lnTo>
                    <a:pt x="1516" y="274"/>
                  </a:lnTo>
                  <a:lnTo>
                    <a:pt x="1516" y="192"/>
                  </a:lnTo>
                  <a:cubicBezTo>
                    <a:pt x="1516" y="188"/>
                    <a:pt x="1519" y="185"/>
                    <a:pt x="1522" y="184"/>
                  </a:cubicBezTo>
                  <a:lnTo>
                    <a:pt x="1591" y="164"/>
                  </a:lnTo>
                  <a:lnTo>
                    <a:pt x="1587" y="167"/>
                  </a:lnTo>
                  <a:lnTo>
                    <a:pt x="1611" y="127"/>
                  </a:lnTo>
                  <a:lnTo>
                    <a:pt x="1610" y="131"/>
                  </a:lnTo>
                  <a:lnTo>
                    <a:pt x="1610" y="90"/>
                  </a:lnTo>
                  <a:lnTo>
                    <a:pt x="1610" y="49"/>
                  </a:lnTo>
                  <a:lnTo>
                    <a:pt x="1618" y="57"/>
                  </a:lnTo>
                  <a:lnTo>
                    <a:pt x="1477" y="57"/>
                  </a:lnTo>
                  <a:cubicBezTo>
                    <a:pt x="1474" y="57"/>
                    <a:pt x="1472" y="56"/>
                    <a:pt x="1470" y="53"/>
                  </a:cubicBezTo>
                  <a:lnTo>
                    <a:pt x="1448" y="12"/>
                  </a:lnTo>
                  <a:lnTo>
                    <a:pt x="1457" y="16"/>
                  </a:lnTo>
                  <a:lnTo>
                    <a:pt x="1340" y="37"/>
                  </a:lnTo>
                  <a:cubicBezTo>
                    <a:pt x="1339" y="37"/>
                    <a:pt x="1338" y="37"/>
                    <a:pt x="1337" y="37"/>
                  </a:cubicBezTo>
                  <a:lnTo>
                    <a:pt x="1265" y="16"/>
                  </a:lnTo>
                  <a:lnTo>
                    <a:pt x="1268" y="16"/>
                  </a:lnTo>
                  <a:lnTo>
                    <a:pt x="1152" y="37"/>
                  </a:lnTo>
                  <a:lnTo>
                    <a:pt x="1015" y="77"/>
                  </a:lnTo>
                  <a:lnTo>
                    <a:pt x="1019" y="75"/>
                  </a:lnTo>
                  <a:lnTo>
                    <a:pt x="903" y="217"/>
                  </a:lnTo>
                  <a:cubicBezTo>
                    <a:pt x="901" y="219"/>
                    <a:pt x="900" y="220"/>
                    <a:pt x="898" y="220"/>
                  </a:cubicBezTo>
                  <a:lnTo>
                    <a:pt x="756" y="241"/>
                  </a:lnTo>
                  <a:cubicBezTo>
                    <a:pt x="756" y="241"/>
                    <a:pt x="756" y="241"/>
                    <a:pt x="755" y="241"/>
                  </a:cubicBezTo>
                  <a:lnTo>
                    <a:pt x="614" y="241"/>
                  </a:lnTo>
                  <a:lnTo>
                    <a:pt x="545" y="241"/>
                  </a:lnTo>
                  <a:lnTo>
                    <a:pt x="550" y="239"/>
                  </a:lnTo>
                  <a:lnTo>
                    <a:pt x="481" y="300"/>
                  </a:lnTo>
                  <a:cubicBezTo>
                    <a:pt x="480" y="301"/>
                    <a:pt x="478" y="302"/>
                    <a:pt x="476" y="302"/>
                  </a:cubicBezTo>
                  <a:lnTo>
                    <a:pt x="219" y="302"/>
                  </a:lnTo>
                  <a:cubicBezTo>
                    <a:pt x="218" y="302"/>
                    <a:pt x="218" y="302"/>
                    <a:pt x="217" y="302"/>
                  </a:cubicBezTo>
                  <a:lnTo>
                    <a:pt x="126" y="281"/>
                  </a:lnTo>
                  <a:cubicBezTo>
                    <a:pt x="122" y="281"/>
                    <a:pt x="119" y="277"/>
                    <a:pt x="119" y="274"/>
                  </a:cubicBezTo>
                  <a:lnTo>
                    <a:pt x="119" y="212"/>
                  </a:lnTo>
                  <a:lnTo>
                    <a:pt x="124" y="220"/>
                  </a:lnTo>
                  <a:lnTo>
                    <a:pt x="30" y="179"/>
                  </a:lnTo>
                  <a:lnTo>
                    <a:pt x="41" y="175"/>
                  </a:lnTo>
                  <a:lnTo>
                    <a:pt x="16" y="236"/>
                  </a:lnTo>
                  <a:lnTo>
                    <a:pt x="16" y="230"/>
                  </a:lnTo>
                  <a:lnTo>
                    <a:pt x="41" y="312"/>
                  </a:lnTo>
                  <a:lnTo>
                    <a:pt x="40" y="310"/>
                  </a:lnTo>
                  <a:lnTo>
                    <a:pt x="87" y="392"/>
                  </a:lnTo>
                  <a:lnTo>
                    <a:pt x="85" y="389"/>
                  </a:lnTo>
                  <a:lnTo>
                    <a:pt x="201" y="471"/>
                  </a:lnTo>
                  <a:cubicBezTo>
                    <a:pt x="204" y="473"/>
                    <a:pt x="205" y="477"/>
                    <a:pt x="204" y="481"/>
                  </a:cubicBezTo>
                  <a:lnTo>
                    <a:pt x="157" y="583"/>
                  </a:lnTo>
                  <a:cubicBezTo>
                    <a:pt x="156" y="585"/>
                    <a:pt x="155" y="586"/>
                    <a:pt x="153" y="587"/>
                  </a:cubicBezTo>
                  <a:lnTo>
                    <a:pt x="106" y="607"/>
                  </a:lnTo>
                  <a:lnTo>
                    <a:pt x="111" y="600"/>
                  </a:lnTo>
                  <a:lnTo>
                    <a:pt x="111" y="681"/>
                  </a:lnTo>
                  <a:lnTo>
                    <a:pt x="106" y="674"/>
                  </a:lnTo>
                  <a:lnTo>
                    <a:pt x="153" y="694"/>
                  </a:lnTo>
                  <a:cubicBezTo>
                    <a:pt x="156" y="696"/>
                    <a:pt x="158" y="700"/>
                    <a:pt x="157" y="704"/>
                  </a:cubicBezTo>
                  <a:lnTo>
                    <a:pt x="135" y="785"/>
                  </a:lnTo>
                  <a:lnTo>
                    <a:pt x="134" y="780"/>
                  </a:lnTo>
                  <a:lnTo>
                    <a:pt x="157" y="820"/>
                  </a:lnTo>
                  <a:lnTo>
                    <a:pt x="152" y="817"/>
                  </a:lnTo>
                  <a:lnTo>
                    <a:pt x="268" y="857"/>
                  </a:lnTo>
                  <a:cubicBezTo>
                    <a:pt x="270" y="858"/>
                    <a:pt x="272" y="859"/>
                    <a:pt x="273" y="861"/>
                  </a:cubicBezTo>
                  <a:lnTo>
                    <a:pt x="320" y="943"/>
                  </a:lnTo>
                  <a:cubicBezTo>
                    <a:pt x="320" y="944"/>
                    <a:pt x="321" y="945"/>
                    <a:pt x="321" y="947"/>
                  </a:cubicBezTo>
                  <a:lnTo>
                    <a:pt x="321" y="1048"/>
                  </a:lnTo>
                  <a:lnTo>
                    <a:pt x="321" y="1059"/>
                  </a:lnTo>
                  <a:lnTo>
                    <a:pt x="305" y="1059"/>
                  </a:lnTo>
                  <a:lnTo>
                    <a:pt x="305" y="1028"/>
                  </a:lnTo>
                  <a:cubicBezTo>
                    <a:pt x="305" y="1024"/>
                    <a:pt x="308" y="1020"/>
                    <a:pt x="313" y="1020"/>
                  </a:cubicBezTo>
                  <a:lnTo>
                    <a:pt x="429" y="1020"/>
                  </a:lnTo>
                  <a:lnTo>
                    <a:pt x="426" y="1021"/>
                  </a:lnTo>
                  <a:lnTo>
                    <a:pt x="542" y="980"/>
                  </a:lnTo>
                  <a:lnTo>
                    <a:pt x="541" y="980"/>
                  </a:lnTo>
                  <a:lnTo>
                    <a:pt x="682" y="899"/>
                  </a:lnTo>
                  <a:cubicBezTo>
                    <a:pt x="684" y="897"/>
                    <a:pt x="687" y="897"/>
                    <a:pt x="689" y="898"/>
                  </a:cubicBezTo>
                  <a:lnTo>
                    <a:pt x="781" y="939"/>
                  </a:lnTo>
                  <a:lnTo>
                    <a:pt x="777" y="938"/>
                  </a:lnTo>
                  <a:lnTo>
                    <a:pt x="871" y="938"/>
                  </a:lnTo>
                  <a:lnTo>
                    <a:pt x="941" y="938"/>
                  </a:lnTo>
                  <a:lnTo>
                    <a:pt x="939" y="939"/>
                  </a:lnTo>
                  <a:lnTo>
                    <a:pt x="1102" y="898"/>
                  </a:lnTo>
                  <a:lnTo>
                    <a:pt x="1101" y="898"/>
                  </a:lnTo>
                  <a:lnTo>
                    <a:pt x="1195" y="858"/>
                  </a:lnTo>
                  <a:lnTo>
                    <a:pt x="1190" y="867"/>
                  </a:lnTo>
                  <a:lnTo>
                    <a:pt x="1168" y="765"/>
                  </a:lnTo>
                  <a:cubicBezTo>
                    <a:pt x="1167" y="762"/>
                    <a:pt x="1168" y="760"/>
                    <a:pt x="1170" y="758"/>
                  </a:cubicBezTo>
                  <a:cubicBezTo>
                    <a:pt x="1171" y="756"/>
                    <a:pt x="1173" y="755"/>
                    <a:pt x="1176" y="755"/>
                  </a:cubicBezTo>
                  <a:lnTo>
                    <a:pt x="1245" y="755"/>
                  </a:lnTo>
                  <a:lnTo>
                    <a:pt x="1238" y="759"/>
                  </a:lnTo>
                  <a:lnTo>
                    <a:pt x="1260" y="718"/>
                  </a:lnTo>
                  <a:lnTo>
                    <a:pt x="1259" y="722"/>
                  </a:lnTo>
                  <a:lnTo>
                    <a:pt x="1259" y="661"/>
                  </a:lnTo>
                  <a:close/>
                  <a:moveTo>
                    <a:pt x="1275" y="722"/>
                  </a:moveTo>
                  <a:cubicBezTo>
                    <a:pt x="1275" y="724"/>
                    <a:pt x="1275" y="725"/>
                    <a:pt x="1274" y="726"/>
                  </a:cubicBezTo>
                  <a:lnTo>
                    <a:pt x="1252" y="767"/>
                  </a:lnTo>
                  <a:cubicBezTo>
                    <a:pt x="1251" y="769"/>
                    <a:pt x="1248" y="771"/>
                    <a:pt x="1245" y="771"/>
                  </a:cubicBezTo>
                  <a:lnTo>
                    <a:pt x="1176" y="771"/>
                  </a:lnTo>
                  <a:lnTo>
                    <a:pt x="1184" y="761"/>
                  </a:lnTo>
                  <a:lnTo>
                    <a:pt x="1206" y="863"/>
                  </a:lnTo>
                  <a:cubicBezTo>
                    <a:pt x="1207" y="867"/>
                    <a:pt x="1205" y="871"/>
                    <a:pt x="1201" y="872"/>
                  </a:cubicBezTo>
                  <a:lnTo>
                    <a:pt x="1107" y="913"/>
                  </a:lnTo>
                  <a:cubicBezTo>
                    <a:pt x="1107" y="913"/>
                    <a:pt x="1106" y="913"/>
                    <a:pt x="1106" y="913"/>
                  </a:cubicBezTo>
                  <a:lnTo>
                    <a:pt x="943" y="954"/>
                  </a:lnTo>
                  <a:cubicBezTo>
                    <a:pt x="942" y="954"/>
                    <a:pt x="941" y="955"/>
                    <a:pt x="941" y="955"/>
                  </a:cubicBezTo>
                  <a:lnTo>
                    <a:pt x="871" y="955"/>
                  </a:lnTo>
                  <a:lnTo>
                    <a:pt x="777" y="955"/>
                  </a:lnTo>
                  <a:cubicBezTo>
                    <a:pt x="776" y="955"/>
                    <a:pt x="775" y="954"/>
                    <a:pt x="774" y="954"/>
                  </a:cubicBezTo>
                  <a:lnTo>
                    <a:pt x="683" y="913"/>
                  </a:lnTo>
                  <a:lnTo>
                    <a:pt x="690" y="913"/>
                  </a:lnTo>
                  <a:lnTo>
                    <a:pt x="549" y="994"/>
                  </a:lnTo>
                  <a:cubicBezTo>
                    <a:pt x="549" y="994"/>
                    <a:pt x="548" y="995"/>
                    <a:pt x="548" y="995"/>
                  </a:cubicBezTo>
                  <a:lnTo>
                    <a:pt x="432" y="1036"/>
                  </a:lnTo>
                  <a:cubicBezTo>
                    <a:pt x="431" y="1036"/>
                    <a:pt x="430" y="1036"/>
                    <a:pt x="429" y="1036"/>
                  </a:cubicBezTo>
                  <a:lnTo>
                    <a:pt x="313" y="1036"/>
                  </a:lnTo>
                  <a:lnTo>
                    <a:pt x="321" y="1028"/>
                  </a:lnTo>
                  <a:lnTo>
                    <a:pt x="321" y="1048"/>
                  </a:lnTo>
                  <a:lnTo>
                    <a:pt x="305" y="1048"/>
                  </a:lnTo>
                  <a:lnTo>
                    <a:pt x="305" y="947"/>
                  </a:lnTo>
                  <a:lnTo>
                    <a:pt x="306" y="951"/>
                  </a:lnTo>
                  <a:lnTo>
                    <a:pt x="259" y="869"/>
                  </a:lnTo>
                  <a:lnTo>
                    <a:pt x="263" y="872"/>
                  </a:lnTo>
                  <a:lnTo>
                    <a:pt x="147" y="832"/>
                  </a:lnTo>
                  <a:cubicBezTo>
                    <a:pt x="145" y="831"/>
                    <a:pt x="143" y="830"/>
                    <a:pt x="142" y="828"/>
                  </a:cubicBezTo>
                  <a:lnTo>
                    <a:pt x="120" y="787"/>
                  </a:lnTo>
                  <a:cubicBezTo>
                    <a:pt x="119" y="785"/>
                    <a:pt x="119" y="783"/>
                    <a:pt x="120" y="781"/>
                  </a:cubicBezTo>
                  <a:lnTo>
                    <a:pt x="142" y="700"/>
                  </a:lnTo>
                  <a:lnTo>
                    <a:pt x="146" y="709"/>
                  </a:lnTo>
                  <a:lnTo>
                    <a:pt x="99" y="689"/>
                  </a:lnTo>
                  <a:cubicBezTo>
                    <a:pt x="96" y="687"/>
                    <a:pt x="95" y="685"/>
                    <a:pt x="95" y="681"/>
                  </a:cubicBezTo>
                  <a:lnTo>
                    <a:pt x="95" y="600"/>
                  </a:lnTo>
                  <a:cubicBezTo>
                    <a:pt x="95" y="597"/>
                    <a:pt x="96" y="594"/>
                    <a:pt x="99" y="592"/>
                  </a:cubicBezTo>
                  <a:lnTo>
                    <a:pt x="146" y="572"/>
                  </a:lnTo>
                  <a:lnTo>
                    <a:pt x="142" y="576"/>
                  </a:lnTo>
                  <a:lnTo>
                    <a:pt x="189" y="474"/>
                  </a:lnTo>
                  <a:lnTo>
                    <a:pt x="192" y="484"/>
                  </a:lnTo>
                  <a:lnTo>
                    <a:pt x="76" y="402"/>
                  </a:lnTo>
                  <a:cubicBezTo>
                    <a:pt x="75" y="402"/>
                    <a:pt x="74" y="401"/>
                    <a:pt x="73" y="400"/>
                  </a:cubicBezTo>
                  <a:lnTo>
                    <a:pt x="26" y="318"/>
                  </a:lnTo>
                  <a:cubicBezTo>
                    <a:pt x="26" y="318"/>
                    <a:pt x="26" y="317"/>
                    <a:pt x="26" y="317"/>
                  </a:cubicBezTo>
                  <a:lnTo>
                    <a:pt x="1" y="235"/>
                  </a:lnTo>
                  <a:cubicBezTo>
                    <a:pt x="0" y="233"/>
                    <a:pt x="0" y="231"/>
                    <a:pt x="1" y="230"/>
                  </a:cubicBezTo>
                  <a:lnTo>
                    <a:pt x="26" y="169"/>
                  </a:lnTo>
                  <a:cubicBezTo>
                    <a:pt x="27" y="167"/>
                    <a:pt x="28" y="165"/>
                    <a:pt x="30" y="164"/>
                  </a:cubicBezTo>
                  <a:cubicBezTo>
                    <a:pt x="32" y="163"/>
                    <a:pt x="35" y="163"/>
                    <a:pt x="37" y="164"/>
                  </a:cubicBezTo>
                  <a:lnTo>
                    <a:pt x="131" y="205"/>
                  </a:lnTo>
                  <a:cubicBezTo>
                    <a:pt x="134" y="206"/>
                    <a:pt x="135" y="209"/>
                    <a:pt x="135" y="212"/>
                  </a:cubicBezTo>
                  <a:lnTo>
                    <a:pt x="135" y="274"/>
                  </a:lnTo>
                  <a:lnTo>
                    <a:pt x="129" y="266"/>
                  </a:lnTo>
                  <a:lnTo>
                    <a:pt x="220" y="286"/>
                  </a:lnTo>
                  <a:lnTo>
                    <a:pt x="219" y="286"/>
                  </a:lnTo>
                  <a:lnTo>
                    <a:pt x="476" y="286"/>
                  </a:lnTo>
                  <a:lnTo>
                    <a:pt x="471" y="288"/>
                  </a:lnTo>
                  <a:lnTo>
                    <a:pt x="540" y="227"/>
                  </a:lnTo>
                  <a:cubicBezTo>
                    <a:pt x="541" y="225"/>
                    <a:pt x="543" y="225"/>
                    <a:pt x="545" y="225"/>
                  </a:cubicBezTo>
                  <a:lnTo>
                    <a:pt x="614" y="225"/>
                  </a:lnTo>
                  <a:lnTo>
                    <a:pt x="755" y="225"/>
                  </a:lnTo>
                  <a:lnTo>
                    <a:pt x="754" y="225"/>
                  </a:lnTo>
                  <a:lnTo>
                    <a:pt x="895" y="204"/>
                  </a:lnTo>
                  <a:lnTo>
                    <a:pt x="890" y="207"/>
                  </a:lnTo>
                  <a:lnTo>
                    <a:pt x="1006" y="65"/>
                  </a:lnTo>
                  <a:cubicBezTo>
                    <a:pt x="1007" y="63"/>
                    <a:pt x="1009" y="62"/>
                    <a:pt x="1010" y="62"/>
                  </a:cubicBezTo>
                  <a:lnTo>
                    <a:pt x="1149" y="21"/>
                  </a:lnTo>
                  <a:lnTo>
                    <a:pt x="1266" y="1"/>
                  </a:lnTo>
                  <a:cubicBezTo>
                    <a:pt x="1267" y="0"/>
                    <a:pt x="1268" y="0"/>
                    <a:pt x="1269" y="1"/>
                  </a:cubicBezTo>
                  <a:lnTo>
                    <a:pt x="1341" y="21"/>
                  </a:lnTo>
                  <a:lnTo>
                    <a:pt x="1338" y="21"/>
                  </a:lnTo>
                  <a:lnTo>
                    <a:pt x="1454" y="1"/>
                  </a:lnTo>
                  <a:cubicBezTo>
                    <a:pt x="1457" y="0"/>
                    <a:pt x="1461" y="2"/>
                    <a:pt x="1462" y="5"/>
                  </a:cubicBezTo>
                  <a:lnTo>
                    <a:pt x="1484" y="45"/>
                  </a:lnTo>
                  <a:lnTo>
                    <a:pt x="1477" y="41"/>
                  </a:lnTo>
                  <a:lnTo>
                    <a:pt x="1618" y="41"/>
                  </a:lnTo>
                  <a:cubicBezTo>
                    <a:pt x="1623" y="41"/>
                    <a:pt x="1626" y="45"/>
                    <a:pt x="1626" y="49"/>
                  </a:cubicBezTo>
                  <a:lnTo>
                    <a:pt x="1626" y="90"/>
                  </a:lnTo>
                  <a:lnTo>
                    <a:pt x="1626" y="131"/>
                  </a:lnTo>
                  <a:cubicBezTo>
                    <a:pt x="1626" y="132"/>
                    <a:pt x="1626" y="134"/>
                    <a:pt x="1625" y="135"/>
                  </a:cubicBezTo>
                  <a:lnTo>
                    <a:pt x="1600" y="176"/>
                  </a:lnTo>
                  <a:cubicBezTo>
                    <a:pt x="1599" y="177"/>
                    <a:pt x="1598" y="179"/>
                    <a:pt x="1596" y="179"/>
                  </a:cubicBezTo>
                  <a:lnTo>
                    <a:pt x="1527" y="200"/>
                  </a:lnTo>
                  <a:lnTo>
                    <a:pt x="1532" y="192"/>
                  </a:lnTo>
                  <a:lnTo>
                    <a:pt x="1532" y="274"/>
                  </a:lnTo>
                  <a:lnTo>
                    <a:pt x="1532" y="376"/>
                  </a:lnTo>
                  <a:cubicBezTo>
                    <a:pt x="1532" y="377"/>
                    <a:pt x="1532" y="379"/>
                    <a:pt x="1530" y="381"/>
                  </a:cubicBezTo>
                  <a:lnTo>
                    <a:pt x="1461" y="462"/>
                  </a:lnTo>
                  <a:lnTo>
                    <a:pt x="1459" y="450"/>
                  </a:lnTo>
                  <a:lnTo>
                    <a:pt x="1575" y="511"/>
                  </a:lnTo>
                  <a:cubicBezTo>
                    <a:pt x="1576" y="512"/>
                    <a:pt x="1577" y="512"/>
                    <a:pt x="1577" y="513"/>
                  </a:cubicBezTo>
                  <a:lnTo>
                    <a:pt x="1647" y="595"/>
                  </a:lnTo>
                  <a:cubicBezTo>
                    <a:pt x="1648" y="597"/>
                    <a:pt x="1649" y="600"/>
                    <a:pt x="1648" y="602"/>
                  </a:cubicBezTo>
                  <a:cubicBezTo>
                    <a:pt x="1647" y="605"/>
                    <a:pt x="1645" y="607"/>
                    <a:pt x="1643" y="608"/>
                  </a:cubicBezTo>
                  <a:lnTo>
                    <a:pt x="1574" y="628"/>
                  </a:lnTo>
                  <a:cubicBezTo>
                    <a:pt x="1572" y="628"/>
                    <a:pt x="1571" y="628"/>
                    <a:pt x="1570" y="628"/>
                  </a:cubicBezTo>
                  <a:lnTo>
                    <a:pt x="1429" y="608"/>
                  </a:lnTo>
                  <a:lnTo>
                    <a:pt x="1434" y="607"/>
                  </a:lnTo>
                  <a:lnTo>
                    <a:pt x="1365" y="648"/>
                  </a:lnTo>
                  <a:cubicBezTo>
                    <a:pt x="1364" y="648"/>
                    <a:pt x="1364" y="648"/>
                    <a:pt x="1363" y="648"/>
                  </a:cubicBezTo>
                  <a:lnTo>
                    <a:pt x="1269" y="669"/>
                  </a:lnTo>
                  <a:lnTo>
                    <a:pt x="1275" y="661"/>
                  </a:lnTo>
                  <a:lnTo>
                    <a:pt x="1275" y="722"/>
                  </a:lnTo>
                  <a:close/>
                </a:path>
              </a:pathLst>
            </a:custGeom>
            <a:solidFill>
              <a:srgbClr val="000000"/>
            </a:solidFill>
            <a:ln w="0" cap="flat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287" name="Rectangle 254"/>
            <p:cNvSpPr>
              <a:spLocks noChangeArrowheads="1"/>
            </p:cNvSpPr>
            <p:nvPr/>
          </p:nvSpPr>
          <p:spPr bwMode="auto">
            <a:xfrm>
              <a:off x="4556" y="2643"/>
              <a:ext cx="60" cy="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sz="500" b="1">
                  <a:solidFill>
                    <a:srgbClr val="000000"/>
                  </a:solidFill>
                </a:rPr>
                <a:t>BG</a:t>
              </a:r>
              <a:endParaRPr lang="de-DE"/>
            </a:p>
          </p:txBody>
        </p:sp>
        <p:sp>
          <p:nvSpPr>
            <p:cNvPr id="7288" name="Rectangle 255"/>
            <p:cNvSpPr>
              <a:spLocks noChangeArrowheads="1"/>
            </p:cNvSpPr>
            <p:nvPr/>
          </p:nvSpPr>
          <p:spPr bwMode="auto">
            <a:xfrm>
              <a:off x="3992" y="2479"/>
              <a:ext cx="58" cy="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sz="500" b="1">
                  <a:solidFill>
                    <a:srgbClr val="000000"/>
                  </a:solidFill>
                </a:rPr>
                <a:t>HR</a:t>
              </a:r>
              <a:endParaRPr lang="de-DE"/>
            </a:p>
          </p:txBody>
        </p:sp>
        <p:sp>
          <p:nvSpPr>
            <p:cNvPr id="7289" name="Freeform 256"/>
            <p:cNvSpPr>
              <a:spLocks/>
            </p:cNvSpPr>
            <p:nvPr/>
          </p:nvSpPr>
          <p:spPr bwMode="auto">
            <a:xfrm>
              <a:off x="4167" y="2653"/>
              <a:ext cx="112" cy="103"/>
            </a:xfrm>
            <a:custGeom>
              <a:avLst/>
              <a:gdLst>
                <a:gd name="T0" fmla="*/ 0 w 464"/>
                <a:gd name="T1" fmla="*/ 0 h 432"/>
                <a:gd name="T2" fmla="*/ 0 w 464"/>
                <a:gd name="T3" fmla="*/ 0 h 432"/>
                <a:gd name="T4" fmla="*/ 0 w 464"/>
                <a:gd name="T5" fmla="*/ 0 h 432"/>
                <a:gd name="T6" fmla="*/ 0 w 464"/>
                <a:gd name="T7" fmla="*/ 0 h 432"/>
                <a:gd name="T8" fmla="*/ 0 w 464"/>
                <a:gd name="T9" fmla="*/ 0 h 432"/>
                <a:gd name="T10" fmla="*/ 0 w 464"/>
                <a:gd name="T11" fmla="*/ 0 h 432"/>
                <a:gd name="T12" fmla="*/ 0 w 464"/>
                <a:gd name="T13" fmla="*/ 0 h 432"/>
                <a:gd name="T14" fmla="*/ 0 w 464"/>
                <a:gd name="T15" fmla="*/ 0 h 432"/>
                <a:gd name="T16" fmla="*/ 0 w 464"/>
                <a:gd name="T17" fmla="*/ 0 h 432"/>
                <a:gd name="T18" fmla="*/ 0 w 464"/>
                <a:gd name="T19" fmla="*/ 0 h 432"/>
                <a:gd name="T20" fmla="*/ 0 w 464"/>
                <a:gd name="T21" fmla="*/ 0 h 432"/>
                <a:gd name="T22" fmla="*/ 0 w 464"/>
                <a:gd name="T23" fmla="*/ 0 h 432"/>
                <a:gd name="T24" fmla="*/ 0 w 464"/>
                <a:gd name="T25" fmla="*/ 0 h 432"/>
                <a:gd name="T26" fmla="*/ 0 w 464"/>
                <a:gd name="T27" fmla="*/ 0 h 432"/>
                <a:gd name="T28" fmla="*/ 0 w 464"/>
                <a:gd name="T29" fmla="*/ 0 h 432"/>
                <a:gd name="T30" fmla="*/ 0 w 464"/>
                <a:gd name="T31" fmla="*/ 0 h 432"/>
                <a:gd name="T32" fmla="*/ 0 w 464"/>
                <a:gd name="T33" fmla="*/ 0 h 432"/>
                <a:gd name="T34" fmla="*/ 0 w 464"/>
                <a:gd name="T35" fmla="*/ 0 h 432"/>
                <a:gd name="T36" fmla="*/ 0 w 464"/>
                <a:gd name="T37" fmla="*/ 0 h 432"/>
                <a:gd name="T38" fmla="*/ 0 w 464"/>
                <a:gd name="T39" fmla="*/ 0 h 432"/>
                <a:gd name="T40" fmla="*/ 0 w 464"/>
                <a:gd name="T41" fmla="*/ 0 h 432"/>
                <a:gd name="T42" fmla="*/ 0 w 464"/>
                <a:gd name="T43" fmla="*/ 0 h 432"/>
                <a:gd name="T44" fmla="*/ 0 w 464"/>
                <a:gd name="T45" fmla="*/ 0 h 432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464"/>
                <a:gd name="T70" fmla="*/ 0 h 432"/>
                <a:gd name="T71" fmla="*/ 464 w 464"/>
                <a:gd name="T72" fmla="*/ 432 h 432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464" h="432">
                  <a:moveTo>
                    <a:pt x="22" y="311"/>
                  </a:moveTo>
                  <a:cubicBezTo>
                    <a:pt x="19" y="276"/>
                    <a:pt x="22" y="241"/>
                    <a:pt x="17" y="207"/>
                  </a:cubicBezTo>
                  <a:cubicBezTo>
                    <a:pt x="17" y="202"/>
                    <a:pt x="9" y="202"/>
                    <a:pt x="6" y="199"/>
                  </a:cubicBezTo>
                  <a:cubicBezTo>
                    <a:pt x="3" y="197"/>
                    <a:pt x="3" y="192"/>
                    <a:pt x="0" y="187"/>
                  </a:cubicBezTo>
                  <a:cubicBezTo>
                    <a:pt x="17" y="167"/>
                    <a:pt x="38" y="154"/>
                    <a:pt x="63" y="142"/>
                  </a:cubicBezTo>
                  <a:cubicBezTo>
                    <a:pt x="85" y="117"/>
                    <a:pt x="76" y="127"/>
                    <a:pt x="87" y="110"/>
                  </a:cubicBezTo>
                  <a:cubicBezTo>
                    <a:pt x="90" y="40"/>
                    <a:pt x="93" y="58"/>
                    <a:pt x="155" y="50"/>
                  </a:cubicBezTo>
                  <a:cubicBezTo>
                    <a:pt x="144" y="33"/>
                    <a:pt x="144" y="20"/>
                    <a:pt x="147" y="0"/>
                  </a:cubicBezTo>
                  <a:cubicBezTo>
                    <a:pt x="166" y="8"/>
                    <a:pt x="182" y="15"/>
                    <a:pt x="201" y="20"/>
                  </a:cubicBezTo>
                  <a:cubicBezTo>
                    <a:pt x="204" y="43"/>
                    <a:pt x="215" y="45"/>
                    <a:pt x="237" y="50"/>
                  </a:cubicBezTo>
                  <a:cubicBezTo>
                    <a:pt x="269" y="68"/>
                    <a:pt x="302" y="92"/>
                    <a:pt x="340" y="97"/>
                  </a:cubicBezTo>
                  <a:cubicBezTo>
                    <a:pt x="375" y="115"/>
                    <a:pt x="399" y="137"/>
                    <a:pt x="437" y="142"/>
                  </a:cubicBezTo>
                  <a:cubicBezTo>
                    <a:pt x="445" y="144"/>
                    <a:pt x="462" y="142"/>
                    <a:pt x="462" y="149"/>
                  </a:cubicBezTo>
                  <a:cubicBezTo>
                    <a:pt x="464" y="179"/>
                    <a:pt x="462" y="251"/>
                    <a:pt x="429" y="274"/>
                  </a:cubicBezTo>
                  <a:cubicBezTo>
                    <a:pt x="402" y="264"/>
                    <a:pt x="372" y="249"/>
                    <a:pt x="342" y="244"/>
                  </a:cubicBezTo>
                  <a:cubicBezTo>
                    <a:pt x="323" y="266"/>
                    <a:pt x="342" y="239"/>
                    <a:pt x="332" y="284"/>
                  </a:cubicBezTo>
                  <a:cubicBezTo>
                    <a:pt x="329" y="298"/>
                    <a:pt x="310" y="316"/>
                    <a:pt x="302" y="328"/>
                  </a:cubicBezTo>
                  <a:cubicBezTo>
                    <a:pt x="299" y="346"/>
                    <a:pt x="294" y="365"/>
                    <a:pt x="285" y="380"/>
                  </a:cubicBezTo>
                  <a:cubicBezTo>
                    <a:pt x="280" y="400"/>
                    <a:pt x="275" y="420"/>
                    <a:pt x="258" y="432"/>
                  </a:cubicBezTo>
                  <a:cubicBezTo>
                    <a:pt x="242" y="415"/>
                    <a:pt x="212" y="398"/>
                    <a:pt x="188" y="393"/>
                  </a:cubicBezTo>
                  <a:cubicBezTo>
                    <a:pt x="171" y="385"/>
                    <a:pt x="155" y="375"/>
                    <a:pt x="139" y="365"/>
                  </a:cubicBezTo>
                  <a:cubicBezTo>
                    <a:pt x="123" y="346"/>
                    <a:pt x="90" y="331"/>
                    <a:pt x="66" y="326"/>
                  </a:cubicBezTo>
                  <a:cubicBezTo>
                    <a:pt x="52" y="316"/>
                    <a:pt x="38" y="311"/>
                    <a:pt x="22" y="311"/>
                  </a:cubicBezTo>
                </a:path>
              </a:pathLst>
            </a:custGeom>
            <a:solidFill>
              <a:srgbClr val="EAEAEA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290" name="Freeform 257"/>
            <p:cNvSpPr>
              <a:spLocks noEditPoints="1"/>
            </p:cNvSpPr>
            <p:nvPr/>
          </p:nvSpPr>
          <p:spPr bwMode="auto">
            <a:xfrm>
              <a:off x="4165" y="2651"/>
              <a:ext cx="115" cy="107"/>
            </a:xfrm>
            <a:custGeom>
              <a:avLst/>
              <a:gdLst>
                <a:gd name="T0" fmla="*/ 0 w 478"/>
                <a:gd name="T1" fmla="*/ 0 h 449"/>
                <a:gd name="T2" fmla="*/ 0 w 478"/>
                <a:gd name="T3" fmla="*/ 0 h 449"/>
                <a:gd name="T4" fmla="*/ 0 w 478"/>
                <a:gd name="T5" fmla="*/ 0 h 449"/>
                <a:gd name="T6" fmla="*/ 0 w 478"/>
                <a:gd name="T7" fmla="*/ 0 h 449"/>
                <a:gd name="T8" fmla="*/ 0 w 478"/>
                <a:gd name="T9" fmla="*/ 0 h 449"/>
                <a:gd name="T10" fmla="*/ 0 w 478"/>
                <a:gd name="T11" fmla="*/ 0 h 449"/>
                <a:gd name="T12" fmla="*/ 0 w 478"/>
                <a:gd name="T13" fmla="*/ 0 h 449"/>
                <a:gd name="T14" fmla="*/ 0 w 478"/>
                <a:gd name="T15" fmla="*/ 0 h 449"/>
                <a:gd name="T16" fmla="*/ 0 w 478"/>
                <a:gd name="T17" fmla="*/ 0 h 449"/>
                <a:gd name="T18" fmla="*/ 0 w 478"/>
                <a:gd name="T19" fmla="*/ 0 h 449"/>
                <a:gd name="T20" fmla="*/ 0 w 478"/>
                <a:gd name="T21" fmla="*/ 0 h 449"/>
                <a:gd name="T22" fmla="*/ 0 w 478"/>
                <a:gd name="T23" fmla="*/ 0 h 449"/>
                <a:gd name="T24" fmla="*/ 0 w 478"/>
                <a:gd name="T25" fmla="*/ 0 h 449"/>
                <a:gd name="T26" fmla="*/ 0 w 478"/>
                <a:gd name="T27" fmla="*/ 0 h 449"/>
                <a:gd name="T28" fmla="*/ 0 w 478"/>
                <a:gd name="T29" fmla="*/ 0 h 449"/>
                <a:gd name="T30" fmla="*/ 0 w 478"/>
                <a:gd name="T31" fmla="*/ 0 h 449"/>
                <a:gd name="T32" fmla="*/ 0 w 478"/>
                <a:gd name="T33" fmla="*/ 0 h 449"/>
                <a:gd name="T34" fmla="*/ 0 w 478"/>
                <a:gd name="T35" fmla="*/ 0 h 449"/>
                <a:gd name="T36" fmla="*/ 0 w 478"/>
                <a:gd name="T37" fmla="*/ 0 h 449"/>
                <a:gd name="T38" fmla="*/ 0 w 478"/>
                <a:gd name="T39" fmla="*/ 0 h 449"/>
                <a:gd name="T40" fmla="*/ 0 w 478"/>
                <a:gd name="T41" fmla="*/ 0 h 449"/>
                <a:gd name="T42" fmla="*/ 0 w 478"/>
                <a:gd name="T43" fmla="*/ 0 h 449"/>
                <a:gd name="T44" fmla="*/ 0 w 478"/>
                <a:gd name="T45" fmla="*/ 0 h 449"/>
                <a:gd name="T46" fmla="*/ 0 w 478"/>
                <a:gd name="T47" fmla="*/ 0 h 449"/>
                <a:gd name="T48" fmla="*/ 0 w 478"/>
                <a:gd name="T49" fmla="*/ 0 h 449"/>
                <a:gd name="T50" fmla="*/ 0 w 478"/>
                <a:gd name="T51" fmla="*/ 0 h 449"/>
                <a:gd name="T52" fmla="*/ 0 w 478"/>
                <a:gd name="T53" fmla="*/ 0 h 449"/>
                <a:gd name="T54" fmla="*/ 0 w 478"/>
                <a:gd name="T55" fmla="*/ 0 h 449"/>
                <a:gd name="T56" fmla="*/ 0 w 478"/>
                <a:gd name="T57" fmla="*/ 0 h 449"/>
                <a:gd name="T58" fmla="*/ 0 w 478"/>
                <a:gd name="T59" fmla="*/ 0 h 449"/>
                <a:gd name="T60" fmla="*/ 0 w 478"/>
                <a:gd name="T61" fmla="*/ 0 h 449"/>
                <a:gd name="T62" fmla="*/ 0 w 478"/>
                <a:gd name="T63" fmla="*/ 0 h 449"/>
                <a:gd name="T64" fmla="*/ 0 w 478"/>
                <a:gd name="T65" fmla="*/ 0 h 449"/>
                <a:gd name="T66" fmla="*/ 0 w 478"/>
                <a:gd name="T67" fmla="*/ 0 h 449"/>
                <a:gd name="T68" fmla="*/ 0 w 478"/>
                <a:gd name="T69" fmla="*/ 0 h 449"/>
                <a:gd name="T70" fmla="*/ 0 w 478"/>
                <a:gd name="T71" fmla="*/ 0 h 449"/>
                <a:gd name="T72" fmla="*/ 0 w 478"/>
                <a:gd name="T73" fmla="*/ 0 h 449"/>
                <a:gd name="T74" fmla="*/ 0 w 478"/>
                <a:gd name="T75" fmla="*/ 0 h 449"/>
                <a:gd name="T76" fmla="*/ 0 w 478"/>
                <a:gd name="T77" fmla="*/ 0 h 449"/>
                <a:gd name="T78" fmla="*/ 0 w 478"/>
                <a:gd name="T79" fmla="*/ 0 h 449"/>
                <a:gd name="T80" fmla="*/ 0 w 478"/>
                <a:gd name="T81" fmla="*/ 0 h 449"/>
                <a:gd name="T82" fmla="*/ 0 w 478"/>
                <a:gd name="T83" fmla="*/ 0 h 449"/>
                <a:gd name="T84" fmla="*/ 0 w 478"/>
                <a:gd name="T85" fmla="*/ 0 h 449"/>
                <a:gd name="T86" fmla="*/ 0 w 478"/>
                <a:gd name="T87" fmla="*/ 0 h 449"/>
                <a:gd name="T88" fmla="*/ 0 w 478"/>
                <a:gd name="T89" fmla="*/ 0 h 449"/>
                <a:gd name="T90" fmla="*/ 0 w 478"/>
                <a:gd name="T91" fmla="*/ 0 h 449"/>
                <a:gd name="T92" fmla="*/ 0 w 478"/>
                <a:gd name="T93" fmla="*/ 0 h 449"/>
                <a:gd name="T94" fmla="*/ 0 w 478"/>
                <a:gd name="T95" fmla="*/ 0 h 449"/>
                <a:gd name="T96" fmla="*/ 0 w 478"/>
                <a:gd name="T97" fmla="*/ 0 h 449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78"/>
                <a:gd name="T148" fmla="*/ 0 h 449"/>
                <a:gd name="T149" fmla="*/ 478 w 478"/>
                <a:gd name="T150" fmla="*/ 449 h 449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78" h="449">
                  <a:moveTo>
                    <a:pt x="29" y="327"/>
                  </a:moveTo>
                  <a:cubicBezTo>
                    <a:pt x="25" y="327"/>
                    <a:pt x="23" y="324"/>
                    <a:pt x="22" y="320"/>
                  </a:cubicBezTo>
                  <a:lnTo>
                    <a:pt x="20" y="268"/>
                  </a:lnTo>
                  <a:lnTo>
                    <a:pt x="17" y="216"/>
                  </a:lnTo>
                  <a:lnTo>
                    <a:pt x="19" y="220"/>
                  </a:lnTo>
                  <a:lnTo>
                    <a:pt x="15" y="215"/>
                  </a:lnTo>
                  <a:lnTo>
                    <a:pt x="18" y="218"/>
                  </a:lnTo>
                  <a:lnTo>
                    <a:pt x="11" y="215"/>
                  </a:lnTo>
                  <a:cubicBezTo>
                    <a:pt x="10" y="214"/>
                    <a:pt x="8" y="213"/>
                    <a:pt x="7" y="211"/>
                  </a:cubicBezTo>
                  <a:lnTo>
                    <a:pt x="1" y="199"/>
                  </a:lnTo>
                  <a:cubicBezTo>
                    <a:pt x="0" y="196"/>
                    <a:pt x="0" y="192"/>
                    <a:pt x="3" y="189"/>
                  </a:cubicBezTo>
                  <a:lnTo>
                    <a:pt x="32" y="164"/>
                  </a:lnTo>
                  <a:cubicBezTo>
                    <a:pt x="33" y="164"/>
                    <a:pt x="33" y="164"/>
                    <a:pt x="33" y="164"/>
                  </a:cubicBezTo>
                  <a:lnTo>
                    <a:pt x="67" y="144"/>
                  </a:lnTo>
                  <a:lnTo>
                    <a:pt x="65" y="145"/>
                  </a:lnTo>
                  <a:lnTo>
                    <a:pt x="76" y="132"/>
                  </a:lnTo>
                  <a:lnTo>
                    <a:pt x="81" y="126"/>
                  </a:lnTo>
                  <a:lnTo>
                    <a:pt x="84" y="123"/>
                  </a:lnTo>
                  <a:lnTo>
                    <a:pt x="88" y="115"/>
                  </a:lnTo>
                  <a:lnTo>
                    <a:pt x="87" y="118"/>
                  </a:lnTo>
                  <a:lnTo>
                    <a:pt x="88" y="96"/>
                  </a:lnTo>
                  <a:lnTo>
                    <a:pt x="91" y="79"/>
                  </a:lnTo>
                  <a:cubicBezTo>
                    <a:pt x="91" y="78"/>
                    <a:pt x="91" y="77"/>
                    <a:pt x="92" y="76"/>
                  </a:cubicBezTo>
                  <a:lnTo>
                    <a:pt x="101" y="61"/>
                  </a:lnTo>
                  <a:cubicBezTo>
                    <a:pt x="102" y="59"/>
                    <a:pt x="104" y="58"/>
                    <a:pt x="106" y="58"/>
                  </a:cubicBezTo>
                  <a:lnTo>
                    <a:pt x="126" y="54"/>
                  </a:lnTo>
                  <a:lnTo>
                    <a:pt x="163" y="50"/>
                  </a:lnTo>
                  <a:lnTo>
                    <a:pt x="156" y="61"/>
                  </a:lnTo>
                  <a:lnTo>
                    <a:pt x="147" y="37"/>
                  </a:lnTo>
                  <a:cubicBezTo>
                    <a:pt x="147" y="36"/>
                    <a:pt x="146" y="35"/>
                    <a:pt x="146" y="34"/>
                  </a:cubicBezTo>
                  <a:lnTo>
                    <a:pt x="147" y="8"/>
                  </a:lnTo>
                  <a:cubicBezTo>
                    <a:pt x="148" y="6"/>
                    <a:pt x="149" y="3"/>
                    <a:pt x="151" y="2"/>
                  </a:cubicBezTo>
                  <a:cubicBezTo>
                    <a:pt x="153" y="0"/>
                    <a:pt x="156" y="0"/>
                    <a:pt x="158" y="1"/>
                  </a:cubicBezTo>
                  <a:lnTo>
                    <a:pt x="212" y="21"/>
                  </a:lnTo>
                  <a:cubicBezTo>
                    <a:pt x="215" y="22"/>
                    <a:pt x="216" y="24"/>
                    <a:pt x="217" y="26"/>
                  </a:cubicBezTo>
                  <a:lnTo>
                    <a:pt x="221" y="40"/>
                  </a:lnTo>
                  <a:lnTo>
                    <a:pt x="219" y="37"/>
                  </a:lnTo>
                  <a:lnTo>
                    <a:pt x="226" y="45"/>
                  </a:lnTo>
                  <a:lnTo>
                    <a:pt x="223" y="43"/>
                  </a:lnTo>
                  <a:lnTo>
                    <a:pt x="248" y="51"/>
                  </a:lnTo>
                  <a:cubicBezTo>
                    <a:pt x="248" y="51"/>
                    <a:pt x="249" y="51"/>
                    <a:pt x="249" y="52"/>
                  </a:cubicBezTo>
                  <a:lnTo>
                    <a:pt x="298" y="80"/>
                  </a:lnTo>
                  <a:lnTo>
                    <a:pt x="324" y="91"/>
                  </a:lnTo>
                  <a:lnTo>
                    <a:pt x="322" y="91"/>
                  </a:lnTo>
                  <a:lnTo>
                    <a:pt x="350" y="98"/>
                  </a:lnTo>
                  <a:cubicBezTo>
                    <a:pt x="351" y="98"/>
                    <a:pt x="352" y="98"/>
                    <a:pt x="352" y="99"/>
                  </a:cubicBezTo>
                  <a:lnTo>
                    <a:pt x="399" y="126"/>
                  </a:lnTo>
                  <a:lnTo>
                    <a:pt x="423" y="136"/>
                  </a:lnTo>
                  <a:lnTo>
                    <a:pt x="422" y="136"/>
                  </a:lnTo>
                  <a:lnTo>
                    <a:pt x="448" y="143"/>
                  </a:lnTo>
                  <a:lnTo>
                    <a:pt x="462" y="145"/>
                  </a:lnTo>
                  <a:lnTo>
                    <a:pt x="469" y="146"/>
                  </a:lnTo>
                  <a:cubicBezTo>
                    <a:pt x="471" y="146"/>
                    <a:pt x="473" y="147"/>
                    <a:pt x="474" y="149"/>
                  </a:cubicBezTo>
                  <a:lnTo>
                    <a:pt x="477" y="153"/>
                  </a:lnTo>
                  <a:cubicBezTo>
                    <a:pt x="478" y="154"/>
                    <a:pt x="478" y="156"/>
                    <a:pt x="478" y="157"/>
                  </a:cubicBezTo>
                  <a:lnTo>
                    <a:pt x="478" y="186"/>
                  </a:lnTo>
                  <a:lnTo>
                    <a:pt x="475" y="223"/>
                  </a:lnTo>
                  <a:cubicBezTo>
                    <a:pt x="475" y="224"/>
                    <a:pt x="475" y="224"/>
                    <a:pt x="475" y="225"/>
                  </a:cubicBezTo>
                  <a:lnTo>
                    <a:pt x="464" y="260"/>
                  </a:lnTo>
                  <a:cubicBezTo>
                    <a:pt x="464" y="261"/>
                    <a:pt x="463" y="262"/>
                    <a:pt x="463" y="262"/>
                  </a:cubicBezTo>
                  <a:lnTo>
                    <a:pt x="444" y="287"/>
                  </a:lnTo>
                  <a:cubicBezTo>
                    <a:pt x="442" y="290"/>
                    <a:pt x="438" y="291"/>
                    <a:pt x="434" y="290"/>
                  </a:cubicBezTo>
                  <a:lnTo>
                    <a:pt x="392" y="273"/>
                  </a:lnTo>
                  <a:lnTo>
                    <a:pt x="348" y="260"/>
                  </a:lnTo>
                  <a:lnTo>
                    <a:pt x="356" y="258"/>
                  </a:lnTo>
                  <a:lnTo>
                    <a:pt x="348" y="267"/>
                  </a:lnTo>
                  <a:lnTo>
                    <a:pt x="350" y="261"/>
                  </a:lnTo>
                  <a:lnTo>
                    <a:pt x="350" y="263"/>
                  </a:lnTo>
                  <a:lnTo>
                    <a:pt x="350" y="262"/>
                  </a:lnTo>
                  <a:lnTo>
                    <a:pt x="351" y="269"/>
                  </a:lnTo>
                  <a:cubicBezTo>
                    <a:pt x="351" y="270"/>
                    <a:pt x="351" y="270"/>
                    <a:pt x="351" y="270"/>
                  </a:cubicBezTo>
                  <a:lnTo>
                    <a:pt x="351" y="278"/>
                  </a:lnTo>
                  <a:cubicBezTo>
                    <a:pt x="351" y="279"/>
                    <a:pt x="351" y="280"/>
                    <a:pt x="351" y="280"/>
                  </a:cubicBezTo>
                  <a:lnTo>
                    <a:pt x="348" y="294"/>
                  </a:lnTo>
                  <a:cubicBezTo>
                    <a:pt x="348" y="295"/>
                    <a:pt x="348" y="296"/>
                    <a:pt x="347" y="296"/>
                  </a:cubicBezTo>
                  <a:lnTo>
                    <a:pt x="334" y="319"/>
                  </a:lnTo>
                  <a:cubicBezTo>
                    <a:pt x="334" y="320"/>
                    <a:pt x="334" y="320"/>
                    <a:pt x="334" y="321"/>
                  </a:cubicBezTo>
                  <a:lnTo>
                    <a:pt x="317" y="342"/>
                  </a:lnTo>
                  <a:lnTo>
                    <a:pt x="318" y="339"/>
                  </a:lnTo>
                  <a:lnTo>
                    <a:pt x="301" y="391"/>
                  </a:lnTo>
                  <a:lnTo>
                    <a:pt x="292" y="420"/>
                  </a:lnTo>
                  <a:cubicBezTo>
                    <a:pt x="292" y="421"/>
                    <a:pt x="291" y="422"/>
                    <a:pt x="291" y="422"/>
                  </a:cubicBezTo>
                  <a:lnTo>
                    <a:pt x="273" y="445"/>
                  </a:lnTo>
                  <a:cubicBezTo>
                    <a:pt x="270" y="449"/>
                    <a:pt x="265" y="449"/>
                    <a:pt x="262" y="447"/>
                  </a:cubicBezTo>
                  <a:lnTo>
                    <a:pt x="230" y="423"/>
                  </a:lnTo>
                  <a:lnTo>
                    <a:pt x="232" y="424"/>
                  </a:lnTo>
                  <a:lnTo>
                    <a:pt x="194" y="409"/>
                  </a:lnTo>
                  <a:cubicBezTo>
                    <a:pt x="193" y="409"/>
                    <a:pt x="193" y="409"/>
                    <a:pt x="192" y="408"/>
                  </a:cubicBezTo>
                  <a:lnTo>
                    <a:pt x="143" y="380"/>
                  </a:lnTo>
                  <a:cubicBezTo>
                    <a:pt x="143" y="380"/>
                    <a:pt x="143" y="380"/>
                    <a:pt x="142" y="380"/>
                  </a:cubicBezTo>
                  <a:lnTo>
                    <a:pt x="127" y="367"/>
                  </a:lnTo>
                  <a:lnTo>
                    <a:pt x="110" y="355"/>
                  </a:lnTo>
                  <a:lnTo>
                    <a:pt x="112" y="356"/>
                  </a:lnTo>
                  <a:lnTo>
                    <a:pt x="72" y="342"/>
                  </a:lnTo>
                  <a:cubicBezTo>
                    <a:pt x="71" y="342"/>
                    <a:pt x="71" y="342"/>
                    <a:pt x="71" y="342"/>
                  </a:cubicBezTo>
                  <a:lnTo>
                    <a:pt x="50" y="331"/>
                  </a:lnTo>
                  <a:lnTo>
                    <a:pt x="52" y="331"/>
                  </a:lnTo>
                  <a:lnTo>
                    <a:pt x="29" y="327"/>
                  </a:lnTo>
                  <a:close/>
                  <a:moveTo>
                    <a:pt x="55" y="316"/>
                  </a:moveTo>
                  <a:cubicBezTo>
                    <a:pt x="56" y="316"/>
                    <a:pt x="56" y="316"/>
                    <a:pt x="57" y="316"/>
                  </a:cubicBezTo>
                  <a:lnTo>
                    <a:pt x="78" y="327"/>
                  </a:lnTo>
                  <a:lnTo>
                    <a:pt x="77" y="327"/>
                  </a:lnTo>
                  <a:lnTo>
                    <a:pt x="117" y="341"/>
                  </a:lnTo>
                  <a:cubicBezTo>
                    <a:pt x="118" y="341"/>
                    <a:pt x="118" y="341"/>
                    <a:pt x="119" y="342"/>
                  </a:cubicBezTo>
                  <a:lnTo>
                    <a:pt x="138" y="354"/>
                  </a:lnTo>
                  <a:lnTo>
                    <a:pt x="153" y="367"/>
                  </a:lnTo>
                  <a:lnTo>
                    <a:pt x="151" y="367"/>
                  </a:lnTo>
                  <a:lnTo>
                    <a:pt x="200" y="395"/>
                  </a:lnTo>
                  <a:lnTo>
                    <a:pt x="199" y="394"/>
                  </a:lnTo>
                  <a:lnTo>
                    <a:pt x="237" y="409"/>
                  </a:lnTo>
                  <a:cubicBezTo>
                    <a:pt x="238" y="409"/>
                    <a:pt x="239" y="410"/>
                    <a:pt x="239" y="410"/>
                  </a:cubicBezTo>
                  <a:lnTo>
                    <a:pt x="271" y="434"/>
                  </a:lnTo>
                  <a:lnTo>
                    <a:pt x="260" y="436"/>
                  </a:lnTo>
                  <a:lnTo>
                    <a:pt x="278" y="413"/>
                  </a:lnTo>
                  <a:lnTo>
                    <a:pt x="277" y="415"/>
                  </a:lnTo>
                  <a:lnTo>
                    <a:pt x="286" y="386"/>
                  </a:lnTo>
                  <a:lnTo>
                    <a:pt x="303" y="334"/>
                  </a:lnTo>
                  <a:cubicBezTo>
                    <a:pt x="303" y="333"/>
                    <a:pt x="304" y="332"/>
                    <a:pt x="304" y="331"/>
                  </a:cubicBezTo>
                  <a:lnTo>
                    <a:pt x="321" y="310"/>
                  </a:lnTo>
                  <a:lnTo>
                    <a:pt x="320" y="312"/>
                  </a:lnTo>
                  <a:lnTo>
                    <a:pt x="333" y="289"/>
                  </a:lnTo>
                  <a:lnTo>
                    <a:pt x="333" y="291"/>
                  </a:lnTo>
                  <a:lnTo>
                    <a:pt x="336" y="277"/>
                  </a:lnTo>
                  <a:lnTo>
                    <a:pt x="335" y="278"/>
                  </a:lnTo>
                  <a:lnTo>
                    <a:pt x="335" y="270"/>
                  </a:lnTo>
                  <a:lnTo>
                    <a:pt x="336" y="272"/>
                  </a:lnTo>
                  <a:lnTo>
                    <a:pt x="335" y="265"/>
                  </a:lnTo>
                  <a:cubicBezTo>
                    <a:pt x="334" y="264"/>
                    <a:pt x="334" y="264"/>
                    <a:pt x="334" y="263"/>
                  </a:cubicBezTo>
                  <a:lnTo>
                    <a:pt x="334" y="261"/>
                  </a:lnTo>
                  <a:cubicBezTo>
                    <a:pt x="334" y="260"/>
                    <a:pt x="335" y="258"/>
                    <a:pt x="336" y="256"/>
                  </a:cubicBezTo>
                  <a:lnTo>
                    <a:pt x="344" y="247"/>
                  </a:lnTo>
                  <a:cubicBezTo>
                    <a:pt x="347" y="245"/>
                    <a:pt x="350" y="244"/>
                    <a:pt x="353" y="245"/>
                  </a:cubicBezTo>
                  <a:lnTo>
                    <a:pt x="398" y="258"/>
                  </a:lnTo>
                  <a:lnTo>
                    <a:pt x="440" y="275"/>
                  </a:lnTo>
                  <a:lnTo>
                    <a:pt x="431" y="278"/>
                  </a:lnTo>
                  <a:lnTo>
                    <a:pt x="450" y="253"/>
                  </a:lnTo>
                  <a:lnTo>
                    <a:pt x="449" y="255"/>
                  </a:lnTo>
                  <a:lnTo>
                    <a:pt x="460" y="220"/>
                  </a:lnTo>
                  <a:lnTo>
                    <a:pt x="459" y="222"/>
                  </a:lnTo>
                  <a:lnTo>
                    <a:pt x="462" y="186"/>
                  </a:lnTo>
                  <a:lnTo>
                    <a:pt x="462" y="157"/>
                  </a:lnTo>
                  <a:lnTo>
                    <a:pt x="464" y="162"/>
                  </a:lnTo>
                  <a:lnTo>
                    <a:pt x="461" y="158"/>
                  </a:lnTo>
                  <a:lnTo>
                    <a:pt x="466" y="161"/>
                  </a:lnTo>
                  <a:lnTo>
                    <a:pt x="460" y="160"/>
                  </a:lnTo>
                  <a:lnTo>
                    <a:pt x="443" y="158"/>
                  </a:lnTo>
                  <a:lnTo>
                    <a:pt x="417" y="151"/>
                  </a:lnTo>
                  <a:cubicBezTo>
                    <a:pt x="417" y="151"/>
                    <a:pt x="417" y="151"/>
                    <a:pt x="416" y="151"/>
                  </a:cubicBezTo>
                  <a:lnTo>
                    <a:pt x="391" y="139"/>
                  </a:lnTo>
                  <a:lnTo>
                    <a:pt x="344" y="112"/>
                  </a:lnTo>
                  <a:lnTo>
                    <a:pt x="347" y="113"/>
                  </a:lnTo>
                  <a:lnTo>
                    <a:pt x="319" y="106"/>
                  </a:lnTo>
                  <a:cubicBezTo>
                    <a:pt x="318" y="106"/>
                    <a:pt x="318" y="106"/>
                    <a:pt x="317" y="106"/>
                  </a:cubicBezTo>
                  <a:lnTo>
                    <a:pt x="290" y="93"/>
                  </a:lnTo>
                  <a:lnTo>
                    <a:pt x="241" y="65"/>
                  </a:lnTo>
                  <a:lnTo>
                    <a:pt x="243" y="66"/>
                  </a:lnTo>
                  <a:lnTo>
                    <a:pt x="218" y="58"/>
                  </a:lnTo>
                  <a:cubicBezTo>
                    <a:pt x="217" y="58"/>
                    <a:pt x="215" y="57"/>
                    <a:pt x="214" y="56"/>
                  </a:cubicBezTo>
                  <a:lnTo>
                    <a:pt x="207" y="48"/>
                  </a:lnTo>
                  <a:cubicBezTo>
                    <a:pt x="207" y="47"/>
                    <a:pt x="206" y="46"/>
                    <a:pt x="206" y="45"/>
                  </a:cubicBezTo>
                  <a:lnTo>
                    <a:pt x="202" y="31"/>
                  </a:lnTo>
                  <a:lnTo>
                    <a:pt x="207" y="36"/>
                  </a:lnTo>
                  <a:lnTo>
                    <a:pt x="153" y="16"/>
                  </a:lnTo>
                  <a:lnTo>
                    <a:pt x="163" y="9"/>
                  </a:lnTo>
                  <a:lnTo>
                    <a:pt x="162" y="35"/>
                  </a:lnTo>
                  <a:lnTo>
                    <a:pt x="162" y="32"/>
                  </a:lnTo>
                  <a:lnTo>
                    <a:pt x="171" y="56"/>
                  </a:lnTo>
                  <a:cubicBezTo>
                    <a:pt x="172" y="58"/>
                    <a:pt x="172" y="61"/>
                    <a:pt x="170" y="63"/>
                  </a:cubicBezTo>
                  <a:cubicBezTo>
                    <a:pt x="169" y="65"/>
                    <a:pt x="167" y="66"/>
                    <a:pt x="164" y="66"/>
                  </a:cubicBezTo>
                  <a:lnTo>
                    <a:pt x="129" y="69"/>
                  </a:lnTo>
                  <a:lnTo>
                    <a:pt x="109" y="73"/>
                  </a:lnTo>
                  <a:lnTo>
                    <a:pt x="114" y="70"/>
                  </a:lnTo>
                  <a:lnTo>
                    <a:pt x="105" y="85"/>
                  </a:lnTo>
                  <a:lnTo>
                    <a:pt x="106" y="81"/>
                  </a:lnTo>
                  <a:lnTo>
                    <a:pt x="104" y="97"/>
                  </a:lnTo>
                  <a:lnTo>
                    <a:pt x="103" y="119"/>
                  </a:lnTo>
                  <a:cubicBezTo>
                    <a:pt x="103" y="120"/>
                    <a:pt x="103" y="121"/>
                    <a:pt x="102" y="122"/>
                  </a:cubicBezTo>
                  <a:lnTo>
                    <a:pt x="97" y="132"/>
                  </a:lnTo>
                  <a:lnTo>
                    <a:pt x="94" y="137"/>
                  </a:lnTo>
                  <a:lnTo>
                    <a:pt x="89" y="143"/>
                  </a:lnTo>
                  <a:lnTo>
                    <a:pt x="78" y="156"/>
                  </a:lnTo>
                  <a:cubicBezTo>
                    <a:pt x="77" y="156"/>
                    <a:pt x="76" y="157"/>
                    <a:pt x="76" y="157"/>
                  </a:cubicBezTo>
                  <a:lnTo>
                    <a:pt x="42" y="177"/>
                  </a:lnTo>
                  <a:lnTo>
                    <a:pt x="43" y="177"/>
                  </a:lnTo>
                  <a:lnTo>
                    <a:pt x="14" y="202"/>
                  </a:lnTo>
                  <a:lnTo>
                    <a:pt x="16" y="192"/>
                  </a:lnTo>
                  <a:lnTo>
                    <a:pt x="22" y="204"/>
                  </a:lnTo>
                  <a:lnTo>
                    <a:pt x="18" y="200"/>
                  </a:lnTo>
                  <a:lnTo>
                    <a:pt x="25" y="203"/>
                  </a:lnTo>
                  <a:cubicBezTo>
                    <a:pt x="26" y="204"/>
                    <a:pt x="27" y="204"/>
                    <a:pt x="28" y="205"/>
                  </a:cubicBezTo>
                  <a:lnTo>
                    <a:pt x="32" y="210"/>
                  </a:lnTo>
                  <a:cubicBezTo>
                    <a:pt x="33" y="212"/>
                    <a:pt x="33" y="213"/>
                    <a:pt x="33" y="215"/>
                  </a:cubicBezTo>
                  <a:lnTo>
                    <a:pt x="36" y="267"/>
                  </a:lnTo>
                  <a:lnTo>
                    <a:pt x="38" y="319"/>
                  </a:lnTo>
                  <a:lnTo>
                    <a:pt x="32" y="312"/>
                  </a:lnTo>
                  <a:lnTo>
                    <a:pt x="55" y="316"/>
                  </a:lnTo>
                  <a:close/>
                </a:path>
              </a:pathLst>
            </a:custGeom>
            <a:solidFill>
              <a:srgbClr val="000000"/>
            </a:solidFill>
            <a:ln w="0" cap="flat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291" name="Rectangle 258"/>
            <p:cNvSpPr>
              <a:spLocks noChangeArrowheads="1"/>
            </p:cNvSpPr>
            <p:nvPr/>
          </p:nvSpPr>
          <p:spPr bwMode="auto">
            <a:xfrm>
              <a:off x="4199" y="2685"/>
              <a:ext cx="48" cy="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sz="400" b="1">
                  <a:solidFill>
                    <a:srgbClr val="000000"/>
                  </a:solidFill>
                </a:rPr>
                <a:t>ME</a:t>
              </a:r>
              <a:endParaRPr lang="de-DE"/>
            </a:p>
          </p:txBody>
        </p:sp>
        <p:sp>
          <p:nvSpPr>
            <p:cNvPr id="7292" name="Rectangle 259"/>
            <p:cNvSpPr>
              <a:spLocks noChangeArrowheads="1"/>
            </p:cNvSpPr>
            <p:nvPr/>
          </p:nvSpPr>
          <p:spPr bwMode="auto">
            <a:xfrm>
              <a:off x="4081" y="2588"/>
              <a:ext cx="58" cy="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sz="500" b="1">
                  <a:solidFill>
                    <a:srgbClr val="000000"/>
                  </a:solidFill>
                </a:rPr>
                <a:t>BA</a:t>
              </a:r>
              <a:endParaRPr lang="de-DE"/>
            </a:p>
          </p:txBody>
        </p:sp>
        <p:sp>
          <p:nvSpPr>
            <p:cNvPr id="7293" name="Rectangle 260"/>
            <p:cNvSpPr>
              <a:spLocks noChangeArrowheads="1"/>
            </p:cNvSpPr>
            <p:nvPr/>
          </p:nvSpPr>
          <p:spPr bwMode="auto">
            <a:xfrm>
              <a:off x="3415" y="2193"/>
              <a:ext cx="32" cy="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sz="300" b="1">
                  <a:solidFill>
                    <a:srgbClr val="000000"/>
                  </a:solidFill>
                </a:rPr>
                <a:t>LU</a:t>
              </a:r>
              <a:endParaRPr lang="de-DE"/>
            </a:p>
          </p:txBody>
        </p:sp>
        <p:sp>
          <p:nvSpPr>
            <p:cNvPr id="7294" name="Freeform 261"/>
            <p:cNvSpPr>
              <a:spLocks noEditPoints="1"/>
            </p:cNvSpPr>
            <p:nvPr/>
          </p:nvSpPr>
          <p:spPr bwMode="auto">
            <a:xfrm>
              <a:off x="2342" y="1041"/>
              <a:ext cx="390" cy="259"/>
            </a:xfrm>
            <a:custGeom>
              <a:avLst/>
              <a:gdLst>
                <a:gd name="T0" fmla="*/ 0 w 1633"/>
                <a:gd name="T1" fmla="*/ 0 h 1089"/>
                <a:gd name="T2" fmla="*/ 0 w 1633"/>
                <a:gd name="T3" fmla="*/ 0 h 1089"/>
                <a:gd name="T4" fmla="*/ 0 w 1633"/>
                <a:gd name="T5" fmla="*/ 0 h 1089"/>
                <a:gd name="T6" fmla="*/ 0 w 1633"/>
                <a:gd name="T7" fmla="*/ 0 h 1089"/>
                <a:gd name="T8" fmla="*/ 0 w 1633"/>
                <a:gd name="T9" fmla="*/ 0 h 1089"/>
                <a:gd name="T10" fmla="*/ 0 w 1633"/>
                <a:gd name="T11" fmla="*/ 0 h 1089"/>
                <a:gd name="T12" fmla="*/ 0 w 1633"/>
                <a:gd name="T13" fmla="*/ 0 h 1089"/>
                <a:gd name="T14" fmla="*/ 0 w 1633"/>
                <a:gd name="T15" fmla="*/ 0 h 1089"/>
                <a:gd name="T16" fmla="*/ 0 w 1633"/>
                <a:gd name="T17" fmla="*/ 0 h 1089"/>
                <a:gd name="T18" fmla="*/ 0 w 1633"/>
                <a:gd name="T19" fmla="*/ 0 h 1089"/>
                <a:gd name="T20" fmla="*/ 0 w 1633"/>
                <a:gd name="T21" fmla="*/ 0 h 1089"/>
                <a:gd name="T22" fmla="*/ 0 w 1633"/>
                <a:gd name="T23" fmla="*/ 0 h 1089"/>
                <a:gd name="T24" fmla="*/ 0 w 1633"/>
                <a:gd name="T25" fmla="*/ 0 h 1089"/>
                <a:gd name="T26" fmla="*/ 0 w 1633"/>
                <a:gd name="T27" fmla="*/ 0 h 1089"/>
                <a:gd name="T28" fmla="*/ 0 w 1633"/>
                <a:gd name="T29" fmla="*/ 0 h 1089"/>
                <a:gd name="T30" fmla="*/ 0 w 1633"/>
                <a:gd name="T31" fmla="*/ 0 h 1089"/>
                <a:gd name="T32" fmla="*/ 0 w 1633"/>
                <a:gd name="T33" fmla="*/ 0 h 1089"/>
                <a:gd name="T34" fmla="*/ 0 w 1633"/>
                <a:gd name="T35" fmla="*/ 0 h 1089"/>
                <a:gd name="T36" fmla="*/ 0 w 1633"/>
                <a:gd name="T37" fmla="*/ 0 h 1089"/>
                <a:gd name="T38" fmla="*/ 0 w 1633"/>
                <a:gd name="T39" fmla="*/ 0 h 1089"/>
                <a:gd name="T40" fmla="*/ 0 w 1633"/>
                <a:gd name="T41" fmla="*/ 0 h 1089"/>
                <a:gd name="T42" fmla="*/ 0 w 1633"/>
                <a:gd name="T43" fmla="*/ 0 h 1089"/>
                <a:gd name="T44" fmla="*/ 0 w 1633"/>
                <a:gd name="T45" fmla="*/ 0 h 1089"/>
                <a:gd name="T46" fmla="*/ 0 w 1633"/>
                <a:gd name="T47" fmla="*/ 0 h 1089"/>
                <a:gd name="T48" fmla="*/ 0 w 1633"/>
                <a:gd name="T49" fmla="*/ 0 h 1089"/>
                <a:gd name="T50" fmla="*/ 0 w 1633"/>
                <a:gd name="T51" fmla="*/ 0 h 1089"/>
                <a:gd name="T52" fmla="*/ 0 w 1633"/>
                <a:gd name="T53" fmla="*/ 0 h 1089"/>
                <a:gd name="T54" fmla="*/ 0 w 1633"/>
                <a:gd name="T55" fmla="*/ 0 h 1089"/>
                <a:gd name="T56" fmla="*/ 0 w 1633"/>
                <a:gd name="T57" fmla="*/ 0 h 1089"/>
                <a:gd name="T58" fmla="*/ 0 w 1633"/>
                <a:gd name="T59" fmla="*/ 0 h 1089"/>
                <a:gd name="T60" fmla="*/ 0 w 1633"/>
                <a:gd name="T61" fmla="*/ 0 h 1089"/>
                <a:gd name="T62" fmla="*/ 0 w 1633"/>
                <a:gd name="T63" fmla="*/ 0 h 1089"/>
                <a:gd name="T64" fmla="*/ 0 w 1633"/>
                <a:gd name="T65" fmla="*/ 0 h 1089"/>
                <a:gd name="T66" fmla="*/ 0 w 1633"/>
                <a:gd name="T67" fmla="*/ 0 h 1089"/>
                <a:gd name="T68" fmla="*/ 0 w 1633"/>
                <a:gd name="T69" fmla="*/ 0 h 1089"/>
                <a:gd name="T70" fmla="*/ 0 w 1633"/>
                <a:gd name="T71" fmla="*/ 0 h 1089"/>
                <a:gd name="T72" fmla="*/ 0 w 1633"/>
                <a:gd name="T73" fmla="*/ 0 h 1089"/>
                <a:gd name="T74" fmla="*/ 0 w 1633"/>
                <a:gd name="T75" fmla="*/ 0 h 1089"/>
                <a:gd name="T76" fmla="*/ 0 w 1633"/>
                <a:gd name="T77" fmla="*/ 0 h 1089"/>
                <a:gd name="T78" fmla="*/ 0 w 1633"/>
                <a:gd name="T79" fmla="*/ 0 h 1089"/>
                <a:gd name="T80" fmla="*/ 0 w 1633"/>
                <a:gd name="T81" fmla="*/ 0 h 1089"/>
                <a:gd name="T82" fmla="*/ 0 w 1633"/>
                <a:gd name="T83" fmla="*/ 0 h 1089"/>
                <a:gd name="T84" fmla="*/ 0 w 1633"/>
                <a:gd name="T85" fmla="*/ 0 h 1089"/>
                <a:gd name="T86" fmla="*/ 0 w 1633"/>
                <a:gd name="T87" fmla="*/ 0 h 1089"/>
                <a:gd name="T88" fmla="*/ 0 w 1633"/>
                <a:gd name="T89" fmla="*/ 0 h 1089"/>
                <a:gd name="T90" fmla="*/ 0 w 1633"/>
                <a:gd name="T91" fmla="*/ 0 h 1089"/>
                <a:gd name="T92" fmla="*/ 0 w 1633"/>
                <a:gd name="T93" fmla="*/ 0 h 1089"/>
                <a:gd name="T94" fmla="*/ 0 w 1633"/>
                <a:gd name="T95" fmla="*/ 0 h 1089"/>
                <a:gd name="T96" fmla="*/ 0 w 1633"/>
                <a:gd name="T97" fmla="*/ 0 h 1089"/>
                <a:gd name="T98" fmla="*/ 0 w 1633"/>
                <a:gd name="T99" fmla="*/ 0 h 1089"/>
                <a:gd name="T100" fmla="*/ 0 w 1633"/>
                <a:gd name="T101" fmla="*/ 0 h 108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633"/>
                <a:gd name="T154" fmla="*/ 0 h 1089"/>
                <a:gd name="T155" fmla="*/ 1633 w 1633"/>
                <a:gd name="T156" fmla="*/ 1089 h 1089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633" h="1089">
                  <a:moveTo>
                    <a:pt x="287" y="810"/>
                  </a:moveTo>
                  <a:cubicBezTo>
                    <a:pt x="289" y="810"/>
                    <a:pt x="291" y="812"/>
                    <a:pt x="292" y="814"/>
                  </a:cubicBezTo>
                  <a:lnTo>
                    <a:pt x="385" y="975"/>
                  </a:lnTo>
                  <a:lnTo>
                    <a:pt x="382" y="972"/>
                  </a:lnTo>
                  <a:lnTo>
                    <a:pt x="566" y="1073"/>
                  </a:lnTo>
                  <a:lnTo>
                    <a:pt x="562" y="1072"/>
                  </a:lnTo>
                  <a:lnTo>
                    <a:pt x="701" y="1072"/>
                  </a:lnTo>
                  <a:lnTo>
                    <a:pt x="700" y="1073"/>
                  </a:lnTo>
                  <a:lnTo>
                    <a:pt x="793" y="1052"/>
                  </a:lnTo>
                  <a:cubicBezTo>
                    <a:pt x="794" y="1052"/>
                    <a:pt x="795" y="1052"/>
                    <a:pt x="796" y="1052"/>
                  </a:cubicBezTo>
                  <a:lnTo>
                    <a:pt x="957" y="1073"/>
                  </a:lnTo>
                  <a:lnTo>
                    <a:pt x="953" y="1073"/>
                  </a:lnTo>
                  <a:lnTo>
                    <a:pt x="1184" y="992"/>
                  </a:lnTo>
                  <a:cubicBezTo>
                    <a:pt x="1185" y="992"/>
                    <a:pt x="1187" y="991"/>
                    <a:pt x="1188" y="992"/>
                  </a:cubicBezTo>
                  <a:lnTo>
                    <a:pt x="1278" y="1012"/>
                  </a:lnTo>
                  <a:lnTo>
                    <a:pt x="1273" y="1013"/>
                  </a:lnTo>
                  <a:lnTo>
                    <a:pt x="1391" y="952"/>
                  </a:lnTo>
                  <a:lnTo>
                    <a:pt x="1528" y="891"/>
                  </a:lnTo>
                  <a:lnTo>
                    <a:pt x="1524" y="895"/>
                  </a:lnTo>
                  <a:lnTo>
                    <a:pt x="1617" y="693"/>
                  </a:lnTo>
                  <a:lnTo>
                    <a:pt x="1620" y="703"/>
                  </a:lnTo>
                  <a:lnTo>
                    <a:pt x="1552" y="663"/>
                  </a:lnTo>
                  <a:cubicBezTo>
                    <a:pt x="1550" y="662"/>
                    <a:pt x="1549" y="660"/>
                    <a:pt x="1548" y="658"/>
                  </a:cubicBezTo>
                  <a:lnTo>
                    <a:pt x="1524" y="577"/>
                  </a:lnTo>
                  <a:cubicBezTo>
                    <a:pt x="1523" y="576"/>
                    <a:pt x="1523" y="574"/>
                    <a:pt x="1524" y="572"/>
                  </a:cubicBezTo>
                  <a:lnTo>
                    <a:pt x="1548" y="492"/>
                  </a:lnTo>
                  <a:lnTo>
                    <a:pt x="1570" y="411"/>
                  </a:lnTo>
                  <a:lnTo>
                    <a:pt x="1578" y="421"/>
                  </a:lnTo>
                  <a:lnTo>
                    <a:pt x="1463" y="421"/>
                  </a:lnTo>
                  <a:cubicBezTo>
                    <a:pt x="1460" y="421"/>
                    <a:pt x="1458" y="420"/>
                    <a:pt x="1456" y="417"/>
                  </a:cubicBezTo>
                  <a:lnTo>
                    <a:pt x="1388" y="316"/>
                  </a:lnTo>
                  <a:lnTo>
                    <a:pt x="1400" y="318"/>
                  </a:lnTo>
                  <a:lnTo>
                    <a:pt x="1328" y="379"/>
                  </a:lnTo>
                  <a:lnTo>
                    <a:pt x="1330" y="376"/>
                  </a:lnTo>
                  <a:lnTo>
                    <a:pt x="1308" y="417"/>
                  </a:lnTo>
                  <a:cubicBezTo>
                    <a:pt x="1307" y="420"/>
                    <a:pt x="1303" y="422"/>
                    <a:pt x="1299" y="421"/>
                  </a:cubicBezTo>
                  <a:lnTo>
                    <a:pt x="1231" y="400"/>
                  </a:lnTo>
                  <a:lnTo>
                    <a:pt x="1234" y="401"/>
                  </a:lnTo>
                  <a:lnTo>
                    <a:pt x="1141" y="421"/>
                  </a:lnTo>
                  <a:cubicBezTo>
                    <a:pt x="1137" y="422"/>
                    <a:pt x="1133" y="419"/>
                    <a:pt x="1132" y="415"/>
                  </a:cubicBezTo>
                  <a:lnTo>
                    <a:pt x="1110" y="334"/>
                  </a:lnTo>
                  <a:lnTo>
                    <a:pt x="1118" y="340"/>
                  </a:lnTo>
                  <a:lnTo>
                    <a:pt x="1047" y="340"/>
                  </a:lnTo>
                  <a:lnTo>
                    <a:pt x="1054" y="335"/>
                  </a:lnTo>
                  <a:lnTo>
                    <a:pt x="1032" y="395"/>
                  </a:lnTo>
                  <a:cubicBezTo>
                    <a:pt x="1031" y="399"/>
                    <a:pt x="1028" y="401"/>
                    <a:pt x="1025" y="401"/>
                  </a:cubicBezTo>
                  <a:cubicBezTo>
                    <a:pt x="1022" y="401"/>
                    <a:pt x="1019" y="399"/>
                    <a:pt x="1017" y="396"/>
                  </a:cubicBezTo>
                  <a:lnTo>
                    <a:pt x="971" y="295"/>
                  </a:lnTo>
                  <a:lnTo>
                    <a:pt x="979" y="300"/>
                  </a:lnTo>
                  <a:lnTo>
                    <a:pt x="864" y="320"/>
                  </a:lnTo>
                  <a:lnTo>
                    <a:pt x="869" y="317"/>
                  </a:lnTo>
                  <a:lnTo>
                    <a:pt x="823" y="377"/>
                  </a:lnTo>
                  <a:cubicBezTo>
                    <a:pt x="821" y="379"/>
                    <a:pt x="819" y="381"/>
                    <a:pt x="816" y="381"/>
                  </a:cubicBezTo>
                  <a:lnTo>
                    <a:pt x="770" y="381"/>
                  </a:lnTo>
                  <a:cubicBezTo>
                    <a:pt x="766" y="381"/>
                    <a:pt x="763" y="378"/>
                    <a:pt x="762" y="374"/>
                  </a:cubicBezTo>
                  <a:lnTo>
                    <a:pt x="740" y="232"/>
                  </a:lnTo>
                  <a:lnTo>
                    <a:pt x="751" y="238"/>
                  </a:lnTo>
                  <a:lnTo>
                    <a:pt x="705" y="259"/>
                  </a:lnTo>
                  <a:lnTo>
                    <a:pt x="709" y="253"/>
                  </a:lnTo>
                  <a:lnTo>
                    <a:pt x="685" y="394"/>
                  </a:lnTo>
                  <a:cubicBezTo>
                    <a:pt x="684" y="398"/>
                    <a:pt x="681" y="401"/>
                    <a:pt x="677" y="401"/>
                  </a:cubicBezTo>
                  <a:lnTo>
                    <a:pt x="633" y="401"/>
                  </a:lnTo>
                  <a:cubicBezTo>
                    <a:pt x="630" y="401"/>
                    <a:pt x="627" y="399"/>
                    <a:pt x="626" y="396"/>
                  </a:cubicBezTo>
                  <a:lnTo>
                    <a:pt x="601" y="335"/>
                  </a:lnTo>
                  <a:lnTo>
                    <a:pt x="613" y="339"/>
                  </a:lnTo>
                  <a:lnTo>
                    <a:pt x="498" y="420"/>
                  </a:lnTo>
                  <a:cubicBezTo>
                    <a:pt x="495" y="421"/>
                    <a:pt x="492" y="421"/>
                    <a:pt x="489" y="420"/>
                  </a:cubicBezTo>
                  <a:cubicBezTo>
                    <a:pt x="486" y="418"/>
                    <a:pt x="485" y="415"/>
                    <a:pt x="485" y="412"/>
                  </a:cubicBezTo>
                  <a:lnTo>
                    <a:pt x="507" y="290"/>
                  </a:lnTo>
                  <a:cubicBezTo>
                    <a:pt x="508" y="288"/>
                    <a:pt x="509" y="287"/>
                    <a:pt x="510" y="286"/>
                  </a:cubicBezTo>
                  <a:lnTo>
                    <a:pt x="581" y="225"/>
                  </a:lnTo>
                  <a:lnTo>
                    <a:pt x="579" y="234"/>
                  </a:lnTo>
                  <a:lnTo>
                    <a:pt x="508" y="52"/>
                  </a:lnTo>
                  <a:lnTo>
                    <a:pt x="513" y="56"/>
                  </a:lnTo>
                  <a:lnTo>
                    <a:pt x="397" y="16"/>
                  </a:lnTo>
                  <a:lnTo>
                    <a:pt x="408" y="7"/>
                  </a:lnTo>
                  <a:lnTo>
                    <a:pt x="433" y="169"/>
                  </a:lnTo>
                  <a:cubicBezTo>
                    <a:pt x="433" y="173"/>
                    <a:pt x="431" y="176"/>
                    <a:pt x="428" y="178"/>
                  </a:cubicBezTo>
                  <a:cubicBezTo>
                    <a:pt x="425" y="179"/>
                    <a:pt x="421" y="178"/>
                    <a:pt x="418" y="175"/>
                  </a:cubicBezTo>
                  <a:lnTo>
                    <a:pt x="325" y="54"/>
                  </a:lnTo>
                  <a:lnTo>
                    <a:pt x="336" y="56"/>
                  </a:lnTo>
                  <a:lnTo>
                    <a:pt x="267" y="96"/>
                  </a:lnTo>
                  <a:lnTo>
                    <a:pt x="268" y="95"/>
                  </a:lnTo>
                  <a:lnTo>
                    <a:pt x="222" y="136"/>
                  </a:lnTo>
                  <a:lnTo>
                    <a:pt x="222" y="124"/>
                  </a:lnTo>
                  <a:lnTo>
                    <a:pt x="268" y="164"/>
                  </a:lnTo>
                  <a:cubicBezTo>
                    <a:pt x="271" y="167"/>
                    <a:pt x="272" y="171"/>
                    <a:pt x="270" y="175"/>
                  </a:cubicBezTo>
                  <a:cubicBezTo>
                    <a:pt x="268" y="178"/>
                    <a:pt x="264" y="179"/>
                    <a:pt x="260" y="178"/>
                  </a:cubicBezTo>
                  <a:lnTo>
                    <a:pt x="167" y="137"/>
                  </a:lnTo>
                  <a:lnTo>
                    <a:pt x="177" y="134"/>
                  </a:lnTo>
                  <a:lnTo>
                    <a:pt x="155" y="174"/>
                  </a:lnTo>
                  <a:cubicBezTo>
                    <a:pt x="154" y="177"/>
                    <a:pt x="151" y="178"/>
                    <a:pt x="148" y="178"/>
                  </a:cubicBezTo>
                  <a:lnTo>
                    <a:pt x="77" y="178"/>
                  </a:lnTo>
                  <a:lnTo>
                    <a:pt x="83" y="165"/>
                  </a:lnTo>
                  <a:lnTo>
                    <a:pt x="130" y="226"/>
                  </a:lnTo>
                  <a:lnTo>
                    <a:pt x="124" y="223"/>
                  </a:lnTo>
                  <a:lnTo>
                    <a:pt x="286" y="243"/>
                  </a:lnTo>
                  <a:cubicBezTo>
                    <a:pt x="287" y="243"/>
                    <a:pt x="289" y="244"/>
                    <a:pt x="290" y="245"/>
                  </a:cubicBezTo>
                  <a:lnTo>
                    <a:pt x="405" y="326"/>
                  </a:lnTo>
                  <a:cubicBezTo>
                    <a:pt x="407" y="327"/>
                    <a:pt x="408" y="330"/>
                    <a:pt x="408" y="333"/>
                  </a:cubicBezTo>
                  <a:cubicBezTo>
                    <a:pt x="408" y="336"/>
                    <a:pt x="406" y="338"/>
                    <a:pt x="403" y="339"/>
                  </a:cubicBezTo>
                  <a:lnTo>
                    <a:pt x="313" y="380"/>
                  </a:lnTo>
                  <a:lnTo>
                    <a:pt x="315" y="367"/>
                  </a:lnTo>
                  <a:lnTo>
                    <a:pt x="359" y="407"/>
                  </a:lnTo>
                  <a:lnTo>
                    <a:pt x="405" y="447"/>
                  </a:lnTo>
                  <a:cubicBezTo>
                    <a:pt x="407" y="449"/>
                    <a:pt x="408" y="452"/>
                    <a:pt x="408" y="455"/>
                  </a:cubicBezTo>
                  <a:cubicBezTo>
                    <a:pt x="408" y="457"/>
                    <a:pt x="406" y="460"/>
                    <a:pt x="403" y="461"/>
                  </a:cubicBezTo>
                  <a:lnTo>
                    <a:pt x="357" y="481"/>
                  </a:lnTo>
                  <a:cubicBezTo>
                    <a:pt x="355" y="482"/>
                    <a:pt x="353" y="482"/>
                    <a:pt x="351" y="481"/>
                  </a:cubicBezTo>
                  <a:lnTo>
                    <a:pt x="28" y="380"/>
                  </a:lnTo>
                  <a:lnTo>
                    <a:pt x="38" y="375"/>
                  </a:lnTo>
                  <a:lnTo>
                    <a:pt x="16" y="436"/>
                  </a:lnTo>
                  <a:lnTo>
                    <a:pt x="10" y="425"/>
                  </a:lnTo>
                  <a:lnTo>
                    <a:pt x="265" y="486"/>
                  </a:lnTo>
                  <a:cubicBezTo>
                    <a:pt x="267" y="487"/>
                    <a:pt x="269" y="488"/>
                    <a:pt x="270" y="490"/>
                  </a:cubicBezTo>
                  <a:cubicBezTo>
                    <a:pt x="271" y="492"/>
                    <a:pt x="271" y="495"/>
                    <a:pt x="271" y="497"/>
                  </a:cubicBezTo>
                  <a:lnTo>
                    <a:pt x="246" y="558"/>
                  </a:lnTo>
                  <a:lnTo>
                    <a:pt x="247" y="555"/>
                  </a:lnTo>
                  <a:lnTo>
                    <a:pt x="247" y="656"/>
                  </a:lnTo>
                  <a:cubicBezTo>
                    <a:pt x="247" y="657"/>
                    <a:pt x="246" y="659"/>
                    <a:pt x="245" y="661"/>
                  </a:cubicBezTo>
                  <a:lnTo>
                    <a:pt x="198" y="721"/>
                  </a:lnTo>
                  <a:cubicBezTo>
                    <a:pt x="197" y="723"/>
                    <a:pt x="194" y="724"/>
                    <a:pt x="192" y="724"/>
                  </a:cubicBezTo>
                  <a:lnTo>
                    <a:pt x="102" y="724"/>
                  </a:lnTo>
                  <a:lnTo>
                    <a:pt x="107" y="722"/>
                  </a:lnTo>
                  <a:lnTo>
                    <a:pt x="60" y="763"/>
                  </a:lnTo>
                  <a:lnTo>
                    <a:pt x="57" y="749"/>
                  </a:lnTo>
                  <a:lnTo>
                    <a:pt x="287" y="810"/>
                  </a:lnTo>
                  <a:close/>
                  <a:moveTo>
                    <a:pt x="53" y="765"/>
                  </a:moveTo>
                  <a:cubicBezTo>
                    <a:pt x="50" y="764"/>
                    <a:pt x="48" y="762"/>
                    <a:pt x="47" y="759"/>
                  </a:cubicBezTo>
                  <a:cubicBezTo>
                    <a:pt x="47" y="756"/>
                    <a:pt x="48" y="753"/>
                    <a:pt x="50" y="751"/>
                  </a:cubicBezTo>
                  <a:lnTo>
                    <a:pt x="96" y="710"/>
                  </a:lnTo>
                  <a:cubicBezTo>
                    <a:pt x="98" y="709"/>
                    <a:pt x="100" y="708"/>
                    <a:pt x="102" y="708"/>
                  </a:cubicBezTo>
                  <a:lnTo>
                    <a:pt x="192" y="708"/>
                  </a:lnTo>
                  <a:lnTo>
                    <a:pt x="186" y="712"/>
                  </a:lnTo>
                  <a:lnTo>
                    <a:pt x="232" y="651"/>
                  </a:lnTo>
                  <a:lnTo>
                    <a:pt x="231" y="656"/>
                  </a:lnTo>
                  <a:lnTo>
                    <a:pt x="231" y="555"/>
                  </a:lnTo>
                  <a:cubicBezTo>
                    <a:pt x="231" y="554"/>
                    <a:pt x="231" y="553"/>
                    <a:pt x="231" y="552"/>
                  </a:cubicBezTo>
                  <a:lnTo>
                    <a:pt x="256" y="491"/>
                  </a:lnTo>
                  <a:lnTo>
                    <a:pt x="261" y="502"/>
                  </a:lnTo>
                  <a:lnTo>
                    <a:pt x="7" y="441"/>
                  </a:lnTo>
                  <a:cubicBezTo>
                    <a:pt x="4" y="440"/>
                    <a:pt x="3" y="439"/>
                    <a:pt x="1" y="437"/>
                  </a:cubicBezTo>
                  <a:cubicBezTo>
                    <a:pt x="0" y="435"/>
                    <a:pt x="0" y="433"/>
                    <a:pt x="1" y="431"/>
                  </a:cubicBezTo>
                  <a:lnTo>
                    <a:pt x="23" y="370"/>
                  </a:lnTo>
                  <a:cubicBezTo>
                    <a:pt x="24" y="366"/>
                    <a:pt x="29" y="364"/>
                    <a:pt x="33" y="365"/>
                  </a:cubicBezTo>
                  <a:lnTo>
                    <a:pt x="356" y="466"/>
                  </a:lnTo>
                  <a:lnTo>
                    <a:pt x="350" y="466"/>
                  </a:lnTo>
                  <a:lnTo>
                    <a:pt x="397" y="446"/>
                  </a:lnTo>
                  <a:lnTo>
                    <a:pt x="395" y="459"/>
                  </a:lnTo>
                  <a:lnTo>
                    <a:pt x="348" y="419"/>
                  </a:lnTo>
                  <a:lnTo>
                    <a:pt x="304" y="378"/>
                  </a:lnTo>
                  <a:cubicBezTo>
                    <a:pt x="302" y="377"/>
                    <a:pt x="301" y="374"/>
                    <a:pt x="302" y="371"/>
                  </a:cubicBezTo>
                  <a:cubicBezTo>
                    <a:pt x="302" y="369"/>
                    <a:pt x="304" y="366"/>
                    <a:pt x="306" y="365"/>
                  </a:cubicBezTo>
                  <a:lnTo>
                    <a:pt x="397" y="325"/>
                  </a:lnTo>
                  <a:lnTo>
                    <a:pt x="396" y="339"/>
                  </a:lnTo>
                  <a:lnTo>
                    <a:pt x="280" y="258"/>
                  </a:lnTo>
                  <a:lnTo>
                    <a:pt x="284" y="259"/>
                  </a:lnTo>
                  <a:lnTo>
                    <a:pt x="123" y="239"/>
                  </a:lnTo>
                  <a:cubicBezTo>
                    <a:pt x="120" y="239"/>
                    <a:pt x="118" y="238"/>
                    <a:pt x="117" y="236"/>
                  </a:cubicBezTo>
                  <a:lnTo>
                    <a:pt x="71" y="175"/>
                  </a:lnTo>
                  <a:cubicBezTo>
                    <a:pt x="69" y="173"/>
                    <a:pt x="68" y="169"/>
                    <a:pt x="70" y="167"/>
                  </a:cubicBezTo>
                  <a:cubicBezTo>
                    <a:pt x="71" y="164"/>
                    <a:pt x="74" y="162"/>
                    <a:pt x="77" y="162"/>
                  </a:cubicBezTo>
                  <a:lnTo>
                    <a:pt x="148" y="162"/>
                  </a:lnTo>
                  <a:lnTo>
                    <a:pt x="141" y="166"/>
                  </a:lnTo>
                  <a:lnTo>
                    <a:pt x="163" y="126"/>
                  </a:lnTo>
                  <a:cubicBezTo>
                    <a:pt x="165" y="122"/>
                    <a:pt x="169" y="121"/>
                    <a:pt x="173" y="122"/>
                  </a:cubicBezTo>
                  <a:lnTo>
                    <a:pt x="266" y="163"/>
                  </a:lnTo>
                  <a:lnTo>
                    <a:pt x="258" y="176"/>
                  </a:lnTo>
                  <a:lnTo>
                    <a:pt x="211" y="136"/>
                  </a:lnTo>
                  <a:cubicBezTo>
                    <a:pt x="210" y="134"/>
                    <a:pt x="209" y="132"/>
                    <a:pt x="209" y="130"/>
                  </a:cubicBezTo>
                  <a:cubicBezTo>
                    <a:pt x="209" y="128"/>
                    <a:pt x="210" y="125"/>
                    <a:pt x="211" y="124"/>
                  </a:cubicBezTo>
                  <a:lnTo>
                    <a:pt x="258" y="83"/>
                  </a:lnTo>
                  <a:cubicBezTo>
                    <a:pt x="258" y="83"/>
                    <a:pt x="259" y="83"/>
                    <a:pt x="259" y="82"/>
                  </a:cubicBezTo>
                  <a:lnTo>
                    <a:pt x="328" y="42"/>
                  </a:lnTo>
                  <a:cubicBezTo>
                    <a:pt x="331" y="40"/>
                    <a:pt x="336" y="41"/>
                    <a:pt x="338" y="44"/>
                  </a:cubicBezTo>
                  <a:lnTo>
                    <a:pt x="431" y="165"/>
                  </a:lnTo>
                  <a:lnTo>
                    <a:pt x="417" y="171"/>
                  </a:lnTo>
                  <a:lnTo>
                    <a:pt x="392" y="10"/>
                  </a:lnTo>
                  <a:cubicBezTo>
                    <a:pt x="392" y="7"/>
                    <a:pt x="393" y="4"/>
                    <a:pt x="395" y="2"/>
                  </a:cubicBezTo>
                  <a:cubicBezTo>
                    <a:pt x="397" y="1"/>
                    <a:pt x="400" y="0"/>
                    <a:pt x="403" y="1"/>
                  </a:cubicBezTo>
                  <a:lnTo>
                    <a:pt x="518" y="41"/>
                  </a:lnTo>
                  <a:cubicBezTo>
                    <a:pt x="520" y="42"/>
                    <a:pt x="522" y="44"/>
                    <a:pt x="523" y="46"/>
                  </a:cubicBezTo>
                  <a:lnTo>
                    <a:pt x="594" y="228"/>
                  </a:lnTo>
                  <a:cubicBezTo>
                    <a:pt x="595" y="231"/>
                    <a:pt x="594" y="235"/>
                    <a:pt x="592" y="237"/>
                  </a:cubicBezTo>
                  <a:lnTo>
                    <a:pt x="520" y="298"/>
                  </a:lnTo>
                  <a:lnTo>
                    <a:pt x="523" y="293"/>
                  </a:lnTo>
                  <a:lnTo>
                    <a:pt x="501" y="414"/>
                  </a:lnTo>
                  <a:lnTo>
                    <a:pt x="489" y="406"/>
                  </a:lnTo>
                  <a:lnTo>
                    <a:pt x="604" y="326"/>
                  </a:lnTo>
                  <a:cubicBezTo>
                    <a:pt x="606" y="324"/>
                    <a:pt x="608" y="324"/>
                    <a:pt x="611" y="324"/>
                  </a:cubicBezTo>
                  <a:cubicBezTo>
                    <a:pt x="613" y="325"/>
                    <a:pt x="615" y="327"/>
                    <a:pt x="616" y="329"/>
                  </a:cubicBezTo>
                  <a:lnTo>
                    <a:pt x="640" y="390"/>
                  </a:lnTo>
                  <a:lnTo>
                    <a:pt x="633" y="385"/>
                  </a:lnTo>
                  <a:lnTo>
                    <a:pt x="677" y="385"/>
                  </a:lnTo>
                  <a:lnTo>
                    <a:pt x="669" y="391"/>
                  </a:lnTo>
                  <a:lnTo>
                    <a:pt x="694" y="250"/>
                  </a:lnTo>
                  <a:cubicBezTo>
                    <a:pt x="694" y="247"/>
                    <a:pt x="696" y="245"/>
                    <a:pt x="698" y="244"/>
                  </a:cubicBezTo>
                  <a:lnTo>
                    <a:pt x="745" y="224"/>
                  </a:lnTo>
                  <a:cubicBezTo>
                    <a:pt x="747" y="223"/>
                    <a:pt x="750" y="223"/>
                    <a:pt x="752" y="224"/>
                  </a:cubicBezTo>
                  <a:cubicBezTo>
                    <a:pt x="754" y="225"/>
                    <a:pt x="756" y="227"/>
                    <a:pt x="756" y="230"/>
                  </a:cubicBezTo>
                  <a:lnTo>
                    <a:pt x="778" y="371"/>
                  </a:lnTo>
                  <a:lnTo>
                    <a:pt x="770" y="365"/>
                  </a:lnTo>
                  <a:lnTo>
                    <a:pt x="816" y="365"/>
                  </a:lnTo>
                  <a:lnTo>
                    <a:pt x="810" y="368"/>
                  </a:lnTo>
                  <a:lnTo>
                    <a:pt x="857" y="307"/>
                  </a:lnTo>
                  <a:cubicBezTo>
                    <a:pt x="858" y="305"/>
                    <a:pt x="860" y="304"/>
                    <a:pt x="862" y="304"/>
                  </a:cubicBezTo>
                  <a:lnTo>
                    <a:pt x="977" y="284"/>
                  </a:lnTo>
                  <a:cubicBezTo>
                    <a:pt x="980" y="283"/>
                    <a:pt x="984" y="285"/>
                    <a:pt x="985" y="288"/>
                  </a:cubicBezTo>
                  <a:lnTo>
                    <a:pt x="1032" y="389"/>
                  </a:lnTo>
                  <a:lnTo>
                    <a:pt x="1017" y="390"/>
                  </a:lnTo>
                  <a:lnTo>
                    <a:pt x="1039" y="329"/>
                  </a:lnTo>
                  <a:cubicBezTo>
                    <a:pt x="1040" y="326"/>
                    <a:pt x="1043" y="324"/>
                    <a:pt x="1047" y="324"/>
                  </a:cubicBezTo>
                  <a:lnTo>
                    <a:pt x="1118" y="324"/>
                  </a:lnTo>
                  <a:cubicBezTo>
                    <a:pt x="1121" y="324"/>
                    <a:pt x="1125" y="327"/>
                    <a:pt x="1125" y="330"/>
                  </a:cubicBezTo>
                  <a:lnTo>
                    <a:pt x="1147" y="411"/>
                  </a:lnTo>
                  <a:lnTo>
                    <a:pt x="1138" y="405"/>
                  </a:lnTo>
                  <a:lnTo>
                    <a:pt x="1231" y="385"/>
                  </a:lnTo>
                  <a:cubicBezTo>
                    <a:pt x="1232" y="385"/>
                    <a:pt x="1234" y="385"/>
                    <a:pt x="1235" y="385"/>
                  </a:cubicBezTo>
                  <a:lnTo>
                    <a:pt x="1304" y="405"/>
                  </a:lnTo>
                  <a:lnTo>
                    <a:pt x="1294" y="409"/>
                  </a:lnTo>
                  <a:lnTo>
                    <a:pt x="1316" y="369"/>
                  </a:lnTo>
                  <a:cubicBezTo>
                    <a:pt x="1317" y="368"/>
                    <a:pt x="1317" y="367"/>
                    <a:pt x="1318" y="366"/>
                  </a:cubicBezTo>
                  <a:lnTo>
                    <a:pt x="1389" y="306"/>
                  </a:lnTo>
                  <a:cubicBezTo>
                    <a:pt x="1391" y="304"/>
                    <a:pt x="1393" y="304"/>
                    <a:pt x="1395" y="304"/>
                  </a:cubicBezTo>
                  <a:cubicBezTo>
                    <a:pt x="1398" y="304"/>
                    <a:pt x="1400" y="305"/>
                    <a:pt x="1401" y="307"/>
                  </a:cubicBezTo>
                  <a:lnTo>
                    <a:pt x="1469" y="409"/>
                  </a:lnTo>
                  <a:lnTo>
                    <a:pt x="1463" y="405"/>
                  </a:lnTo>
                  <a:lnTo>
                    <a:pt x="1578" y="405"/>
                  </a:lnTo>
                  <a:cubicBezTo>
                    <a:pt x="1580" y="405"/>
                    <a:pt x="1583" y="406"/>
                    <a:pt x="1584" y="408"/>
                  </a:cubicBezTo>
                  <a:cubicBezTo>
                    <a:pt x="1586" y="410"/>
                    <a:pt x="1586" y="413"/>
                    <a:pt x="1586" y="415"/>
                  </a:cubicBezTo>
                  <a:lnTo>
                    <a:pt x="1564" y="496"/>
                  </a:lnTo>
                  <a:lnTo>
                    <a:pt x="1539" y="577"/>
                  </a:lnTo>
                  <a:lnTo>
                    <a:pt x="1539" y="572"/>
                  </a:lnTo>
                  <a:lnTo>
                    <a:pt x="1564" y="653"/>
                  </a:lnTo>
                  <a:lnTo>
                    <a:pt x="1560" y="649"/>
                  </a:lnTo>
                  <a:lnTo>
                    <a:pt x="1629" y="689"/>
                  </a:lnTo>
                  <a:cubicBezTo>
                    <a:pt x="1632" y="691"/>
                    <a:pt x="1633" y="696"/>
                    <a:pt x="1632" y="700"/>
                  </a:cubicBezTo>
                  <a:lnTo>
                    <a:pt x="1539" y="902"/>
                  </a:lnTo>
                  <a:cubicBezTo>
                    <a:pt x="1538" y="904"/>
                    <a:pt x="1536" y="905"/>
                    <a:pt x="1535" y="906"/>
                  </a:cubicBezTo>
                  <a:lnTo>
                    <a:pt x="1398" y="966"/>
                  </a:lnTo>
                  <a:lnTo>
                    <a:pt x="1280" y="1027"/>
                  </a:lnTo>
                  <a:cubicBezTo>
                    <a:pt x="1279" y="1028"/>
                    <a:pt x="1277" y="1028"/>
                    <a:pt x="1275" y="1028"/>
                  </a:cubicBezTo>
                  <a:lnTo>
                    <a:pt x="1184" y="1007"/>
                  </a:lnTo>
                  <a:lnTo>
                    <a:pt x="1189" y="1007"/>
                  </a:lnTo>
                  <a:lnTo>
                    <a:pt x="959" y="1088"/>
                  </a:lnTo>
                  <a:cubicBezTo>
                    <a:pt x="958" y="1088"/>
                    <a:pt x="956" y="1089"/>
                    <a:pt x="955" y="1088"/>
                  </a:cubicBezTo>
                  <a:lnTo>
                    <a:pt x="794" y="1068"/>
                  </a:lnTo>
                  <a:lnTo>
                    <a:pt x="796" y="1068"/>
                  </a:lnTo>
                  <a:lnTo>
                    <a:pt x="703" y="1088"/>
                  </a:lnTo>
                  <a:cubicBezTo>
                    <a:pt x="703" y="1088"/>
                    <a:pt x="702" y="1088"/>
                    <a:pt x="701" y="1088"/>
                  </a:cubicBezTo>
                  <a:lnTo>
                    <a:pt x="562" y="1088"/>
                  </a:lnTo>
                  <a:cubicBezTo>
                    <a:pt x="560" y="1088"/>
                    <a:pt x="559" y="1088"/>
                    <a:pt x="558" y="1087"/>
                  </a:cubicBezTo>
                  <a:lnTo>
                    <a:pt x="374" y="986"/>
                  </a:lnTo>
                  <a:cubicBezTo>
                    <a:pt x="373" y="986"/>
                    <a:pt x="372" y="985"/>
                    <a:pt x="371" y="983"/>
                  </a:cubicBezTo>
                  <a:lnTo>
                    <a:pt x="278" y="822"/>
                  </a:lnTo>
                  <a:lnTo>
                    <a:pt x="283" y="825"/>
                  </a:lnTo>
                  <a:lnTo>
                    <a:pt x="53" y="765"/>
                  </a:lnTo>
                  <a:close/>
                </a:path>
              </a:pathLst>
            </a:custGeom>
            <a:solidFill>
              <a:srgbClr val="000000"/>
            </a:solidFill>
            <a:ln w="0" cap="flat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295" name="Rectangle 262"/>
            <p:cNvSpPr>
              <a:spLocks noChangeArrowheads="1"/>
            </p:cNvSpPr>
            <p:nvPr/>
          </p:nvSpPr>
          <p:spPr bwMode="auto">
            <a:xfrm>
              <a:off x="2535" y="1191"/>
              <a:ext cx="11" cy="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sz="500" b="1">
                  <a:solidFill>
                    <a:srgbClr val="000000"/>
                  </a:solidFill>
                </a:rPr>
                <a:t>I</a:t>
              </a:r>
              <a:endParaRPr lang="de-DE"/>
            </a:p>
          </p:txBody>
        </p:sp>
        <p:sp>
          <p:nvSpPr>
            <p:cNvPr id="7296" name="Freeform 263"/>
            <p:cNvSpPr>
              <a:spLocks/>
            </p:cNvSpPr>
            <p:nvPr/>
          </p:nvSpPr>
          <p:spPr bwMode="auto">
            <a:xfrm>
              <a:off x="4167" y="2455"/>
              <a:ext cx="287" cy="304"/>
            </a:xfrm>
            <a:custGeom>
              <a:avLst/>
              <a:gdLst>
                <a:gd name="T0" fmla="*/ 143 w 273"/>
                <a:gd name="T1" fmla="*/ 430 h 290"/>
                <a:gd name="T2" fmla="*/ 182 w 273"/>
                <a:gd name="T3" fmla="*/ 447 h 290"/>
                <a:gd name="T4" fmla="*/ 210 w 273"/>
                <a:gd name="T5" fmla="*/ 447 h 290"/>
                <a:gd name="T6" fmla="*/ 229 w 273"/>
                <a:gd name="T7" fmla="*/ 463 h 290"/>
                <a:gd name="T8" fmla="*/ 268 w 273"/>
                <a:gd name="T9" fmla="*/ 502 h 290"/>
                <a:gd name="T10" fmla="*/ 285 w 273"/>
                <a:gd name="T11" fmla="*/ 511 h 290"/>
                <a:gd name="T12" fmla="*/ 296 w 273"/>
                <a:gd name="T13" fmla="*/ 478 h 290"/>
                <a:gd name="T14" fmla="*/ 325 w 273"/>
                <a:gd name="T15" fmla="*/ 472 h 290"/>
                <a:gd name="T16" fmla="*/ 353 w 273"/>
                <a:gd name="T17" fmla="*/ 463 h 290"/>
                <a:gd name="T18" fmla="*/ 422 w 273"/>
                <a:gd name="T19" fmla="*/ 439 h 290"/>
                <a:gd name="T20" fmla="*/ 470 w 273"/>
                <a:gd name="T21" fmla="*/ 439 h 290"/>
                <a:gd name="T22" fmla="*/ 476 w 273"/>
                <a:gd name="T23" fmla="*/ 405 h 290"/>
                <a:gd name="T24" fmla="*/ 458 w 273"/>
                <a:gd name="T25" fmla="*/ 397 h 290"/>
                <a:gd name="T26" fmla="*/ 458 w 273"/>
                <a:gd name="T27" fmla="*/ 364 h 290"/>
                <a:gd name="T28" fmla="*/ 476 w 273"/>
                <a:gd name="T29" fmla="*/ 357 h 290"/>
                <a:gd name="T30" fmla="*/ 497 w 273"/>
                <a:gd name="T31" fmla="*/ 319 h 290"/>
                <a:gd name="T32" fmla="*/ 450 w 273"/>
                <a:gd name="T33" fmla="*/ 283 h 290"/>
                <a:gd name="T34" fmla="*/ 430 w 273"/>
                <a:gd name="T35" fmla="*/ 253 h 290"/>
                <a:gd name="T36" fmla="*/ 422 w 273"/>
                <a:gd name="T37" fmla="*/ 219 h 290"/>
                <a:gd name="T38" fmla="*/ 438 w 273"/>
                <a:gd name="T39" fmla="*/ 186 h 290"/>
                <a:gd name="T40" fmla="*/ 422 w 273"/>
                <a:gd name="T41" fmla="*/ 177 h 290"/>
                <a:gd name="T42" fmla="*/ 422 w 273"/>
                <a:gd name="T43" fmla="*/ 138 h 290"/>
                <a:gd name="T44" fmla="*/ 375 w 273"/>
                <a:gd name="T45" fmla="*/ 161 h 290"/>
                <a:gd name="T46" fmla="*/ 325 w 273"/>
                <a:gd name="T47" fmla="*/ 146 h 290"/>
                <a:gd name="T48" fmla="*/ 279 w 273"/>
                <a:gd name="T49" fmla="*/ 138 h 290"/>
                <a:gd name="T50" fmla="*/ 296 w 273"/>
                <a:gd name="T51" fmla="*/ 105 h 290"/>
                <a:gd name="T52" fmla="*/ 249 w 273"/>
                <a:gd name="T53" fmla="*/ 89 h 290"/>
                <a:gd name="T54" fmla="*/ 210 w 273"/>
                <a:gd name="T55" fmla="*/ 65 h 290"/>
                <a:gd name="T56" fmla="*/ 201 w 273"/>
                <a:gd name="T57" fmla="*/ 38 h 290"/>
                <a:gd name="T58" fmla="*/ 164 w 273"/>
                <a:gd name="T59" fmla="*/ 9 h 290"/>
                <a:gd name="T60" fmla="*/ 143 w 273"/>
                <a:gd name="T61" fmla="*/ 0 h 290"/>
                <a:gd name="T62" fmla="*/ 135 w 273"/>
                <a:gd name="T63" fmla="*/ 4 h 290"/>
                <a:gd name="T64" fmla="*/ 75 w 273"/>
                <a:gd name="T65" fmla="*/ 4 h 290"/>
                <a:gd name="T66" fmla="*/ 36 w 273"/>
                <a:gd name="T67" fmla="*/ 25 h 290"/>
                <a:gd name="T68" fmla="*/ 5 w 273"/>
                <a:gd name="T69" fmla="*/ 25 h 290"/>
                <a:gd name="T70" fmla="*/ 0 w 273"/>
                <a:gd name="T71" fmla="*/ 46 h 290"/>
                <a:gd name="T72" fmla="*/ 5 w 273"/>
                <a:gd name="T73" fmla="*/ 81 h 290"/>
                <a:gd name="T74" fmla="*/ 36 w 273"/>
                <a:gd name="T75" fmla="*/ 112 h 290"/>
                <a:gd name="T76" fmla="*/ 67 w 273"/>
                <a:gd name="T77" fmla="*/ 121 h 290"/>
                <a:gd name="T78" fmla="*/ 36 w 273"/>
                <a:gd name="T79" fmla="*/ 132 h 290"/>
                <a:gd name="T80" fmla="*/ 36 w 273"/>
                <a:gd name="T81" fmla="*/ 161 h 290"/>
                <a:gd name="T82" fmla="*/ 5 w 273"/>
                <a:gd name="T83" fmla="*/ 154 h 290"/>
                <a:gd name="T84" fmla="*/ 23 w 273"/>
                <a:gd name="T85" fmla="*/ 172 h 290"/>
                <a:gd name="T86" fmla="*/ 58 w 273"/>
                <a:gd name="T87" fmla="*/ 172 h 290"/>
                <a:gd name="T88" fmla="*/ 58 w 273"/>
                <a:gd name="T89" fmla="*/ 202 h 290"/>
                <a:gd name="T90" fmla="*/ 67 w 273"/>
                <a:gd name="T91" fmla="*/ 235 h 290"/>
                <a:gd name="T92" fmla="*/ 115 w 273"/>
                <a:gd name="T93" fmla="*/ 258 h 290"/>
                <a:gd name="T94" fmla="*/ 86 w 273"/>
                <a:gd name="T95" fmla="*/ 278 h 290"/>
                <a:gd name="T96" fmla="*/ 115 w 273"/>
                <a:gd name="T97" fmla="*/ 319 h 290"/>
                <a:gd name="T98" fmla="*/ 58 w 273"/>
                <a:gd name="T99" fmla="*/ 334 h 290"/>
                <a:gd name="T100" fmla="*/ 67 w 273"/>
                <a:gd name="T101" fmla="*/ 357 h 290"/>
                <a:gd name="T102" fmla="*/ 36 w 273"/>
                <a:gd name="T103" fmla="*/ 357 h 290"/>
                <a:gd name="T104" fmla="*/ 28 w 273"/>
                <a:gd name="T105" fmla="*/ 390 h 290"/>
                <a:gd name="T106" fmla="*/ 0 w 273"/>
                <a:gd name="T107" fmla="*/ 405 h 290"/>
                <a:gd name="T108" fmla="*/ 5 w 273"/>
                <a:gd name="T109" fmla="*/ 424 h 290"/>
                <a:gd name="T110" fmla="*/ 5 w 273"/>
                <a:gd name="T111" fmla="*/ 463 h 290"/>
                <a:gd name="T112" fmla="*/ 23 w 273"/>
                <a:gd name="T113" fmla="*/ 463 h 290"/>
                <a:gd name="T114" fmla="*/ 115 w 273"/>
                <a:gd name="T115" fmla="*/ 511 h 290"/>
                <a:gd name="T116" fmla="*/ 115 w 273"/>
                <a:gd name="T117" fmla="*/ 502 h 290"/>
                <a:gd name="T118" fmla="*/ 143 w 273"/>
                <a:gd name="T119" fmla="*/ 430 h 29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73"/>
                <a:gd name="T181" fmla="*/ 0 h 290"/>
                <a:gd name="T182" fmla="*/ 273 w 273"/>
                <a:gd name="T183" fmla="*/ 290 h 29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73" h="290">
                  <a:moveTo>
                    <a:pt x="79" y="244"/>
                  </a:moveTo>
                  <a:lnTo>
                    <a:pt x="100" y="254"/>
                  </a:lnTo>
                  <a:lnTo>
                    <a:pt x="115" y="254"/>
                  </a:lnTo>
                  <a:lnTo>
                    <a:pt x="126" y="263"/>
                  </a:lnTo>
                  <a:lnTo>
                    <a:pt x="147" y="286"/>
                  </a:lnTo>
                  <a:lnTo>
                    <a:pt x="157" y="290"/>
                  </a:lnTo>
                  <a:lnTo>
                    <a:pt x="163" y="272"/>
                  </a:lnTo>
                  <a:lnTo>
                    <a:pt x="178" y="267"/>
                  </a:lnTo>
                  <a:lnTo>
                    <a:pt x="194" y="263"/>
                  </a:lnTo>
                  <a:lnTo>
                    <a:pt x="231" y="249"/>
                  </a:lnTo>
                  <a:lnTo>
                    <a:pt x="257" y="249"/>
                  </a:lnTo>
                  <a:lnTo>
                    <a:pt x="262" y="230"/>
                  </a:lnTo>
                  <a:lnTo>
                    <a:pt x="252" y="226"/>
                  </a:lnTo>
                  <a:lnTo>
                    <a:pt x="252" y="207"/>
                  </a:lnTo>
                  <a:lnTo>
                    <a:pt x="262" y="203"/>
                  </a:lnTo>
                  <a:lnTo>
                    <a:pt x="273" y="180"/>
                  </a:lnTo>
                  <a:lnTo>
                    <a:pt x="247" y="161"/>
                  </a:lnTo>
                  <a:lnTo>
                    <a:pt x="236" y="143"/>
                  </a:lnTo>
                  <a:lnTo>
                    <a:pt x="231" y="124"/>
                  </a:lnTo>
                  <a:lnTo>
                    <a:pt x="241" y="106"/>
                  </a:lnTo>
                  <a:lnTo>
                    <a:pt x="231" y="101"/>
                  </a:lnTo>
                  <a:lnTo>
                    <a:pt x="231" y="78"/>
                  </a:lnTo>
                  <a:lnTo>
                    <a:pt x="205" y="92"/>
                  </a:lnTo>
                  <a:lnTo>
                    <a:pt x="178" y="83"/>
                  </a:lnTo>
                  <a:lnTo>
                    <a:pt x="152" y="78"/>
                  </a:lnTo>
                  <a:lnTo>
                    <a:pt x="163" y="60"/>
                  </a:lnTo>
                  <a:lnTo>
                    <a:pt x="137" y="50"/>
                  </a:lnTo>
                  <a:lnTo>
                    <a:pt x="115" y="37"/>
                  </a:lnTo>
                  <a:lnTo>
                    <a:pt x="110" y="23"/>
                  </a:lnTo>
                  <a:lnTo>
                    <a:pt x="89" y="9"/>
                  </a:lnTo>
                  <a:lnTo>
                    <a:pt x="79" y="0"/>
                  </a:lnTo>
                  <a:lnTo>
                    <a:pt x="74" y="4"/>
                  </a:lnTo>
                  <a:lnTo>
                    <a:pt x="42" y="4"/>
                  </a:lnTo>
                  <a:lnTo>
                    <a:pt x="21" y="13"/>
                  </a:lnTo>
                  <a:lnTo>
                    <a:pt x="5" y="13"/>
                  </a:lnTo>
                  <a:lnTo>
                    <a:pt x="0" y="27"/>
                  </a:lnTo>
                  <a:lnTo>
                    <a:pt x="5" y="46"/>
                  </a:lnTo>
                  <a:lnTo>
                    <a:pt x="21" y="64"/>
                  </a:lnTo>
                  <a:lnTo>
                    <a:pt x="37" y="69"/>
                  </a:lnTo>
                  <a:lnTo>
                    <a:pt x="21" y="74"/>
                  </a:lnTo>
                  <a:lnTo>
                    <a:pt x="21" y="92"/>
                  </a:lnTo>
                  <a:lnTo>
                    <a:pt x="5" y="88"/>
                  </a:lnTo>
                  <a:lnTo>
                    <a:pt x="11" y="97"/>
                  </a:lnTo>
                  <a:lnTo>
                    <a:pt x="31" y="97"/>
                  </a:lnTo>
                  <a:lnTo>
                    <a:pt x="31" y="115"/>
                  </a:lnTo>
                  <a:lnTo>
                    <a:pt x="37" y="134"/>
                  </a:lnTo>
                  <a:lnTo>
                    <a:pt x="63" y="147"/>
                  </a:lnTo>
                  <a:lnTo>
                    <a:pt x="47" y="157"/>
                  </a:lnTo>
                  <a:lnTo>
                    <a:pt x="63" y="180"/>
                  </a:lnTo>
                  <a:lnTo>
                    <a:pt x="31" y="189"/>
                  </a:lnTo>
                  <a:lnTo>
                    <a:pt x="37" y="203"/>
                  </a:lnTo>
                  <a:lnTo>
                    <a:pt x="21" y="203"/>
                  </a:lnTo>
                  <a:lnTo>
                    <a:pt x="16" y="221"/>
                  </a:lnTo>
                  <a:lnTo>
                    <a:pt x="0" y="230"/>
                  </a:lnTo>
                  <a:lnTo>
                    <a:pt x="5" y="240"/>
                  </a:lnTo>
                  <a:lnTo>
                    <a:pt x="5" y="263"/>
                  </a:lnTo>
                  <a:lnTo>
                    <a:pt x="11" y="263"/>
                  </a:lnTo>
                  <a:lnTo>
                    <a:pt x="63" y="290"/>
                  </a:lnTo>
                  <a:lnTo>
                    <a:pt x="63" y="286"/>
                  </a:lnTo>
                  <a:lnTo>
                    <a:pt x="79" y="244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cs-CZ"/>
            </a:p>
          </p:txBody>
        </p:sp>
        <p:sp>
          <p:nvSpPr>
            <p:cNvPr id="7297" name="Freeform 264"/>
            <p:cNvSpPr>
              <a:spLocks noEditPoints="1"/>
            </p:cNvSpPr>
            <p:nvPr/>
          </p:nvSpPr>
          <p:spPr bwMode="auto">
            <a:xfrm>
              <a:off x="4165" y="2453"/>
              <a:ext cx="291" cy="308"/>
            </a:xfrm>
            <a:custGeom>
              <a:avLst/>
              <a:gdLst>
                <a:gd name="T0" fmla="*/ 0 w 1218"/>
                <a:gd name="T1" fmla="*/ 0 h 1297"/>
                <a:gd name="T2" fmla="*/ 0 w 1218"/>
                <a:gd name="T3" fmla="*/ 0 h 1297"/>
                <a:gd name="T4" fmla="*/ 0 w 1218"/>
                <a:gd name="T5" fmla="*/ 0 h 1297"/>
                <a:gd name="T6" fmla="*/ 0 w 1218"/>
                <a:gd name="T7" fmla="*/ 0 h 1297"/>
                <a:gd name="T8" fmla="*/ 0 w 1218"/>
                <a:gd name="T9" fmla="*/ 0 h 1297"/>
                <a:gd name="T10" fmla="*/ 0 w 1218"/>
                <a:gd name="T11" fmla="*/ 0 h 1297"/>
                <a:gd name="T12" fmla="*/ 0 w 1218"/>
                <a:gd name="T13" fmla="*/ 0 h 1297"/>
                <a:gd name="T14" fmla="*/ 0 w 1218"/>
                <a:gd name="T15" fmla="*/ 0 h 1297"/>
                <a:gd name="T16" fmla="*/ 0 w 1218"/>
                <a:gd name="T17" fmla="*/ 0 h 1297"/>
                <a:gd name="T18" fmla="*/ 0 w 1218"/>
                <a:gd name="T19" fmla="*/ 0 h 1297"/>
                <a:gd name="T20" fmla="*/ 0 w 1218"/>
                <a:gd name="T21" fmla="*/ 0 h 1297"/>
                <a:gd name="T22" fmla="*/ 0 w 1218"/>
                <a:gd name="T23" fmla="*/ 0 h 1297"/>
                <a:gd name="T24" fmla="*/ 0 w 1218"/>
                <a:gd name="T25" fmla="*/ 0 h 1297"/>
                <a:gd name="T26" fmla="*/ 0 w 1218"/>
                <a:gd name="T27" fmla="*/ 0 h 1297"/>
                <a:gd name="T28" fmla="*/ 0 w 1218"/>
                <a:gd name="T29" fmla="*/ 0 h 1297"/>
                <a:gd name="T30" fmla="*/ 0 w 1218"/>
                <a:gd name="T31" fmla="*/ 0 h 1297"/>
                <a:gd name="T32" fmla="*/ 0 w 1218"/>
                <a:gd name="T33" fmla="*/ 0 h 1297"/>
                <a:gd name="T34" fmla="*/ 0 w 1218"/>
                <a:gd name="T35" fmla="*/ 0 h 1297"/>
                <a:gd name="T36" fmla="*/ 0 w 1218"/>
                <a:gd name="T37" fmla="*/ 0 h 1297"/>
                <a:gd name="T38" fmla="*/ 0 w 1218"/>
                <a:gd name="T39" fmla="*/ 0 h 1297"/>
                <a:gd name="T40" fmla="*/ 0 w 1218"/>
                <a:gd name="T41" fmla="*/ 0 h 1297"/>
                <a:gd name="T42" fmla="*/ 0 w 1218"/>
                <a:gd name="T43" fmla="*/ 0 h 1297"/>
                <a:gd name="T44" fmla="*/ 0 w 1218"/>
                <a:gd name="T45" fmla="*/ 0 h 1297"/>
                <a:gd name="T46" fmla="*/ 0 w 1218"/>
                <a:gd name="T47" fmla="*/ 0 h 1297"/>
                <a:gd name="T48" fmla="*/ 0 w 1218"/>
                <a:gd name="T49" fmla="*/ 0 h 1297"/>
                <a:gd name="T50" fmla="*/ 0 w 1218"/>
                <a:gd name="T51" fmla="*/ 0 h 1297"/>
                <a:gd name="T52" fmla="*/ 0 w 1218"/>
                <a:gd name="T53" fmla="*/ 0 h 1297"/>
                <a:gd name="T54" fmla="*/ 0 w 1218"/>
                <a:gd name="T55" fmla="*/ 0 h 1297"/>
                <a:gd name="T56" fmla="*/ 0 w 1218"/>
                <a:gd name="T57" fmla="*/ 0 h 1297"/>
                <a:gd name="T58" fmla="*/ 0 w 1218"/>
                <a:gd name="T59" fmla="*/ 0 h 1297"/>
                <a:gd name="T60" fmla="*/ 0 w 1218"/>
                <a:gd name="T61" fmla="*/ 0 h 1297"/>
                <a:gd name="T62" fmla="*/ 0 w 1218"/>
                <a:gd name="T63" fmla="*/ 0 h 1297"/>
                <a:gd name="T64" fmla="*/ 0 w 1218"/>
                <a:gd name="T65" fmla="*/ 0 h 1297"/>
                <a:gd name="T66" fmla="*/ 0 w 1218"/>
                <a:gd name="T67" fmla="*/ 0 h 1297"/>
                <a:gd name="T68" fmla="*/ 0 w 1218"/>
                <a:gd name="T69" fmla="*/ 0 h 1297"/>
                <a:gd name="T70" fmla="*/ 0 w 1218"/>
                <a:gd name="T71" fmla="*/ 0 h 1297"/>
                <a:gd name="T72" fmla="*/ 0 w 1218"/>
                <a:gd name="T73" fmla="*/ 0 h 1297"/>
                <a:gd name="T74" fmla="*/ 0 w 1218"/>
                <a:gd name="T75" fmla="*/ 0 h 1297"/>
                <a:gd name="T76" fmla="*/ 0 w 1218"/>
                <a:gd name="T77" fmla="*/ 0 h 1297"/>
                <a:gd name="T78" fmla="*/ 0 w 1218"/>
                <a:gd name="T79" fmla="*/ 0 h 1297"/>
                <a:gd name="T80" fmla="*/ 0 w 1218"/>
                <a:gd name="T81" fmla="*/ 0 h 1297"/>
                <a:gd name="T82" fmla="*/ 0 w 1218"/>
                <a:gd name="T83" fmla="*/ 0 h 1297"/>
                <a:gd name="T84" fmla="*/ 0 w 1218"/>
                <a:gd name="T85" fmla="*/ 0 h 1297"/>
                <a:gd name="T86" fmla="*/ 0 w 1218"/>
                <a:gd name="T87" fmla="*/ 0 h 1297"/>
                <a:gd name="T88" fmla="*/ 0 w 1218"/>
                <a:gd name="T89" fmla="*/ 0 h 1297"/>
                <a:gd name="T90" fmla="*/ 0 w 1218"/>
                <a:gd name="T91" fmla="*/ 0 h 1297"/>
                <a:gd name="T92" fmla="*/ 0 w 1218"/>
                <a:gd name="T93" fmla="*/ 0 h 1297"/>
                <a:gd name="T94" fmla="*/ 0 w 1218"/>
                <a:gd name="T95" fmla="*/ 0 h 1297"/>
                <a:gd name="T96" fmla="*/ 0 w 1218"/>
                <a:gd name="T97" fmla="*/ 0 h 1297"/>
                <a:gd name="T98" fmla="*/ 0 w 1218"/>
                <a:gd name="T99" fmla="*/ 0 h 1297"/>
                <a:gd name="T100" fmla="*/ 0 w 1218"/>
                <a:gd name="T101" fmla="*/ 0 h 1297"/>
                <a:gd name="T102" fmla="*/ 0 w 1218"/>
                <a:gd name="T103" fmla="*/ 0 h 1297"/>
                <a:gd name="T104" fmla="*/ 0 w 1218"/>
                <a:gd name="T105" fmla="*/ 0 h 1297"/>
                <a:gd name="T106" fmla="*/ 0 w 1218"/>
                <a:gd name="T107" fmla="*/ 0 h 1297"/>
                <a:gd name="T108" fmla="*/ 0 w 1218"/>
                <a:gd name="T109" fmla="*/ 0 h 1297"/>
                <a:gd name="T110" fmla="*/ 0 w 1218"/>
                <a:gd name="T111" fmla="*/ 0 h 1297"/>
                <a:gd name="T112" fmla="*/ 0 w 1218"/>
                <a:gd name="T113" fmla="*/ 0 h 1297"/>
                <a:gd name="T114" fmla="*/ 0 w 1218"/>
                <a:gd name="T115" fmla="*/ 0 h 1297"/>
                <a:gd name="T116" fmla="*/ 0 w 1218"/>
                <a:gd name="T117" fmla="*/ 0 h 1297"/>
                <a:gd name="T118" fmla="*/ 0 w 1218"/>
                <a:gd name="T119" fmla="*/ 0 h 1297"/>
                <a:gd name="T120" fmla="*/ 0 w 1218"/>
                <a:gd name="T121" fmla="*/ 0 h 129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18"/>
                <a:gd name="T184" fmla="*/ 0 h 1297"/>
                <a:gd name="T185" fmla="*/ 1218 w 1218"/>
                <a:gd name="T186" fmla="*/ 1297 h 1297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18" h="1297">
                  <a:moveTo>
                    <a:pt x="347" y="1082"/>
                  </a:moveTo>
                  <a:cubicBezTo>
                    <a:pt x="348" y="1080"/>
                    <a:pt x="350" y="1079"/>
                    <a:pt x="352" y="1078"/>
                  </a:cubicBezTo>
                  <a:cubicBezTo>
                    <a:pt x="354" y="1077"/>
                    <a:pt x="356" y="1077"/>
                    <a:pt x="358" y="1078"/>
                  </a:cubicBezTo>
                  <a:lnTo>
                    <a:pt x="451" y="1119"/>
                  </a:lnTo>
                  <a:lnTo>
                    <a:pt x="448" y="1118"/>
                  </a:lnTo>
                  <a:lnTo>
                    <a:pt x="516" y="1118"/>
                  </a:lnTo>
                  <a:cubicBezTo>
                    <a:pt x="518" y="1118"/>
                    <a:pt x="520" y="1119"/>
                    <a:pt x="522" y="1120"/>
                  </a:cubicBezTo>
                  <a:lnTo>
                    <a:pt x="568" y="1161"/>
                  </a:lnTo>
                  <a:lnTo>
                    <a:pt x="662" y="1263"/>
                  </a:lnTo>
                  <a:lnTo>
                    <a:pt x="659" y="1261"/>
                  </a:lnTo>
                  <a:lnTo>
                    <a:pt x="703" y="1281"/>
                  </a:lnTo>
                  <a:lnTo>
                    <a:pt x="692" y="1286"/>
                  </a:lnTo>
                  <a:lnTo>
                    <a:pt x="717" y="1205"/>
                  </a:lnTo>
                  <a:cubicBezTo>
                    <a:pt x="718" y="1202"/>
                    <a:pt x="720" y="1200"/>
                    <a:pt x="722" y="1200"/>
                  </a:cubicBezTo>
                  <a:lnTo>
                    <a:pt x="791" y="1179"/>
                  </a:lnTo>
                  <a:lnTo>
                    <a:pt x="859" y="1159"/>
                  </a:lnTo>
                  <a:lnTo>
                    <a:pt x="1020" y="1098"/>
                  </a:lnTo>
                  <a:cubicBezTo>
                    <a:pt x="1021" y="1098"/>
                    <a:pt x="1022" y="1098"/>
                    <a:pt x="1023" y="1098"/>
                  </a:cubicBezTo>
                  <a:lnTo>
                    <a:pt x="1141" y="1098"/>
                  </a:lnTo>
                  <a:lnTo>
                    <a:pt x="1133" y="1104"/>
                  </a:lnTo>
                  <a:lnTo>
                    <a:pt x="1155" y="1022"/>
                  </a:lnTo>
                  <a:lnTo>
                    <a:pt x="1160" y="1032"/>
                  </a:lnTo>
                  <a:lnTo>
                    <a:pt x="1113" y="1011"/>
                  </a:lnTo>
                  <a:cubicBezTo>
                    <a:pt x="1110" y="1010"/>
                    <a:pt x="1108" y="1007"/>
                    <a:pt x="1108" y="1004"/>
                  </a:cubicBezTo>
                  <a:lnTo>
                    <a:pt x="1108" y="923"/>
                  </a:lnTo>
                  <a:cubicBezTo>
                    <a:pt x="1108" y="920"/>
                    <a:pt x="1110" y="917"/>
                    <a:pt x="1113" y="915"/>
                  </a:cubicBezTo>
                  <a:lnTo>
                    <a:pt x="1160" y="895"/>
                  </a:lnTo>
                  <a:lnTo>
                    <a:pt x="1156" y="899"/>
                  </a:lnTo>
                  <a:lnTo>
                    <a:pt x="1202" y="798"/>
                  </a:lnTo>
                  <a:lnTo>
                    <a:pt x="1205" y="807"/>
                  </a:lnTo>
                  <a:lnTo>
                    <a:pt x="1090" y="726"/>
                  </a:lnTo>
                  <a:cubicBezTo>
                    <a:pt x="1089" y="725"/>
                    <a:pt x="1088" y="725"/>
                    <a:pt x="1087" y="724"/>
                  </a:cubicBezTo>
                  <a:lnTo>
                    <a:pt x="1041" y="642"/>
                  </a:lnTo>
                  <a:cubicBezTo>
                    <a:pt x="1041" y="642"/>
                    <a:pt x="1040" y="641"/>
                    <a:pt x="1040" y="641"/>
                  </a:cubicBezTo>
                  <a:lnTo>
                    <a:pt x="1015" y="559"/>
                  </a:lnTo>
                  <a:cubicBezTo>
                    <a:pt x="1015" y="557"/>
                    <a:pt x="1015" y="555"/>
                    <a:pt x="1016" y="553"/>
                  </a:cubicBezTo>
                  <a:lnTo>
                    <a:pt x="1063" y="472"/>
                  </a:lnTo>
                  <a:lnTo>
                    <a:pt x="1067" y="483"/>
                  </a:lnTo>
                  <a:lnTo>
                    <a:pt x="1020" y="463"/>
                  </a:lnTo>
                  <a:cubicBezTo>
                    <a:pt x="1017" y="462"/>
                    <a:pt x="1015" y="459"/>
                    <a:pt x="1015" y="455"/>
                  </a:cubicBezTo>
                  <a:lnTo>
                    <a:pt x="1015" y="354"/>
                  </a:lnTo>
                  <a:lnTo>
                    <a:pt x="1027" y="361"/>
                  </a:lnTo>
                  <a:lnTo>
                    <a:pt x="912" y="422"/>
                  </a:lnTo>
                  <a:cubicBezTo>
                    <a:pt x="910" y="423"/>
                    <a:pt x="908" y="423"/>
                    <a:pt x="905" y="422"/>
                  </a:cubicBezTo>
                  <a:lnTo>
                    <a:pt x="790" y="382"/>
                  </a:lnTo>
                  <a:lnTo>
                    <a:pt x="792" y="382"/>
                  </a:lnTo>
                  <a:lnTo>
                    <a:pt x="677" y="362"/>
                  </a:lnTo>
                  <a:cubicBezTo>
                    <a:pt x="674" y="361"/>
                    <a:pt x="672" y="360"/>
                    <a:pt x="671" y="357"/>
                  </a:cubicBezTo>
                  <a:cubicBezTo>
                    <a:pt x="670" y="355"/>
                    <a:pt x="670" y="352"/>
                    <a:pt x="671" y="350"/>
                  </a:cubicBezTo>
                  <a:lnTo>
                    <a:pt x="718" y="269"/>
                  </a:lnTo>
                  <a:lnTo>
                    <a:pt x="722" y="280"/>
                  </a:lnTo>
                  <a:lnTo>
                    <a:pt x="607" y="240"/>
                  </a:lnTo>
                  <a:cubicBezTo>
                    <a:pt x="606" y="239"/>
                    <a:pt x="606" y="239"/>
                    <a:pt x="605" y="239"/>
                  </a:cubicBezTo>
                  <a:lnTo>
                    <a:pt x="512" y="178"/>
                  </a:lnTo>
                  <a:cubicBezTo>
                    <a:pt x="510" y="177"/>
                    <a:pt x="509" y="175"/>
                    <a:pt x="509" y="174"/>
                  </a:cubicBezTo>
                  <a:lnTo>
                    <a:pt x="487" y="113"/>
                  </a:lnTo>
                  <a:lnTo>
                    <a:pt x="490" y="117"/>
                  </a:lnTo>
                  <a:lnTo>
                    <a:pt x="397" y="56"/>
                  </a:lnTo>
                  <a:lnTo>
                    <a:pt x="349" y="14"/>
                  </a:lnTo>
                  <a:lnTo>
                    <a:pt x="360" y="14"/>
                  </a:lnTo>
                  <a:lnTo>
                    <a:pt x="338" y="35"/>
                  </a:lnTo>
                  <a:cubicBezTo>
                    <a:pt x="337" y="36"/>
                    <a:pt x="335" y="37"/>
                    <a:pt x="333" y="37"/>
                  </a:cubicBezTo>
                  <a:lnTo>
                    <a:pt x="193" y="37"/>
                  </a:lnTo>
                  <a:lnTo>
                    <a:pt x="196" y="36"/>
                  </a:lnTo>
                  <a:lnTo>
                    <a:pt x="103" y="77"/>
                  </a:lnTo>
                  <a:cubicBezTo>
                    <a:pt x="102" y="77"/>
                    <a:pt x="101" y="77"/>
                    <a:pt x="100" y="77"/>
                  </a:cubicBezTo>
                  <a:lnTo>
                    <a:pt x="31" y="77"/>
                  </a:lnTo>
                  <a:lnTo>
                    <a:pt x="39" y="72"/>
                  </a:lnTo>
                  <a:lnTo>
                    <a:pt x="17" y="133"/>
                  </a:lnTo>
                  <a:lnTo>
                    <a:pt x="17" y="128"/>
                  </a:lnTo>
                  <a:lnTo>
                    <a:pt x="39" y="210"/>
                  </a:lnTo>
                  <a:lnTo>
                    <a:pt x="38" y="206"/>
                  </a:lnTo>
                  <a:lnTo>
                    <a:pt x="106" y="288"/>
                  </a:lnTo>
                  <a:lnTo>
                    <a:pt x="102" y="285"/>
                  </a:lnTo>
                  <a:lnTo>
                    <a:pt x="173" y="306"/>
                  </a:lnTo>
                  <a:cubicBezTo>
                    <a:pt x="177" y="307"/>
                    <a:pt x="179" y="310"/>
                    <a:pt x="179" y="313"/>
                  </a:cubicBezTo>
                  <a:cubicBezTo>
                    <a:pt x="179" y="317"/>
                    <a:pt x="177" y="320"/>
                    <a:pt x="173" y="321"/>
                  </a:cubicBezTo>
                  <a:lnTo>
                    <a:pt x="102" y="341"/>
                  </a:lnTo>
                  <a:lnTo>
                    <a:pt x="108" y="334"/>
                  </a:lnTo>
                  <a:lnTo>
                    <a:pt x="108" y="415"/>
                  </a:lnTo>
                  <a:cubicBezTo>
                    <a:pt x="108" y="417"/>
                    <a:pt x="107" y="420"/>
                    <a:pt x="105" y="421"/>
                  </a:cubicBezTo>
                  <a:cubicBezTo>
                    <a:pt x="103" y="423"/>
                    <a:pt x="100" y="423"/>
                    <a:pt x="98" y="422"/>
                  </a:cubicBezTo>
                  <a:lnTo>
                    <a:pt x="29" y="402"/>
                  </a:lnTo>
                  <a:lnTo>
                    <a:pt x="38" y="390"/>
                  </a:lnTo>
                  <a:lnTo>
                    <a:pt x="63" y="431"/>
                  </a:lnTo>
                  <a:lnTo>
                    <a:pt x="56" y="427"/>
                  </a:lnTo>
                  <a:lnTo>
                    <a:pt x="146" y="427"/>
                  </a:lnTo>
                  <a:cubicBezTo>
                    <a:pt x="151" y="427"/>
                    <a:pt x="154" y="431"/>
                    <a:pt x="154" y="435"/>
                  </a:cubicBezTo>
                  <a:lnTo>
                    <a:pt x="154" y="516"/>
                  </a:lnTo>
                  <a:lnTo>
                    <a:pt x="154" y="514"/>
                  </a:lnTo>
                  <a:lnTo>
                    <a:pt x="179" y="595"/>
                  </a:lnTo>
                  <a:lnTo>
                    <a:pt x="175" y="591"/>
                  </a:lnTo>
                  <a:lnTo>
                    <a:pt x="290" y="652"/>
                  </a:lnTo>
                  <a:cubicBezTo>
                    <a:pt x="293" y="653"/>
                    <a:pt x="294" y="656"/>
                    <a:pt x="294" y="658"/>
                  </a:cubicBezTo>
                  <a:cubicBezTo>
                    <a:pt x="294" y="661"/>
                    <a:pt x="293" y="664"/>
                    <a:pt x="290" y="666"/>
                  </a:cubicBezTo>
                  <a:lnTo>
                    <a:pt x="219" y="706"/>
                  </a:lnTo>
                  <a:lnTo>
                    <a:pt x="221" y="695"/>
                  </a:lnTo>
                  <a:lnTo>
                    <a:pt x="293" y="796"/>
                  </a:lnTo>
                  <a:cubicBezTo>
                    <a:pt x="294" y="798"/>
                    <a:pt x="295" y="801"/>
                    <a:pt x="294" y="804"/>
                  </a:cubicBezTo>
                  <a:cubicBezTo>
                    <a:pt x="293" y="806"/>
                    <a:pt x="291" y="808"/>
                    <a:pt x="288" y="809"/>
                  </a:cubicBezTo>
                  <a:lnTo>
                    <a:pt x="149" y="849"/>
                  </a:lnTo>
                  <a:lnTo>
                    <a:pt x="154" y="838"/>
                  </a:lnTo>
                  <a:lnTo>
                    <a:pt x="179" y="899"/>
                  </a:lnTo>
                  <a:cubicBezTo>
                    <a:pt x="180" y="902"/>
                    <a:pt x="179" y="905"/>
                    <a:pt x="178" y="907"/>
                  </a:cubicBezTo>
                  <a:cubicBezTo>
                    <a:pt x="176" y="909"/>
                    <a:pt x="174" y="910"/>
                    <a:pt x="171" y="910"/>
                  </a:cubicBezTo>
                  <a:lnTo>
                    <a:pt x="100" y="910"/>
                  </a:lnTo>
                  <a:lnTo>
                    <a:pt x="108" y="905"/>
                  </a:lnTo>
                  <a:lnTo>
                    <a:pt x="86" y="986"/>
                  </a:lnTo>
                  <a:cubicBezTo>
                    <a:pt x="85" y="988"/>
                    <a:pt x="84" y="990"/>
                    <a:pt x="82" y="991"/>
                  </a:cubicBezTo>
                  <a:lnTo>
                    <a:pt x="14" y="1031"/>
                  </a:lnTo>
                  <a:lnTo>
                    <a:pt x="17" y="1021"/>
                  </a:lnTo>
                  <a:lnTo>
                    <a:pt x="38" y="1061"/>
                  </a:lnTo>
                  <a:cubicBezTo>
                    <a:pt x="39" y="1062"/>
                    <a:pt x="39" y="1064"/>
                    <a:pt x="39" y="1065"/>
                  </a:cubicBezTo>
                  <a:lnTo>
                    <a:pt x="39" y="1167"/>
                  </a:lnTo>
                  <a:lnTo>
                    <a:pt x="31" y="1159"/>
                  </a:lnTo>
                  <a:lnTo>
                    <a:pt x="56" y="1159"/>
                  </a:lnTo>
                  <a:cubicBezTo>
                    <a:pt x="57" y="1159"/>
                    <a:pt x="59" y="1159"/>
                    <a:pt x="60" y="1159"/>
                  </a:cubicBezTo>
                  <a:lnTo>
                    <a:pt x="290" y="1281"/>
                  </a:lnTo>
                  <a:lnTo>
                    <a:pt x="278" y="1288"/>
                  </a:lnTo>
                  <a:lnTo>
                    <a:pt x="278" y="1268"/>
                  </a:lnTo>
                  <a:cubicBezTo>
                    <a:pt x="278" y="1267"/>
                    <a:pt x="278" y="1266"/>
                    <a:pt x="279" y="1265"/>
                  </a:cubicBezTo>
                  <a:lnTo>
                    <a:pt x="347" y="1082"/>
                  </a:lnTo>
                  <a:close/>
                  <a:moveTo>
                    <a:pt x="294" y="1271"/>
                  </a:moveTo>
                  <a:lnTo>
                    <a:pt x="294" y="1268"/>
                  </a:lnTo>
                  <a:lnTo>
                    <a:pt x="294" y="1288"/>
                  </a:lnTo>
                  <a:cubicBezTo>
                    <a:pt x="294" y="1291"/>
                    <a:pt x="293" y="1294"/>
                    <a:pt x="290" y="1295"/>
                  </a:cubicBezTo>
                  <a:cubicBezTo>
                    <a:pt x="288" y="1297"/>
                    <a:pt x="285" y="1297"/>
                    <a:pt x="282" y="1296"/>
                  </a:cubicBezTo>
                  <a:lnTo>
                    <a:pt x="52" y="1174"/>
                  </a:lnTo>
                  <a:lnTo>
                    <a:pt x="56" y="1175"/>
                  </a:lnTo>
                  <a:lnTo>
                    <a:pt x="31" y="1175"/>
                  </a:lnTo>
                  <a:cubicBezTo>
                    <a:pt x="27" y="1175"/>
                    <a:pt x="23" y="1171"/>
                    <a:pt x="23" y="1167"/>
                  </a:cubicBezTo>
                  <a:lnTo>
                    <a:pt x="23" y="1065"/>
                  </a:lnTo>
                  <a:lnTo>
                    <a:pt x="24" y="1069"/>
                  </a:lnTo>
                  <a:lnTo>
                    <a:pt x="2" y="1028"/>
                  </a:lnTo>
                  <a:cubicBezTo>
                    <a:pt x="0" y="1024"/>
                    <a:pt x="2" y="1020"/>
                    <a:pt x="5" y="1017"/>
                  </a:cubicBezTo>
                  <a:lnTo>
                    <a:pt x="74" y="977"/>
                  </a:lnTo>
                  <a:lnTo>
                    <a:pt x="70" y="982"/>
                  </a:lnTo>
                  <a:lnTo>
                    <a:pt x="92" y="900"/>
                  </a:lnTo>
                  <a:cubicBezTo>
                    <a:pt x="93" y="897"/>
                    <a:pt x="96" y="894"/>
                    <a:pt x="100" y="894"/>
                  </a:cubicBezTo>
                  <a:lnTo>
                    <a:pt x="171" y="894"/>
                  </a:lnTo>
                  <a:lnTo>
                    <a:pt x="164" y="905"/>
                  </a:lnTo>
                  <a:lnTo>
                    <a:pt x="139" y="844"/>
                  </a:lnTo>
                  <a:cubicBezTo>
                    <a:pt x="138" y="842"/>
                    <a:pt x="138" y="840"/>
                    <a:pt x="139" y="838"/>
                  </a:cubicBezTo>
                  <a:cubicBezTo>
                    <a:pt x="140" y="836"/>
                    <a:pt x="142" y="834"/>
                    <a:pt x="144" y="834"/>
                  </a:cubicBezTo>
                  <a:lnTo>
                    <a:pt x="284" y="793"/>
                  </a:lnTo>
                  <a:lnTo>
                    <a:pt x="280" y="805"/>
                  </a:lnTo>
                  <a:lnTo>
                    <a:pt x="208" y="704"/>
                  </a:lnTo>
                  <a:cubicBezTo>
                    <a:pt x="207" y="702"/>
                    <a:pt x="207" y="700"/>
                    <a:pt x="207" y="698"/>
                  </a:cubicBezTo>
                  <a:cubicBezTo>
                    <a:pt x="208" y="695"/>
                    <a:pt x="209" y="693"/>
                    <a:pt x="211" y="692"/>
                  </a:cubicBezTo>
                  <a:lnTo>
                    <a:pt x="282" y="652"/>
                  </a:lnTo>
                  <a:lnTo>
                    <a:pt x="282" y="666"/>
                  </a:lnTo>
                  <a:lnTo>
                    <a:pt x="167" y="605"/>
                  </a:lnTo>
                  <a:cubicBezTo>
                    <a:pt x="165" y="604"/>
                    <a:pt x="164" y="602"/>
                    <a:pt x="163" y="600"/>
                  </a:cubicBezTo>
                  <a:lnTo>
                    <a:pt x="139" y="519"/>
                  </a:lnTo>
                  <a:cubicBezTo>
                    <a:pt x="139" y="518"/>
                    <a:pt x="138" y="517"/>
                    <a:pt x="138" y="516"/>
                  </a:cubicBezTo>
                  <a:lnTo>
                    <a:pt x="138" y="435"/>
                  </a:lnTo>
                  <a:lnTo>
                    <a:pt x="146" y="443"/>
                  </a:lnTo>
                  <a:lnTo>
                    <a:pt x="56" y="443"/>
                  </a:lnTo>
                  <a:cubicBezTo>
                    <a:pt x="53" y="443"/>
                    <a:pt x="51" y="442"/>
                    <a:pt x="49" y="439"/>
                  </a:cubicBezTo>
                  <a:lnTo>
                    <a:pt x="25" y="399"/>
                  </a:lnTo>
                  <a:cubicBezTo>
                    <a:pt x="23" y="396"/>
                    <a:pt x="23" y="392"/>
                    <a:pt x="25" y="390"/>
                  </a:cubicBezTo>
                  <a:cubicBezTo>
                    <a:pt x="27" y="387"/>
                    <a:pt x="30" y="386"/>
                    <a:pt x="34" y="387"/>
                  </a:cubicBezTo>
                  <a:lnTo>
                    <a:pt x="102" y="407"/>
                  </a:lnTo>
                  <a:lnTo>
                    <a:pt x="92" y="415"/>
                  </a:lnTo>
                  <a:lnTo>
                    <a:pt x="92" y="334"/>
                  </a:lnTo>
                  <a:cubicBezTo>
                    <a:pt x="92" y="330"/>
                    <a:pt x="94" y="327"/>
                    <a:pt x="98" y="326"/>
                  </a:cubicBezTo>
                  <a:lnTo>
                    <a:pt x="169" y="306"/>
                  </a:lnTo>
                  <a:lnTo>
                    <a:pt x="169" y="321"/>
                  </a:lnTo>
                  <a:lnTo>
                    <a:pt x="98" y="301"/>
                  </a:lnTo>
                  <a:cubicBezTo>
                    <a:pt x="96" y="300"/>
                    <a:pt x="95" y="299"/>
                    <a:pt x="94" y="298"/>
                  </a:cubicBezTo>
                  <a:lnTo>
                    <a:pt x="25" y="217"/>
                  </a:lnTo>
                  <a:cubicBezTo>
                    <a:pt x="25" y="216"/>
                    <a:pt x="24" y="215"/>
                    <a:pt x="24" y="214"/>
                  </a:cubicBezTo>
                  <a:lnTo>
                    <a:pt x="2" y="132"/>
                  </a:lnTo>
                  <a:cubicBezTo>
                    <a:pt x="1" y="131"/>
                    <a:pt x="1" y="129"/>
                    <a:pt x="2" y="128"/>
                  </a:cubicBezTo>
                  <a:lnTo>
                    <a:pt x="24" y="67"/>
                  </a:lnTo>
                  <a:cubicBezTo>
                    <a:pt x="25" y="64"/>
                    <a:pt x="28" y="61"/>
                    <a:pt x="31" y="61"/>
                  </a:cubicBezTo>
                  <a:lnTo>
                    <a:pt x="100" y="61"/>
                  </a:lnTo>
                  <a:lnTo>
                    <a:pt x="97" y="62"/>
                  </a:lnTo>
                  <a:lnTo>
                    <a:pt x="190" y="21"/>
                  </a:lnTo>
                  <a:cubicBezTo>
                    <a:pt x="191" y="21"/>
                    <a:pt x="192" y="21"/>
                    <a:pt x="193" y="21"/>
                  </a:cubicBezTo>
                  <a:lnTo>
                    <a:pt x="333" y="21"/>
                  </a:lnTo>
                  <a:lnTo>
                    <a:pt x="327" y="23"/>
                  </a:lnTo>
                  <a:lnTo>
                    <a:pt x="349" y="3"/>
                  </a:lnTo>
                  <a:cubicBezTo>
                    <a:pt x="352" y="0"/>
                    <a:pt x="357" y="0"/>
                    <a:pt x="360" y="2"/>
                  </a:cubicBezTo>
                  <a:lnTo>
                    <a:pt x="406" y="42"/>
                  </a:lnTo>
                  <a:lnTo>
                    <a:pt x="499" y="103"/>
                  </a:lnTo>
                  <a:cubicBezTo>
                    <a:pt x="500" y="104"/>
                    <a:pt x="501" y="106"/>
                    <a:pt x="502" y="107"/>
                  </a:cubicBezTo>
                  <a:lnTo>
                    <a:pt x="524" y="168"/>
                  </a:lnTo>
                  <a:lnTo>
                    <a:pt x="521" y="164"/>
                  </a:lnTo>
                  <a:lnTo>
                    <a:pt x="614" y="225"/>
                  </a:lnTo>
                  <a:lnTo>
                    <a:pt x="612" y="224"/>
                  </a:lnTo>
                  <a:lnTo>
                    <a:pt x="727" y="265"/>
                  </a:lnTo>
                  <a:cubicBezTo>
                    <a:pt x="729" y="266"/>
                    <a:pt x="731" y="268"/>
                    <a:pt x="732" y="270"/>
                  </a:cubicBezTo>
                  <a:cubicBezTo>
                    <a:pt x="733" y="272"/>
                    <a:pt x="733" y="275"/>
                    <a:pt x="731" y="277"/>
                  </a:cubicBezTo>
                  <a:lnTo>
                    <a:pt x="685" y="358"/>
                  </a:lnTo>
                  <a:lnTo>
                    <a:pt x="679" y="346"/>
                  </a:lnTo>
                  <a:lnTo>
                    <a:pt x="794" y="366"/>
                  </a:lnTo>
                  <a:cubicBezTo>
                    <a:pt x="795" y="366"/>
                    <a:pt x="795" y="366"/>
                    <a:pt x="796" y="367"/>
                  </a:cubicBezTo>
                  <a:lnTo>
                    <a:pt x="911" y="407"/>
                  </a:lnTo>
                  <a:lnTo>
                    <a:pt x="904" y="408"/>
                  </a:lnTo>
                  <a:lnTo>
                    <a:pt x="1019" y="347"/>
                  </a:lnTo>
                  <a:cubicBezTo>
                    <a:pt x="1022" y="345"/>
                    <a:pt x="1025" y="346"/>
                    <a:pt x="1027" y="347"/>
                  </a:cubicBezTo>
                  <a:cubicBezTo>
                    <a:pt x="1030" y="348"/>
                    <a:pt x="1031" y="351"/>
                    <a:pt x="1031" y="354"/>
                  </a:cubicBezTo>
                  <a:lnTo>
                    <a:pt x="1031" y="455"/>
                  </a:lnTo>
                  <a:lnTo>
                    <a:pt x="1026" y="448"/>
                  </a:lnTo>
                  <a:lnTo>
                    <a:pt x="1073" y="468"/>
                  </a:lnTo>
                  <a:cubicBezTo>
                    <a:pt x="1075" y="469"/>
                    <a:pt x="1077" y="471"/>
                    <a:pt x="1077" y="473"/>
                  </a:cubicBezTo>
                  <a:cubicBezTo>
                    <a:pt x="1078" y="475"/>
                    <a:pt x="1078" y="478"/>
                    <a:pt x="1077" y="480"/>
                  </a:cubicBezTo>
                  <a:lnTo>
                    <a:pt x="1030" y="561"/>
                  </a:lnTo>
                  <a:lnTo>
                    <a:pt x="1031" y="555"/>
                  </a:lnTo>
                  <a:lnTo>
                    <a:pt x="1055" y="636"/>
                  </a:lnTo>
                  <a:lnTo>
                    <a:pt x="1055" y="634"/>
                  </a:lnTo>
                  <a:lnTo>
                    <a:pt x="1101" y="716"/>
                  </a:lnTo>
                  <a:lnTo>
                    <a:pt x="1099" y="713"/>
                  </a:lnTo>
                  <a:lnTo>
                    <a:pt x="1214" y="794"/>
                  </a:lnTo>
                  <a:cubicBezTo>
                    <a:pt x="1217" y="797"/>
                    <a:pt x="1218" y="801"/>
                    <a:pt x="1217" y="804"/>
                  </a:cubicBezTo>
                  <a:lnTo>
                    <a:pt x="1170" y="906"/>
                  </a:lnTo>
                  <a:cubicBezTo>
                    <a:pt x="1169" y="908"/>
                    <a:pt x="1168" y="909"/>
                    <a:pt x="1166" y="910"/>
                  </a:cubicBezTo>
                  <a:lnTo>
                    <a:pt x="1120" y="930"/>
                  </a:lnTo>
                  <a:lnTo>
                    <a:pt x="1124" y="923"/>
                  </a:lnTo>
                  <a:lnTo>
                    <a:pt x="1124" y="1004"/>
                  </a:lnTo>
                  <a:lnTo>
                    <a:pt x="1120" y="997"/>
                  </a:lnTo>
                  <a:lnTo>
                    <a:pt x="1166" y="1017"/>
                  </a:lnTo>
                  <a:cubicBezTo>
                    <a:pt x="1170" y="1019"/>
                    <a:pt x="1172" y="1023"/>
                    <a:pt x="1171" y="1026"/>
                  </a:cubicBezTo>
                  <a:lnTo>
                    <a:pt x="1149" y="1108"/>
                  </a:lnTo>
                  <a:cubicBezTo>
                    <a:pt x="1148" y="1111"/>
                    <a:pt x="1145" y="1114"/>
                    <a:pt x="1141" y="1114"/>
                  </a:cubicBezTo>
                  <a:lnTo>
                    <a:pt x="1023" y="1114"/>
                  </a:lnTo>
                  <a:lnTo>
                    <a:pt x="1026" y="1113"/>
                  </a:lnTo>
                  <a:lnTo>
                    <a:pt x="864" y="1174"/>
                  </a:lnTo>
                  <a:lnTo>
                    <a:pt x="795" y="1195"/>
                  </a:lnTo>
                  <a:lnTo>
                    <a:pt x="727" y="1215"/>
                  </a:lnTo>
                  <a:lnTo>
                    <a:pt x="732" y="1210"/>
                  </a:lnTo>
                  <a:lnTo>
                    <a:pt x="708" y="1291"/>
                  </a:lnTo>
                  <a:cubicBezTo>
                    <a:pt x="707" y="1293"/>
                    <a:pt x="705" y="1295"/>
                    <a:pt x="703" y="1296"/>
                  </a:cubicBezTo>
                  <a:cubicBezTo>
                    <a:pt x="701" y="1297"/>
                    <a:pt x="699" y="1297"/>
                    <a:pt x="697" y="1296"/>
                  </a:cubicBezTo>
                  <a:lnTo>
                    <a:pt x="653" y="1275"/>
                  </a:lnTo>
                  <a:cubicBezTo>
                    <a:pt x="652" y="1275"/>
                    <a:pt x="651" y="1274"/>
                    <a:pt x="650" y="1274"/>
                  </a:cubicBezTo>
                  <a:lnTo>
                    <a:pt x="558" y="1173"/>
                  </a:lnTo>
                  <a:lnTo>
                    <a:pt x="511" y="1132"/>
                  </a:lnTo>
                  <a:lnTo>
                    <a:pt x="516" y="1134"/>
                  </a:lnTo>
                  <a:lnTo>
                    <a:pt x="448" y="1134"/>
                  </a:lnTo>
                  <a:cubicBezTo>
                    <a:pt x="447" y="1134"/>
                    <a:pt x="446" y="1134"/>
                    <a:pt x="445" y="1133"/>
                  </a:cubicBezTo>
                  <a:lnTo>
                    <a:pt x="351" y="1093"/>
                  </a:lnTo>
                  <a:lnTo>
                    <a:pt x="362" y="1088"/>
                  </a:lnTo>
                  <a:lnTo>
                    <a:pt x="294" y="1271"/>
                  </a:lnTo>
                  <a:close/>
                </a:path>
              </a:pathLst>
            </a:custGeom>
            <a:solidFill>
              <a:srgbClr val="000000"/>
            </a:solidFill>
            <a:ln w="0" cap="flat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298" name="Rectangle 265"/>
            <p:cNvSpPr>
              <a:spLocks noChangeArrowheads="1"/>
            </p:cNvSpPr>
            <p:nvPr/>
          </p:nvSpPr>
          <p:spPr bwMode="auto">
            <a:xfrm>
              <a:off x="4259" y="2561"/>
              <a:ext cx="55" cy="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sz="500" b="1">
                  <a:solidFill>
                    <a:srgbClr val="000000"/>
                  </a:solidFill>
                </a:rPr>
                <a:t>RS</a:t>
              </a:r>
              <a:endParaRPr lang="de-DE"/>
            </a:p>
          </p:txBody>
        </p:sp>
        <p:sp>
          <p:nvSpPr>
            <p:cNvPr id="7299" name="Freeform 266"/>
            <p:cNvSpPr>
              <a:spLocks noEditPoints="1"/>
            </p:cNvSpPr>
            <p:nvPr/>
          </p:nvSpPr>
          <p:spPr bwMode="auto">
            <a:xfrm>
              <a:off x="4269" y="2667"/>
              <a:ext cx="99" cy="90"/>
            </a:xfrm>
            <a:custGeom>
              <a:avLst/>
              <a:gdLst>
                <a:gd name="T0" fmla="*/ 0 w 414"/>
                <a:gd name="T1" fmla="*/ 0 h 377"/>
                <a:gd name="T2" fmla="*/ 0 w 414"/>
                <a:gd name="T3" fmla="*/ 0 h 377"/>
                <a:gd name="T4" fmla="*/ 0 w 414"/>
                <a:gd name="T5" fmla="*/ 0 h 377"/>
                <a:gd name="T6" fmla="*/ 0 w 414"/>
                <a:gd name="T7" fmla="*/ 0 h 377"/>
                <a:gd name="T8" fmla="*/ 0 w 414"/>
                <a:gd name="T9" fmla="*/ 0 h 377"/>
                <a:gd name="T10" fmla="*/ 0 w 414"/>
                <a:gd name="T11" fmla="*/ 0 h 377"/>
                <a:gd name="T12" fmla="*/ 0 w 414"/>
                <a:gd name="T13" fmla="*/ 0 h 377"/>
                <a:gd name="T14" fmla="*/ 0 w 414"/>
                <a:gd name="T15" fmla="*/ 0 h 377"/>
                <a:gd name="T16" fmla="*/ 0 w 414"/>
                <a:gd name="T17" fmla="*/ 0 h 377"/>
                <a:gd name="T18" fmla="*/ 0 w 414"/>
                <a:gd name="T19" fmla="*/ 0 h 377"/>
                <a:gd name="T20" fmla="*/ 0 w 414"/>
                <a:gd name="T21" fmla="*/ 0 h 377"/>
                <a:gd name="T22" fmla="*/ 0 w 414"/>
                <a:gd name="T23" fmla="*/ 0 h 377"/>
                <a:gd name="T24" fmla="*/ 0 w 414"/>
                <a:gd name="T25" fmla="*/ 0 h 377"/>
                <a:gd name="T26" fmla="*/ 0 w 414"/>
                <a:gd name="T27" fmla="*/ 0 h 377"/>
                <a:gd name="T28" fmla="*/ 0 w 414"/>
                <a:gd name="T29" fmla="*/ 0 h 377"/>
                <a:gd name="T30" fmla="*/ 0 w 414"/>
                <a:gd name="T31" fmla="*/ 0 h 377"/>
                <a:gd name="T32" fmla="*/ 0 w 414"/>
                <a:gd name="T33" fmla="*/ 0 h 377"/>
                <a:gd name="T34" fmla="*/ 0 w 414"/>
                <a:gd name="T35" fmla="*/ 0 h 377"/>
                <a:gd name="T36" fmla="*/ 0 w 414"/>
                <a:gd name="T37" fmla="*/ 0 h 377"/>
                <a:gd name="T38" fmla="*/ 0 w 414"/>
                <a:gd name="T39" fmla="*/ 0 h 377"/>
                <a:gd name="T40" fmla="*/ 0 w 414"/>
                <a:gd name="T41" fmla="*/ 0 h 377"/>
                <a:gd name="T42" fmla="*/ 0 w 414"/>
                <a:gd name="T43" fmla="*/ 0 h 377"/>
                <a:gd name="T44" fmla="*/ 0 w 414"/>
                <a:gd name="T45" fmla="*/ 0 h 377"/>
                <a:gd name="T46" fmla="*/ 0 w 414"/>
                <a:gd name="T47" fmla="*/ 0 h 377"/>
                <a:gd name="T48" fmla="*/ 0 w 414"/>
                <a:gd name="T49" fmla="*/ 0 h 377"/>
                <a:gd name="T50" fmla="*/ 0 w 414"/>
                <a:gd name="T51" fmla="*/ 0 h 377"/>
                <a:gd name="T52" fmla="*/ 0 w 414"/>
                <a:gd name="T53" fmla="*/ 0 h 377"/>
                <a:gd name="T54" fmla="*/ 0 w 414"/>
                <a:gd name="T55" fmla="*/ 0 h 377"/>
                <a:gd name="T56" fmla="*/ 0 w 414"/>
                <a:gd name="T57" fmla="*/ 0 h 377"/>
                <a:gd name="T58" fmla="*/ 0 w 414"/>
                <a:gd name="T59" fmla="*/ 0 h 377"/>
                <a:gd name="T60" fmla="*/ 0 w 414"/>
                <a:gd name="T61" fmla="*/ 0 h 377"/>
                <a:gd name="T62" fmla="*/ 0 w 414"/>
                <a:gd name="T63" fmla="*/ 0 h 377"/>
                <a:gd name="T64" fmla="*/ 0 w 414"/>
                <a:gd name="T65" fmla="*/ 0 h 377"/>
                <a:gd name="T66" fmla="*/ 0 w 414"/>
                <a:gd name="T67" fmla="*/ 0 h 377"/>
                <a:gd name="T68" fmla="*/ 0 w 414"/>
                <a:gd name="T69" fmla="*/ 0 h 377"/>
                <a:gd name="T70" fmla="*/ 0 w 414"/>
                <a:gd name="T71" fmla="*/ 0 h 377"/>
                <a:gd name="T72" fmla="*/ 0 w 414"/>
                <a:gd name="T73" fmla="*/ 0 h 377"/>
                <a:gd name="T74" fmla="*/ 0 w 414"/>
                <a:gd name="T75" fmla="*/ 0 h 377"/>
                <a:gd name="T76" fmla="*/ 0 w 414"/>
                <a:gd name="T77" fmla="*/ 0 h 377"/>
                <a:gd name="T78" fmla="*/ 0 w 414"/>
                <a:gd name="T79" fmla="*/ 0 h 377"/>
                <a:gd name="T80" fmla="*/ 0 w 414"/>
                <a:gd name="T81" fmla="*/ 0 h 377"/>
                <a:gd name="T82" fmla="*/ 0 w 414"/>
                <a:gd name="T83" fmla="*/ 0 h 377"/>
                <a:gd name="T84" fmla="*/ 0 w 414"/>
                <a:gd name="T85" fmla="*/ 0 h 377"/>
                <a:gd name="T86" fmla="*/ 0 w 414"/>
                <a:gd name="T87" fmla="*/ 0 h 377"/>
                <a:gd name="T88" fmla="*/ 0 w 414"/>
                <a:gd name="T89" fmla="*/ 0 h 377"/>
                <a:gd name="T90" fmla="*/ 0 w 414"/>
                <a:gd name="T91" fmla="*/ 0 h 377"/>
                <a:gd name="T92" fmla="*/ 0 w 414"/>
                <a:gd name="T93" fmla="*/ 0 h 377"/>
                <a:gd name="T94" fmla="*/ 0 w 414"/>
                <a:gd name="T95" fmla="*/ 0 h 377"/>
                <a:gd name="T96" fmla="*/ 0 w 414"/>
                <a:gd name="T97" fmla="*/ 0 h 377"/>
                <a:gd name="T98" fmla="*/ 0 w 414"/>
                <a:gd name="T99" fmla="*/ 0 h 377"/>
                <a:gd name="T100" fmla="*/ 0 w 414"/>
                <a:gd name="T101" fmla="*/ 0 h 377"/>
                <a:gd name="T102" fmla="*/ 0 w 414"/>
                <a:gd name="T103" fmla="*/ 0 h 377"/>
                <a:gd name="T104" fmla="*/ 0 w 414"/>
                <a:gd name="T105" fmla="*/ 0 h 377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14"/>
                <a:gd name="T160" fmla="*/ 0 h 377"/>
                <a:gd name="T161" fmla="*/ 414 w 414"/>
                <a:gd name="T162" fmla="*/ 377 h 377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14" h="377">
                  <a:moveTo>
                    <a:pt x="47" y="65"/>
                  </a:moveTo>
                  <a:lnTo>
                    <a:pt x="47" y="65"/>
                  </a:lnTo>
                  <a:cubicBezTo>
                    <a:pt x="51" y="63"/>
                    <a:pt x="56" y="65"/>
                    <a:pt x="58" y="69"/>
                  </a:cubicBezTo>
                  <a:cubicBezTo>
                    <a:pt x="60" y="73"/>
                    <a:pt x="59" y="77"/>
                    <a:pt x="55" y="79"/>
                  </a:cubicBezTo>
                  <a:cubicBezTo>
                    <a:pt x="51" y="82"/>
                    <a:pt x="46" y="80"/>
                    <a:pt x="44" y="76"/>
                  </a:cubicBezTo>
                  <a:cubicBezTo>
                    <a:pt x="42" y="72"/>
                    <a:pt x="44" y="67"/>
                    <a:pt x="47" y="65"/>
                  </a:cubicBezTo>
                  <a:close/>
                  <a:moveTo>
                    <a:pt x="68" y="50"/>
                  </a:moveTo>
                  <a:lnTo>
                    <a:pt x="68" y="50"/>
                  </a:lnTo>
                  <a:cubicBezTo>
                    <a:pt x="69" y="46"/>
                    <a:pt x="74" y="44"/>
                    <a:pt x="78" y="45"/>
                  </a:cubicBezTo>
                  <a:cubicBezTo>
                    <a:pt x="82" y="46"/>
                    <a:pt x="85" y="51"/>
                    <a:pt x="83" y="55"/>
                  </a:cubicBezTo>
                  <a:cubicBezTo>
                    <a:pt x="82" y="59"/>
                    <a:pt x="77" y="62"/>
                    <a:pt x="73" y="60"/>
                  </a:cubicBezTo>
                  <a:cubicBezTo>
                    <a:pt x="69" y="59"/>
                    <a:pt x="67" y="54"/>
                    <a:pt x="68" y="50"/>
                  </a:cubicBezTo>
                  <a:close/>
                  <a:moveTo>
                    <a:pt x="89" y="22"/>
                  </a:moveTo>
                  <a:lnTo>
                    <a:pt x="89" y="22"/>
                  </a:lnTo>
                  <a:cubicBezTo>
                    <a:pt x="93" y="19"/>
                    <a:pt x="98" y="20"/>
                    <a:pt x="101" y="23"/>
                  </a:cubicBezTo>
                  <a:cubicBezTo>
                    <a:pt x="103" y="27"/>
                    <a:pt x="103" y="32"/>
                    <a:pt x="99" y="34"/>
                  </a:cubicBezTo>
                  <a:cubicBezTo>
                    <a:pt x="96" y="37"/>
                    <a:pt x="91" y="37"/>
                    <a:pt x="88" y="33"/>
                  </a:cubicBezTo>
                  <a:cubicBezTo>
                    <a:pt x="85" y="30"/>
                    <a:pt x="86" y="25"/>
                    <a:pt x="89" y="22"/>
                  </a:cubicBezTo>
                  <a:close/>
                  <a:moveTo>
                    <a:pt x="115" y="1"/>
                  </a:moveTo>
                  <a:lnTo>
                    <a:pt x="115" y="1"/>
                  </a:lnTo>
                  <a:cubicBezTo>
                    <a:pt x="119" y="0"/>
                    <a:pt x="124" y="2"/>
                    <a:pt x="125" y="6"/>
                  </a:cubicBezTo>
                  <a:cubicBezTo>
                    <a:pt x="127" y="10"/>
                    <a:pt x="124" y="15"/>
                    <a:pt x="120" y="16"/>
                  </a:cubicBezTo>
                  <a:cubicBezTo>
                    <a:pt x="116" y="18"/>
                    <a:pt x="111" y="16"/>
                    <a:pt x="110" y="11"/>
                  </a:cubicBezTo>
                  <a:cubicBezTo>
                    <a:pt x="109" y="7"/>
                    <a:pt x="111" y="3"/>
                    <a:pt x="115" y="1"/>
                  </a:cubicBezTo>
                  <a:close/>
                  <a:moveTo>
                    <a:pt x="151" y="3"/>
                  </a:moveTo>
                  <a:lnTo>
                    <a:pt x="151" y="3"/>
                  </a:lnTo>
                  <a:cubicBezTo>
                    <a:pt x="155" y="5"/>
                    <a:pt x="157" y="10"/>
                    <a:pt x="155" y="14"/>
                  </a:cubicBezTo>
                  <a:cubicBezTo>
                    <a:pt x="154" y="18"/>
                    <a:pt x="149" y="20"/>
                    <a:pt x="145" y="18"/>
                  </a:cubicBezTo>
                  <a:cubicBezTo>
                    <a:pt x="141" y="16"/>
                    <a:pt x="139" y="12"/>
                    <a:pt x="140" y="8"/>
                  </a:cubicBezTo>
                  <a:cubicBezTo>
                    <a:pt x="142" y="4"/>
                    <a:pt x="147" y="2"/>
                    <a:pt x="151" y="3"/>
                  </a:cubicBezTo>
                  <a:close/>
                  <a:moveTo>
                    <a:pt x="180" y="16"/>
                  </a:moveTo>
                  <a:lnTo>
                    <a:pt x="180" y="16"/>
                  </a:lnTo>
                  <a:cubicBezTo>
                    <a:pt x="184" y="18"/>
                    <a:pt x="186" y="22"/>
                    <a:pt x="185" y="27"/>
                  </a:cubicBezTo>
                  <a:cubicBezTo>
                    <a:pt x="183" y="31"/>
                    <a:pt x="178" y="33"/>
                    <a:pt x="174" y="31"/>
                  </a:cubicBezTo>
                  <a:cubicBezTo>
                    <a:pt x="170" y="29"/>
                    <a:pt x="168" y="24"/>
                    <a:pt x="170" y="20"/>
                  </a:cubicBezTo>
                  <a:cubicBezTo>
                    <a:pt x="171" y="16"/>
                    <a:pt x="176" y="14"/>
                    <a:pt x="180" y="16"/>
                  </a:cubicBezTo>
                  <a:close/>
                  <a:moveTo>
                    <a:pt x="210" y="31"/>
                  </a:moveTo>
                  <a:lnTo>
                    <a:pt x="210" y="31"/>
                  </a:lnTo>
                  <a:cubicBezTo>
                    <a:pt x="214" y="33"/>
                    <a:pt x="215" y="38"/>
                    <a:pt x="213" y="42"/>
                  </a:cubicBezTo>
                  <a:cubicBezTo>
                    <a:pt x="211" y="46"/>
                    <a:pt x="206" y="47"/>
                    <a:pt x="202" y="45"/>
                  </a:cubicBezTo>
                  <a:cubicBezTo>
                    <a:pt x="198" y="43"/>
                    <a:pt x="197" y="38"/>
                    <a:pt x="199" y="34"/>
                  </a:cubicBezTo>
                  <a:cubicBezTo>
                    <a:pt x="201" y="30"/>
                    <a:pt x="206" y="29"/>
                    <a:pt x="210" y="31"/>
                  </a:cubicBezTo>
                  <a:close/>
                  <a:moveTo>
                    <a:pt x="238" y="46"/>
                  </a:moveTo>
                  <a:lnTo>
                    <a:pt x="238" y="46"/>
                  </a:lnTo>
                  <a:cubicBezTo>
                    <a:pt x="242" y="49"/>
                    <a:pt x="243" y="54"/>
                    <a:pt x="241" y="57"/>
                  </a:cubicBezTo>
                  <a:cubicBezTo>
                    <a:pt x="239" y="61"/>
                    <a:pt x="234" y="63"/>
                    <a:pt x="230" y="60"/>
                  </a:cubicBezTo>
                  <a:cubicBezTo>
                    <a:pt x="226" y="58"/>
                    <a:pt x="225" y="53"/>
                    <a:pt x="227" y="50"/>
                  </a:cubicBezTo>
                  <a:cubicBezTo>
                    <a:pt x="229" y="46"/>
                    <a:pt x="234" y="44"/>
                    <a:pt x="238" y="46"/>
                  </a:cubicBezTo>
                  <a:close/>
                  <a:moveTo>
                    <a:pt x="260" y="65"/>
                  </a:moveTo>
                  <a:lnTo>
                    <a:pt x="260" y="65"/>
                  </a:lnTo>
                  <a:cubicBezTo>
                    <a:pt x="265" y="66"/>
                    <a:pt x="267" y="70"/>
                    <a:pt x="266" y="74"/>
                  </a:cubicBezTo>
                  <a:cubicBezTo>
                    <a:pt x="265" y="79"/>
                    <a:pt x="261" y="81"/>
                    <a:pt x="257" y="80"/>
                  </a:cubicBezTo>
                  <a:cubicBezTo>
                    <a:pt x="253" y="79"/>
                    <a:pt x="250" y="75"/>
                    <a:pt x="251" y="71"/>
                  </a:cubicBezTo>
                  <a:cubicBezTo>
                    <a:pt x="252" y="66"/>
                    <a:pt x="256" y="64"/>
                    <a:pt x="260" y="65"/>
                  </a:cubicBezTo>
                  <a:close/>
                  <a:moveTo>
                    <a:pt x="293" y="78"/>
                  </a:moveTo>
                  <a:lnTo>
                    <a:pt x="293" y="78"/>
                  </a:lnTo>
                  <a:cubicBezTo>
                    <a:pt x="296" y="81"/>
                    <a:pt x="297" y="86"/>
                    <a:pt x="294" y="90"/>
                  </a:cubicBezTo>
                  <a:cubicBezTo>
                    <a:pt x="291" y="93"/>
                    <a:pt x="286" y="93"/>
                    <a:pt x="282" y="90"/>
                  </a:cubicBezTo>
                  <a:cubicBezTo>
                    <a:pt x="279" y="88"/>
                    <a:pt x="279" y="82"/>
                    <a:pt x="281" y="79"/>
                  </a:cubicBezTo>
                  <a:cubicBezTo>
                    <a:pt x="284" y="76"/>
                    <a:pt x="289" y="75"/>
                    <a:pt x="293" y="78"/>
                  </a:cubicBezTo>
                  <a:close/>
                  <a:moveTo>
                    <a:pt x="317" y="92"/>
                  </a:moveTo>
                  <a:lnTo>
                    <a:pt x="318" y="92"/>
                  </a:lnTo>
                  <a:cubicBezTo>
                    <a:pt x="322" y="94"/>
                    <a:pt x="324" y="98"/>
                    <a:pt x="323" y="102"/>
                  </a:cubicBezTo>
                  <a:cubicBezTo>
                    <a:pt x="321" y="107"/>
                    <a:pt x="317" y="109"/>
                    <a:pt x="312" y="107"/>
                  </a:cubicBezTo>
                  <a:cubicBezTo>
                    <a:pt x="308" y="106"/>
                    <a:pt x="306" y="101"/>
                    <a:pt x="307" y="97"/>
                  </a:cubicBezTo>
                  <a:cubicBezTo>
                    <a:pt x="309" y="93"/>
                    <a:pt x="313" y="91"/>
                    <a:pt x="317" y="92"/>
                  </a:cubicBezTo>
                  <a:close/>
                  <a:moveTo>
                    <a:pt x="347" y="98"/>
                  </a:moveTo>
                  <a:lnTo>
                    <a:pt x="347" y="98"/>
                  </a:lnTo>
                  <a:cubicBezTo>
                    <a:pt x="352" y="99"/>
                    <a:pt x="355" y="103"/>
                    <a:pt x="354" y="107"/>
                  </a:cubicBezTo>
                  <a:cubicBezTo>
                    <a:pt x="354" y="111"/>
                    <a:pt x="350" y="115"/>
                    <a:pt x="345" y="114"/>
                  </a:cubicBezTo>
                  <a:cubicBezTo>
                    <a:pt x="341" y="114"/>
                    <a:pt x="338" y="110"/>
                    <a:pt x="338" y="105"/>
                  </a:cubicBezTo>
                  <a:cubicBezTo>
                    <a:pt x="339" y="101"/>
                    <a:pt x="343" y="98"/>
                    <a:pt x="347" y="98"/>
                  </a:cubicBezTo>
                  <a:close/>
                  <a:moveTo>
                    <a:pt x="379" y="102"/>
                  </a:moveTo>
                  <a:lnTo>
                    <a:pt x="379" y="102"/>
                  </a:lnTo>
                  <a:cubicBezTo>
                    <a:pt x="383" y="103"/>
                    <a:pt x="386" y="107"/>
                    <a:pt x="386" y="111"/>
                  </a:cubicBezTo>
                  <a:cubicBezTo>
                    <a:pt x="386" y="115"/>
                    <a:pt x="382" y="119"/>
                    <a:pt x="377" y="118"/>
                  </a:cubicBezTo>
                  <a:cubicBezTo>
                    <a:pt x="373" y="118"/>
                    <a:pt x="370" y="114"/>
                    <a:pt x="370" y="109"/>
                  </a:cubicBezTo>
                  <a:cubicBezTo>
                    <a:pt x="371" y="105"/>
                    <a:pt x="375" y="102"/>
                    <a:pt x="379" y="102"/>
                  </a:cubicBezTo>
                  <a:close/>
                  <a:moveTo>
                    <a:pt x="408" y="130"/>
                  </a:moveTo>
                  <a:lnTo>
                    <a:pt x="408" y="130"/>
                  </a:lnTo>
                  <a:cubicBezTo>
                    <a:pt x="408" y="134"/>
                    <a:pt x="405" y="138"/>
                    <a:pt x="400" y="139"/>
                  </a:cubicBezTo>
                  <a:cubicBezTo>
                    <a:pt x="396" y="139"/>
                    <a:pt x="392" y="135"/>
                    <a:pt x="392" y="131"/>
                  </a:cubicBezTo>
                  <a:cubicBezTo>
                    <a:pt x="392" y="127"/>
                    <a:pt x="395" y="123"/>
                    <a:pt x="399" y="123"/>
                  </a:cubicBezTo>
                  <a:cubicBezTo>
                    <a:pt x="404" y="122"/>
                    <a:pt x="408" y="126"/>
                    <a:pt x="408" y="130"/>
                  </a:cubicBezTo>
                  <a:close/>
                  <a:moveTo>
                    <a:pt x="408" y="163"/>
                  </a:moveTo>
                  <a:lnTo>
                    <a:pt x="408" y="163"/>
                  </a:lnTo>
                  <a:cubicBezTo>
                    <a:pt x="408" y="168"/>
                    <a:pt x="404" y="171"/>
                    <a:pt x="399" y="170"/>
                  </a:cubicBezTo>
                  <a:cubicBezTo>
                    <a:pt x="395" y="170"/>
                    <a:pt x="392" y="166"/>
                    <a:pt x="392" y="162"/>
                  </a:cubicBezTo>
                  <a:cubicBezTo>
                    <a:pt x="393" y="157"/>
                    <a:pt x="397" y="154"/>
                    <a:pt x="401" y="154"/>
                  </a:cubicBezTo>
                  <a:cubicBezTo>
                    <a:pt x="405" y="155"/>
                    <a:pt x="409" y="159"/>
                    <a:pt x="408" y="163"/>
                  </a:cubicBezTo>
                  <a:close/>
                  <a:moveTo>
                    <a:pt x="411" y="193"/>
                  </a:moveTo>
                  <a:lnTo>
                    <a:pt x="411" y="193"/>
                  </a:lnTo>
                  <a:cubicBezTo>
                    <a:pt x="412" y="197"/>
                    <a:pt x="409" y="201"/>
                    <a:pt x="404" y="202"/>
                  </a:cubicBezTo>
                  <a:cubicBezTo>
                    <a:pt x="400" y="203"/>
                    <a:pt x="396" y="200"/>
                    <a:pt x="395" y="196"/>
                  </a:cubicBezTo>
                  <a:lnTo>
                    <a:pt x="395" y="195"/>
                  </a:lnTo>
                  <a:cubicBezTo>
                    <a:pt x="394" y="191"/>
                    <a:pt x="397" y="187"/>
                    <a:pt x="402" y="186"/>
                  </a:cubicBezTo>
                  <a:cubicBezTo>
                    <a:pt x="406" y="186"/>
                    <a:pt x="410" y="188"/>
                    <a:pt x="411" y="193"/>
                  </a:cubicBezTo>
                  <a:close/>
                  <a:moveTo>
                    <a:pt x="414" y="226"/>
                  </a:moveTo>
                  <a:lnTo>
                    <a:pt x="414" y="226"/>
                  </a:lnTo>
                  <a:cubicBezTo>
                    <a:pt x="414" y="230"/>
                    <a:pt x="411" y="234"/>
                    <a:pt x="407" y="234"/>
                  </a:cubicBezTo>
                  <a:cubicBezTo>
                    <a:pt x="402" y="234"/>
                    <a:pt x="398" y="231"/>
                    <a:pt x="398" y="227"/>
                  </a:cubicBezTo>
                  <a:cubicBezTo>
                    <a:pt x="398" y="222"/>
                    <a:pt x="401" y="218"/>
                    <a:pt x="406" y="218"/>
                  </a:cubicBezTo>
                  <a:cubicBezTo>
                    <a:pt x="410" y="218"/>
                    <a:pt x="414" y="221"/>
                    <a:pt x="414" y="226"/>
                  </a:cubicBezTo>
                  <a:close/>
                  <a:moveTo>
                    <a:pt x="407" y="262"/>
                  </a:moveTo>
                  <a:lnTo>
                    <a:pt x="407" y="262"/>
                  </a:lnTo>
                  <a:cubicBezTo>
                    <a:pt x="404" y="265"/>
                    <a:pt x="398" y="265"/>
                    <a:pt x="395" y="262"/>
                  </a:cubicBezTo>
                  <a:cubicBezTo>
                    <a:pt x="392" y="259"/>
                    <a:pt x="393" y="253"/>
                    <a:pt x="396" y="250"/>
                  </a:cubicBezTo>
                  <a:cubicBezTo>
                    <a:pt x="399" y="247"/>
                    <a:pt x="404" y="248"/>
                    <a:pt x="407" y="251"/>
                  </a:cubicBezTo>
                  <a:cubicBezTo>
                    <a:pt x="410" y="254"/>
                    <a:pt x="410" y="259"/>
                    <a:pt x="407" y="262"/>
                  </a:cubicBezTo>
                  <a:close/>
                  <a:moveTo>
                    <a:pt x="375" y="279"/>
                  </a:moveTo>
                  <a:lnTo>
                    <a:pt x="375" y="279"/>
                  </a:lnTo>
                  <a:cubicBezTo>
                    <a:pt x="371" y="280"/>
                    <a:pt x="367" y="277"/>
                    <a:pt x="366" y="273"/>
                  </a:cubicBezTo>
                  <a:cubicBezTo>
                    <a:pt x="365" y="268"/>
                    <a:pt x="368" y="264"/>
                    <a:pt x="373" y="264"/>
                  </a:cubicBezTo>
                  <a:cubicBezTo>
                    <a:pt x="377" y="263"/>
                    <a:pt x="381" y="266"/>
                    <a:pt x="382" y="270"/>
                  </a:cubicBezTo>
                  <a:cubicBezTo>
                    <a:pt x="383" y="275"/>
                    <a:pt x="380" y="279"/>
                    <a:pt x="375" y="279"/>
                  </a:cubicBezTo>
                  <a:close/>
                  <a:moveTo>
                    <a:pt x="345" y="286"/>
                  </a:moveTo>
                  <a:lnTo>
                    <a:pt x="345" y="286"/>
                  </a:lnTo>
                  <a:cubicBezTo>
                    <a:pt x="341" y="288"/>
                    <a:pt x="337" y="285"/>
                    <a:pt x="335" y="281"/>
                  </a:cubicBezTo>
                  <a:cubicBezTo>
                    <a:pt x="334" y="277"/>
                    <a:pt x="336" y="272"/>
                    <a:pt x="341" y="271"/>
                  </a:cubicBezTo>
                  <a:cubicBezTo>
                    <a:pt x="345" y="270"/>
                    <a:pt x="349" y="272"/>
                    <a:pt x="351" y="276"/>
                  </a:cubicBezTo>
                  <a:cubicBezTo>
                    <a:pt x="352" y="281"/>
                    <a:pt x="350" y="285"/>
                    <a:pt x="345" y="286"/>
                  </a:cubicBezTo>
                  <a:close/>
                  <a:moveTo>
                    <a:pt x="316" y="297"/>
                  </a:moveTo>
                  <a:lnTo>
                    <a:pt x="316" y="297"/>
                  </a:lnTo>
                  <a:cubicBezTo>
                    <a:pt x="312" y="299"/>
                    <a:pt x="307" y="297"/>
                    <a:pt x="306" y="293"/>
                  </a:cubicBezTo>
                  <a:cubicBezTo>
                    <a:pt x="304" y="289"/>
                    <a:pt x="306" y="284"/>
                    <a:pt x="310" y="282"/>
                  </a:cubicBezTo>
                  <a:cubicBezTo>
                    <a:pt x="314" y="281"/>
                    <a:pt x="318" y="282"/>
                    <a:pt x="320" y="286"/>
                  </a:cubicBezTo>
                  <a:cubicBezTo>
                    <a:pt x="322" y="290"/>
                    <a:pt x="320" y="295"/>
                    <a:pt x="316" y="297"/>
                  </a:cubicBezTo>
                  <a:close/>
                  <a:moveTo>
                    <a:pt x="292" y="307"/>
                  </a:moveTo>
                  <a:lnTo>
                    <a:pt x="292" y="307"/>
                  </a:lnTo>
                  <a:cubicBezTo>
                    <a:pt x="291" y="311"/>
                    <a:pt x="286" y="313"/>
                    <a:pt x="282" y="312"/>
                  </a:cubicBezTo>
                  <a:cubicBezTo>
                    <a:pt x="278" y="310"/>
                    <a:pt x="276" y="305"/>
                    <a:pt x="277" y="301"/>
                  </a:cubicBezTo>
                  <a:cubicBezTo>
                    <a:pt x="279" y="297"/>
                    <a:pt x="284" y="295"/>
                    <a:pt x="288" y="297"/>
                  </a:cubicBezTo>
                  <a:cubicBezTo>
                    <a:pt x="292" y="298"/>
                    <a:pt x="294" y="303"/>
                    <a:pt x="292" y="307"/>
                  </a:cubicBezTo>
                  <a:close/>
                  <a:moveTo>
                    <a:pt x="281" y="337"/>
                  </a:moveTo>
                  <a:lnTo>
                    <a:pt x="281" y="337"/>
                  </a:lnTo>
                  <a:cubicBezTo>
                    <a:pt x="279" y="341"/>
                    <a:pt x="275" y="343"/>
                    <a:pt x="271" y="342"/>
                  </a:cubicBezTo>
                  <a:cubicBezTo>
                    <a:pt x="267" y="340"/>
                    <a:pt x="265" y="335"/>
                    <a:pt x="266" y="331"/>
                  </a:cubicBezTo>
                  <a:cubicBezTo>
                    <a:pt x="268" y="327"/>
                    <a:pt x="273" y="325"/>
                    <a:pt x="277" y="327"/>
                  </a:cubicBezTo>
                  <a:cubicBezTo>
                    <a:pt x="281" y="328"/>
                    <a:pt x="283" y="333"/>
                    <a:pt x="281" y="337"/>
                  </a:cubicBezTo>
                  <a:close/>
                  <a:moveTo>
                    <a:pt x="265" y="367"/>
                  </a:moveTo>
                  <a:lnTo>
                    <a:pt x="265" y="367"/>
                  </a:lnTo>
                  <a:cubicBezTo>
                    <a:pt x="263" y="370"/>
                    <a:pt x="258" y="371"/>
                    <a:pt x="254" y="369"/>
                  </a:cubicBezTo>
                  <a:cubicBezTo>
                    <a:pt x="250" y="366"/>
                    <a:pt x="249" y="361"/>
                    <a:pt x="252" y="358"/>
                  </a:cubicBezTo>
                  <a:cubicBezTo>
                    <a:pt x="254" y="354"/>
                    <a:pt x="259" y="353"/>
                    <a:pt x="263" y="356"/>
                  </a:cubicBezTo>
                  <a:cubicBezTo>
                    <a:pt x="267" y="358"/>
                    <a:pt x="268" y="363"/>
                    <a:pt x="265" y="367"/>
                  </a:cubicBezTo>
                  <a:close/>
                  <a:moveTo>
                    <a:pt x="226" y="375"/>
                  </a:moveTo>
                  <a:lnTo>
                    <a:pt x="226" y="375"/>
                  </a:lnTo>
                  <a:cubicBezTo>
                    <a:pt x="222" y="373"/>
                    <a:pt x="221" y="368"/>
                    <a:pt x="223" y="364"/>
                  </a:cubicBezTo>
                  <a:cubicBezTo>
                    <a:pt x="225" y="360"/>
                    <a:pt x="230" y="359"/>
                    <a:pt x="234" y="361"/>
                  </a:cubicBezTo>
                  <a:cubicBezTo>
                    <a:pt x="238" y="363"/>
                    <a:pt x="239" y="368"/>
                    <a:pt x="237" y="372"/>
                  </a:cubicBezTo>
                  <a:cubicBezTo>
                    <a:pt x="235" y="376"/>
                    <a:pt x="230" y="377"/>
                    <a:pt x="226" y="375"/>
                  </a:cubicBezTo>
                  <a:close/>
                  <a:moveTo>
                    <a:pt x="200" y="352"/>
                  </a:moveTo>
                  <a:lnTo>
                    <a:pt x="200" y="352"/>
                  </a:lnTo>
                  <a:cubicBezTo>
                    <a:pt x="197" y="349"/>
                    <a:pt x="198" y="344"/>
                    <a:pt x="201" y="341"/>
                  </a:cubicBezTo>
                  <a:cubicBezTo>
                    <a:pt x="205" y="338"/>
                    <a:pt x="210" y="339"/>
                    <a:pt x="212" y="342"/>
                  </a:cubicBezTo>
                  <a:cubicBezTo>
                    <a:pt x="215" y="345"/>
                    <a:pt x="215" y="350"/>
                    <a:pt x="212" y="353"/>
                  </a:cubicBezTo>
                  <a:cubicBezTo>
                    <a:pt x="208" y="356"/>
                    <a:pt x="203" y="356"/>
                    <a:pt x="200" y="352"/>
                  </a:cubicBezTo>
                  <a:close/>
                  <a:moveTo>
                    <a:pt x="180" y="327"/>
                  </a:moveTo>
                  <a:lnTo>
                    <a:pt x="180" y="327"/>
                  </a:lnTo>
                  <a:cubicBezTo>
                    <a:pt x="177" y="323"/>
                    <a:pt x="178" y="318"/>
                    <a:pt x="182" y="316"/>
                  </a:cubicBezTo>
                  <a:cubicBezTo>
                    <a:pt x="185" y="313"/>
                    <a:pt x="190" y="314"/>
                    <a:pt x="193" y="317"/>
                  </a:cubicBezTo>
                  <a:cubicBezTo>
                    <a:pt x="196" y="321"/>
                    <a:pt x="195" y="326"/>
                    <a:pt x="191" y="328"/>
                  </a:cubicBezTo>
                  <a:cubicBezTo>
                    <a:pt x="188" y="331"/>
                    <a:pt x="183" y="330"/>
                    <a:pt x="180" y="327"/>
                  </a:cubicBezTo>
                  <a:close/>
                  <a:moveTo>
                    <a:pt x="160" y="304"/>
                  </a:moveTo>
                  <a:lnTo>
                    <a:pt x="160" y="304"/>
                  </a:lnTo>
                  <a:cubicBezTo>
                    <a:pt x="157" y="300"/>
                    <a:pt x="157" y="295"/>
                    <a:pt x="160" y="292"/>
                  </a:cubicBezTo>
                  <a:cubicBezTo>
                    <a:pt x="163" y="289"/>
                    <a:pt x="168" y="289"/>
                    <a:pt x="171" y="292"/>
                  </a:cubicBezTo>
                  <a:cubicBezTo>
                    <a:pt x="174" y="295"/>
                    <a:pt x="174" y="300"/>
                    <a:pt x="171" y="304"/>
                  </a:cubicBezTo>
                  <a:cubicBezTo>
                    <a:pt x="168" y="307"/>
                    <a:pt x="163" y="307"/>
                    <a:pt x="160" y="304"/>
                  </a:cubicBezTo>
                  <a:close/>
                  <a:moveTo>
                    <a:pt x="138" y="279"/>
                  </a:moveTo>
                  <a:lnTo>
                    <a:pt x="138" y="279"/>
                  </a:lnTo>
                  <a:cubicBezTo>
                    <a:pt x="135" y="276"/>
                    <a:pt x="136" y="271"/>
                    <a:pt x="139" y="268"/>
                  </a:cubicBezTo>
                  <a:cubicBezTo>
                    <a:pt x="142" y="265"/>
                    <a:pt x="148" y="265"/>
                    <a:pt x="150" y="269"/>
                  </a:cubicBezTo>
                  <a:cubicBezTo>
                    <a:pt x="153" y="272"/>
                    <a:pt x="153" y="277"/>
                    <a:pt x="150" y="280"/>
                  </a:cubicBezTo>
                  <a:cubicBezTo>
                    <a:pt x="146" y="283"/>
                    <a:pt x="141" y="282"/>
                    <a:pt x="138" y="279"/>
                  </a:cubicBezTo>
                  <a:close/>
                  <a:moveTo>
                    <a:pt x="117" y="259"/>
                  </a:moveTo>
                  <a:lnTo>
                    <a:pt x="117" y="259"/>
                  </a:lnTo>
                  <a:cubicBezTo>
                    <a:pt x="113" y="257"/>
                    <a:pt x="112" y="252"/>
                    <a:pt x="114" y="248"/>
                  </a:cubicBezTo>
                  <a:cubicBezTo>
                    <a:pt x="116" y="244"/>
                    <a:pt x="121" y="243"/>
                    <a:pt x="125" y="245"/>
                  </a:cubicBezTo>
                  <a:cubicBezTo>
                    <a:pt x="129" y="248"/>
                    <a:pt x="130" y="253"/>
                    <a:pt x="128" y="256"/>
                  </a:cubicBezTo>
                  <a:cubicBezTo>
                    <a:pt x="126" y="260"/>
                    <a:pt x="121" y="261"/>
                    <a:pt x="117" y="259"/>
                  </a:cubicBezTo>
                  <a:close/>
                  <a:moveTo>
                    <a:pt x="91" y="244"/>
                  </a:moveTo>
                  <a:lnTo>
                    <a:pt x="91" y="244"/>
                  </a:lnTo>
                  <a:cubicBezTo>
                    <a:pt x="87" y="242"/>
                    <a:pt x="85" y="238"/>
                    <a:pt x="86" y="234"/>
                  </a:cubicBezTo>
                  <a:cubicBezTo>
                    <a:pt x="87" y="230"/>
                    <a:pt x="92" y="227"/>
                    <a:pt x="96" y="229"/>
                  </a:cubicBezTo>
                  <a:cubicBezTo>
                    <a:pt x="100" y="230"/>
                    <a:pt x="102" y="234"/>
                    <a:pt x="101" y="239"/>
                  </a:cubicBezTo>
                  <a:cubicBezTo>
                    <a:pt x="100" y="243"/>
                    <a:pt x="95" y="245"/>
                    <a:pt x="91" y="244"/>
                  </a:cubicBezTo>
                  <a:close/>
                  <a:moveTo>
                    <a:pt x="60" y="235"/>
                  </a:moveTo>
                  <a:lnTo>
                    <a:pt x="60" y="235"/>
                  </a:lnTo>
                  <a:cubicBezTo>
                    <a:pt x="56" y="233"/>
                    <a:pt x="54" y="229"/>
                    <a:pt x="55" y="224"/>
                  </a:cubicBezTo>
                  <a:cubicBezTo>
                    <a:pt x="57" y="220"/>
                    <a:pt x="61" y="218"/>
                    <a:pt x="65" y="219"/>
                  </a:cubicBezTo>
                  <a:cubicBezTo>
                    <a:pt x="69" y="221"/>
                    <a:pt x="72" y="225"/>
                    <a:pt x="70" y="229"/>
                  </a:cubicBezTo>
                  <a:cubicBezTo>
                    <a:pt x="69" y="234"/>
                    <a:pt x="65" y="236"/>
                    <a:pt x="60" y="235"/>
                  </a:cubicBezTo>
                  <a:close/>
                  <a:moveTo>
                    <a:pt x="30" y="228"/>
                  </a:moveTo>
                  <a:lnTo>
                    <a:pt x="30" y="228"/>
                  </a:lnTo>
                  <a:cubicBezTo>
                    <a:pt x="26" y="227"/>
                    <a:pt x="23" y="223"/>
                    <a:pt x="24" y="218"/>
                  </a:cubicBezTo>
                  <a:cubicBezTo>
                    <a:pt x="25" y="214"/>
                    <a:pt x="29" y="211"/>
                    <a:pt x="33" y="212"/>
                  </a:cubicBezTo>
                  <a:cubicBezTo>
                    <a:pt x="38" y="213"/>
                    <a:pt x="40" y="217"/>
                    <a:pt x="39" y="222"/>
                  </a:cubicBezTo>
                  <a:cubicBezTo>
                    <a:pt x="39" y="226"/>
                    <a:pt x="34" y="229"/>
                    <a:pt x="30" y="228"/>
                  </a:cubicBezTo>
                  <a:close/>
                  <a:moveTo>
                    <a:pt x="1" y="207"/>
                  </a:moveTo>
                  <a:lnTo>
                    <a:pt x="1" y="207"/>
                  </a:lnTo>
                  <a:cubicBezTo>
                    <a:pt x="2" y="203"/>
                    <a:pt x="6" y="200"/>
                    <a:pt x="10" y="202"/>
                  </a:cubicBezTo>
                  <a:cubicBezTo>
                    <a:pt x="15" y="203"/>
                    <a:pt x="17" y="207"/>
                    <a:pt x="16" y="211"/>
                  </a:cubicBezTo>
                  <a:cubicBezTo>
                    <a:pt x="15" y="216"/>
                    <a:pt x="11" y="218"/>
                    <a:pt x="6" y="217"/>
                  </a:cubicBezTo>
                  <a:cubicBezTo>
                    <a:pt x="2" y="216"/>
                    <a:pt x="0" y="212"/>
                    <a:pt x="1" y="207"/>
                  </a:cubicBezTo>
                  <a:close/>
                  <a:moveTo>
                    <a:pt x="10" y="177"/>
                  </a:moveTo>
                  <a:lnTo>
                    <a:pt x="10" y="177"/>
                  </a:lnTo>
                  <a:cubicBezTo>
                    <a:pt x="12" y="172"/>
                    <a:pt x="16" y="170"/>
                    <a:pt x="20" y="171"/>
                  </a:cubicBezTo>
                  <a:cubicBezTo>
                    <a:pt x="25" y="172"/>
                    <a:pt x="27" y="176"/>
                    <a:pt x="26" y="181"/>
                  </a:cubicBezTo>
                  <a:cubicBezTo>
                    <a:pt x="25" y="185"/>
                    <a:pt x="20" y="188"/>
                    <a:pt x="16" y="186"/>
                  </a:cubicBezTo>
                  <a:cubicBezTo>
                    <a:pt x="12" y="185"/>
                    <a:pt x="9" y="181"/>
                    <a:pt x="10" y="177"/>
                  </a:cubicBezTo>
                  <a:close/>
                  <a:moveTo>
                    <a:pt x="16" y="147"/>
                  </a:moveTo>
                  <a:lnTo>
                    <a:pt x="16" y="147"/>
                  </a:lnTo>
                  <a:cubicBezTo>
                    <a:pt x="17" y="143"/>
                    <a:pt x="20" y="139"/>
                    <a:pt x="25" y="140"/>
                  </a:cubicBezTo>
                  <a:cubicBezTo>
                    <a:pt x="29" y="140"/>
                    <a:pt x="33" y="144"/>
                    <a:pt x="32" y="148"/>
                  </a:cubicBezTo>
                  <a:cubicBezTo>
                    <a:pt x="32" y="152"/>
                    <a:pt x="28" y="156"/>
                    <a:pt x="24" y="156"/>
                  </a:cubicBezTo>
                  <a:cubicBezTo>
                    <a:pt x="20" y="155"/>
                    <a:pt x="16" y="152"/>
                    <a:pt x="16" y="147"/>
                  </a:cubicBezTo>
                  <a:close/>
                  <a:moveTo>
                    <a:pt x="18" y="115"/>
                  </a:moveTo>
                  <a:lnTo>
                    <a:pt x="18" y="115"/>
                  </a:lnTo>
                  <a:cubicBezTo>
                    <a:pt x="18" y="111"/>
                    <a:pt x="22" y="107"/>
                    <a:pt x="27" y="108"/>
                  </a:cubicBezTo>
                  <a:cubicBezTo>
                    <a:pt x="31" y="108"/>
                    <a:pt x="34" y="112"/>
                    <a:pt x="34" y="116"/>
                  </a:cubicBezTo>
                  <a:cubicBezTo>
                    <a:pt x="34" y="120"/>
                    <a:pt x="30" y="124"/>
                    <a:pt x="26" y="124"/>
                  </a:cubicBezTo>
                  <a:cubicBezTo>
                    <a:pt x="21" y="123"/>
                    <a:pt x="18" y="120"/>
                    <a:pt x="18" y="115"/>
                  </a:cubicBezTo>
                  <a:close/>
                  <a:moveTo>
                    <a:pt x="30" y="83"/>
                  </a:moveTo>
                  <a:lnTo>
                    <a:pt x="30" y="83"/>
                  </a:lnTo>
                  <a:cubicBezTo>
                    <a:pt x="32" y="79"/>
                    <a:pt x="36" y="77"/>
                    <a:pt x="41" y="79"/>
                  </a:cubicBezTo>
                  <a:cubicBezTo>
                    <a:pt x="45" y="80"/>
                    <a:pt x="46" y="85"/>
                    <a:pt x="45" y="89"/>
                  </a:cubicBezTo>
                  <a:cubicBezTo>
                    <a:pt x="43" y="93"/>
                    <a:pt x="38" y="95"/>
                    <a:pt x="34" y="93"/>
                  </a:cubicBezTo>
                  <a:cubicBezTo>
                    <a:pt x="30" y="91"/>
                    <a:pt x="28" y="87"/>
                    <a:pt x="30" y="83"/>
                  </a:cubicBezTo>
                  <a:close/>
                </a:path>
              </a:pathLst>
            </a:custGeom>
            <a:solidFill>
              <a:srgbClr val="000000"/>
            </a:solidFill>
            <a:ln w="0" cap="flat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300" name="Freeform 267"/>
            <p:cNvSpPr>
              <a:spLocks/>
            </p:cNvSpPr>
            <p:nvPr/>
          </p:nvSpPr>
          <p:spPr bwMode="auto">
            <a:xfrm>
              <a:off x="5091" y="3169"/>
              <a:ext cx="175" cy="96"/>
            </a:xfrm>
            <a:custGeom>
              <a:avLst/>
              <a:gdLst>
                <a:gd name="T0" fmla="*/ 0 w 737"/>
                <a:gd name="T1" fmla="*/ 0 h 401"/>
                <a:gd name="T2" fmla="*/ 0 w 737"/>
                <a:gd name="T3" fmla="*/ 0 h 401"/>
                <a:gd name="T4" fmla="*/ 0 w 737"/>
                <a:gd name="T5" fmla="*/ 0 h 401"/>
                <a:gd name="T6" fmla="*/ 0 w 737"/>
                <a:gd name="T7" fmla="*/ 0 h 401"/>
                <a:gd name="T8" fmla="*/ 0 w 737"/>
                <a:gd name="T9" fmla="*/ 0 h 401"/>
                <a:gd name="T10" fmla="*/ 0 w 737"/>
                <a:gd name="T11" fmla="*/ 0 h 401"/>
                <a:gd name="T12" fmla="*/ 0 w 737"/>
                <a:gd name="T13" fmla="*/ 0 h 401"/>
                <a:gd name="T14" fmla="*/ 0 w 737"/>
                <a:gd name="T15" fmla="*/ 0 h 401"/>
                <a:gd name="T16" fmla="*/ 0 w 737"/>
                <a:gd name="T17" fmla="*/ 0 h 401"/>
                <a:gd name="T18" fmla="*/ 0 w 737"/>
                <a:gd name="T19" fmla="*/ 0 h 401"/>
                <a:gd name="T20" fmla="*/ 0 w 737"/>
                <a:gd name="T21" fmla="*/ 0 h 401"/>
                <a:gd name="T22" fmla="*/ 0 w 737"/>
                <a:gd name="T23" fmla="*/ 0 h 401"/>
                <a:gd name="T24" fmla="*/ 0 w 737"/>
                <a:gd name="T25" fmla="*/ 0 h 401"/>
                <a:gd name="T26" fmla="*/ 0 w 737"/>
                <a:gd name="T27" fmla="*/ 0 h 401"/>
                <a:gd name="T28" fmla="*/ 0 w 737"/>
                <a:gd name="T29" fmla="*/ 0 h 401"/>
                <a:gd name="T30" fmla="*/ 0 w 737"/>
                <a:gd name="T31" fmla="*/ 0 h 401"/>
                <a:gd name="T32" fmla="*/ 0 w 737"/>
                <a:gd name="T33" fmla="*/ 0 h 401"/>
                <a:gd name="T34" fmla="*/ 0 w 737"/>
                <a:gd name="T35" fmla="*/ 0 h 401"/>
                <a:gd name="T36" fmla="*/ 0 w 737"/>
                <a:gd name="T37" fmla="*/ 0 h 401"/>
                <a:gd name="T38" fmla="*/ 0 w 737"/>
                <a:gd name="T39" fmla="*/ 0 h 401"/>
                <a:gd name="T40" fmla="*/ 0 w 737"/>
                <a:gd name="T41" fmla="*/ 0 h 401"/>
                <a:gd name="T42" fmla="*/ 0 w 737"/>
                <a:gd name="T43" fmla="*/ 0 h 401"/>
                <a:gd name="T44" fmla="*/ 0 w 737"/>
                <a:gd name="T45" fmla="*/ 0 h 401"/>
                <a:gd name="T46" fmla="*/ 0 w 737"/>
                <a:gd name="T47" fmla="*/ 0 h 401"/>
                <a:gd name="T48" fmla="*/ 0 w 737"/>
                <a:gd name="T49" fmla="*/ 0 h 401"/>
                <a:gd name="T50" fmla="*/ 0 w 737"/>
                <a:gd name="T51" fmla="*/ 0 h 401"/>
                <a:gd name="T52" fmla="*/ 0 w 737"/>
                <a:gd name="T53" fmla="*/ 0 h 401"/>
                <a:gd name="T54" fmla="*/ 0 w 737"/>
                <a:gd name="T55" fmla="*/ 0 h 401"/>
                <a:gd name="T56" fmla="*/ 0 w 737"/>
                <a:gd name="T57" fmla="*/ 0 h 401"/>
                <a:gd name="T58" fmla="*/ 0 w 737"/>
                <a:gd name="T59" fmla="*/ 0 h 401"/>
                <a:gd name="T60" fmla="*/ 0 w 737"/>
                <a:gd name="T61" fmla="*/ 0 h 401"/>
                <a:gd name="T62" fmla="*/ 0 w 737"/>
                <a:gd name="T63" fmla="*/ 0 h 401"/>
                <a:gd name="T64" fmla="*/ 0 w 737"/>
                <a:gd name="T65" fmla="*/ 0 h 401"/>
                <a:gd name="T66" fmla="*/ 0 w 737"/>
                <a:gd name="T67" fmla="*/ 0 h 401"/>
                <a:gd name="T68" fmla="*/ 0 w 737"/>
                <a:gd name="T69" fmla="*/ 0 h 401"/>
                <a:gd name="T70" fmla="*/ 0 w 737"/>
                <a:gd name="T71" fmla="*/ 0 h 401"/>
                <a:gd name="T72" fmla="*/ 0 w 737"/>
                <a:gd name="T73" fmla="*/ 0 h 401"/>
                <a:gd name="T74" fmla="*/ 0 w 737"/>
                <a:gd name="T75" fmla="*/ 0 h 401"/>
                <a:gd name="T76" fmla="*/ 0 w 737"/>
                <a:gd name="T77" fmla="*/ 0 h 401"/>
                <a:gd name="T78" fmla="*/ 0 w 737"/>
                <a:gd name="T79" fmla="*/ 0 h 401"/>
                <a:gd name="T80" fmla="*/ 0 w 737"/>
                <a:gd name="T81" fmla="*/ 0 h 401"/>
                <a:gd name="T82" fmla="*/ 0 w 737"/>
                <a:gd name="T83" fmla="*/ 0 h 401"/>
                <a:gd name="T84" fmla="*/ 0 w 737"/>
                <a:gd name="T85" fmla="*/ 0 h 401"/>
                <a:gd name="T86" fmla="*/ 0 w 737"/>
                <a:gd name="T87" fmla="*/ 0 h 401"/>
                <a:gd name="T88" fmla="*/ 0 w 737"/>
                <a:gd name="T89" fmla="*/ 0 h 401"/>
                <a:gd name="T90" fmla="*/ 0 w 737"/>
                <a:gd name="T91" fmla="*/ 0 h 401"/>
                <a:gd name="T92" fmla="*/ 0 w 737"/>
                <a:gd name="T93" fmla="*/ 0 h 401"/>
                <a:gd name="T94" fmla="*/ 0 w 737"/>
                <a:gd name="T95" fmla="*/ 0 h 401"/>
                <a:gd name="T96" fmla="*/ 0 w 737"/>
                <a:gd name="T97" fmla="*/ 0 h 401"/>
                <a:gd name="T98" fmla="*/ 0 w 737"/>
                <a:gd name="T99" fmla="*/ 0 h 401"/>
                <a:gd name="T100" fmla="*/ 0 w 737"/>
                <a:gd name="T101" fmla="*/ 0 h 401"/>
                <a:gd name="T102" fmla="*/ 0 w 737"/>
                <a:gd name="T103" fmla="*/ 0 h 401"/>
                <a:gd name="T104" fmla="*/ 0 w 737"/>
                <a:gd name="T105" fmla="*/ 0 h 401"/>
                <a:gd name="T106" fmla="*/ 0 w 737"/>
                <a:gd name="T107" fmla="*/ 0 h 401"/>
                <a:gd name="T108" fmla="*/ 0 w 737"/>
                <a:gd name="T109" fmla="*/ 0 h 401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737"/>
                <a:gd name="T166" fmla="*/ 0 h 401"/>
                <a:gd name="T167" fmla="*/ 737 w 737"/>
                <a:gd name="T168" fmla="*/ 401 h 401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737" h="401">
                  <a:moveTo>
                    <a:pt x="19" y="205"/>
                  </a:moveTo>
                  <a:lnTo>
                    <a:pt x="41" y="223"/>
                  </a:lnTo>
                  <a:lnTo>
                    <a:pt x="37" y="221"/>
                  </a:lnTo>
                  <a:lnTo>
                    <a:pt x="51" y="224"/>
                  </a:lnTo>
                  <a:lnTo>
                    <a:pt x="47" y="224"/>
                  </a:lnTo>
                  <a:lnTo>
                    <a:pt x="69" y="217"/>
                  </a:lnTo>
                  <a:lnTo>
                    <a:pt x="65" y="220"/>
                  </a:lnTo>
                  <a:lnTo>
                    <a:pt x="88" y="187"/>
                  </a:lnTo>
                  <a:cubicBezTo>
                    <a:pt x="88" y="185"/>
                    <a:pt x="90" y="184"/>
                    <a:pt x="92" y="184"/>
                  </a:cubicBezTo>
                  <a:lnTo>
                    <a:pt x="125" y="172"/>
                  </a:lnTo>
                  <a:cubicBezTo>
                    <a:pt x="126" y="171"/>
                    <a:pt x="127" y="171"/>
                    <a:pt x="129" y="172"/>
                  </a:cubicBezTo>
                  <a:lnTo>
                    <a:pt x="156" y="177"/>
                  </a:lnTo>
                  <a:cubicBezTo>
                    <a:pt x="157" y="177"/>
                    <a:pt x="157" y="177"/>
                    <a:pt x="158" y="177"/>
                  </a:cubicBezTo>
                  <a:lnTo>
                    <a:pt x="185" y="189"/>
                  </a:lnTo>
                  <a:lnTo>
                    <a:pt x="179" y="189"/>
                  </a:lnTo>
                  <a:lnTo>
                    <a:pt x="206" y="179"/>
                  </a:lnTo>
                  <a:lnTo>
                    <a:pt x="201" y="184"/>
                  </a:lnTo>
                  <a:lnTo>
                    <a:pt x="210" y="152"/>
                  </a:lnTo>
                  <a:lnTo>
                    <a:pt x="210" y="155"/>
                  </a:lnTo>
                  <a:lnTo>
                    <a:pt x="208" y="130"/>
                  </a:lnTo>
                  <a:lnTo>
                    <a:pt x="206" y="108"/>
                  </a:lnTo>
                  <a:cubicBezTo>
                    <a:pt x="206" y="105"/>
                    <a:pt x="207" y="102"/>
                    <a:pt x="210" y="101"/>
                  </a:cubicBezTo>
                  <a:cubicBezTo>
                    <a:pt x="212" y="99"/>
                    <a:pt x="215" y="99"/>
                    <a:pt x="218" y="100"/>
                  </a:cubicBezTo>
                  <a:lnTo>
                    <a:pt x="245" y="115"/>
                  </a:lnTo>
                  <a:lnTo>
                    <a:pt x="243" y="115"/>
                  </a:lnTo>
                  <a:lnTo>
                    <a:pt x="265" y="119"/>
                  </a:lnTo>
                  <a:lnTo>
                    <a:pt x="261" y="120"/>
                  </a:lnTo>
                  <a:lnTo>
                    <a:pt x="274" y="115"/>
                  </a:lnTo>
                  <a:cubicBezTo>
                    <a:pt x="275" y="115"/>
                    <a:pt x="276" y="115"/>
                    <a:pt x="277" y="115"/>
                  </a:cubicBezTo>
                  <a:lnTo>
                    <a:pt x="376" y="125"/>
                  </a:lnTo>
                  <a:lnTo>
                    <a:pt x="374" y="125"/>
                  </a:lnTo>
                  <a:lnTo>
                    <a:pt x="431" y="118"/>
                  </a:lnTo>
                  <a:lnTo>
                    <a:pt x="429" y="118"/>
                  </a:lnTo>
                  <a:lnTo>
                    <a:pt x="547" y="79"/>
                  </a:lnTo>
                  <a:lnTo>
                    <a:pt x="725" y="1"/>
                  </a:lnTo>
                  <a:cubicBezTo>
                    <a:pt x="728" y="0"/>
                    <a:pt x="731" y="0"/>
                    <a:pt x="733" y="2"/>
                  </a:cubicBezTo>
                  <a:cubicBezTo>
                    <a:pt x="735" y="4"/>
                    <a:pt x="737" y="6"/>
                    <a:pt x="736" y="9"/>
                  </a:cubicBezTo>
                  <a:lnTo>
                    <a:pt x="735" y="24"/>
                  </a:lnTo>
                  <a:cubicBezTo>
                    <a:pt x="735" y="27"/>
                    <a:pt x="733" y="30"/>
                    <a:pt x="731" y="31"/>
                  </a:cubicBezTo>
                  <a:lnTo>
                    <a:pt x="690" y="50"/>
                  </a:lnTo>
                  <a:lnTo>
                    <a:pt x="692" y="48"/>
                  </a:lnTo>
                  <a:lnTo>
                    <a:pt x="647" y="86"/>
                  </a:lnTo>
                  <a:cubicBezTo>
                    <a:pt x="646" y="87"/>
                    <a:pt x="646" y="87"/>
                    <a:pt x="645" y="87"/>
                  </a:cubicBezTo>
                  <a:lnTo>
                    <a:pt x="586" y="120"/>
                  </a:lnTo>
                  <a:lnTo>
                    <a:pt x="589" y="117"/>
                  </a:lnTo>
                  <a:lnTo>
                    <a:pt x="579" y="137"/>
                  </a:lnTo>
                  <a:cubicBezTo>
                    <a:pt x="578" y="139"/>
                    <a:pt x="577" y="141"/>
                    <a:pt x="575" y="141"/>
                  </a:cubicBezTo>
                  <a:lnTo>
                    <a:pt x="565" y="146"/>
                  </a:lnTo>
                  <a:cubicBezTo>
                    <a:pt x="563" y="146"/>
                    <a:pt x="562" y="146"/>
                    <a:pt x="561" y="146"/>
                  </a:cubicBezTo>
                  <a:lnTo>
                    <a:pt x="542" y="144"/>
                  </a:lnTo>
                  <a:lnTo>
                    <a:pt x="548" y="142"/>
                  </a:lnTo>
                  <a:lnTo>
                    <a:pt x="530" y="160"/>
                  </a:lnTo>
                  <a:lnTo>
                    <a:pt x="532" y="156"/>
                  </a:lnTo>
                  <a:lnTo>
                    <a:pt x="528" y="183"/>
                  </a:lnTo>
                  <a:lnTo>
                    <a:pt x="526" y="177"/>
                  </a:lnTo>
                  <a:lnTo>
                    <a:pt x="586" y="253"/>
                  </a:lnTo>
                  <a:cubicBezTo>
                    <a:pt x="588" y="256"/>
                    <a:pt x="588" y="259"/>
                    <a:pt x="586" y="262"/>
                  </a:cubicBezTo>
                  <a:cubicBezTo>
                    <a:pt x="585" y="265"/>
                    <a:pt x="581" y="267"/>
                    <a:pt x="578" y="266"/>
                  </a:cubicBezTo>
                  <a:lnTo>
                    <a:pt x="541" y="259"/>
                  </a:lnTo>
                  <a:lnTo>
                    <a:pt x="543" y="259"/>
                  </a:lnTo>
                  <a:lnTo>
                    <a:pt x="525" y="262"/>
                  </a:lnTo>
                  <a:lnTo>
                    <a:pt x="529" y="260"/>
                  </a:lnTo>
                  <a:lnTo>
                    <a:pt x="516" y="272"/>
                  </a:lnTo>
                  <a:cubicBezTo>
                    <a:pt x="514" y="274"/>
                    <a:pt x="511" y="274"/>
                    <a:pt x="508" y="273"/>
                  </a:cubicBezTo>
                  <a:lnTo>
                    <a:pt x="486" y="263"/>
                  </a:lnTo>
                  <a:lnTo>
                    <a:pt x="489" y="264"/>
                  </a:lnTo>
                  <a:lnTo>
                    <a:pt x="454" y="263"/>
                  </a:lnTo>
                  <a:lnTo>
                    <a:pt x="460" y="261"/>
                  </a:lnTo>
                  <a:lnTo>
                    <a:pt x="446" y="274"/>
                  </a:lnTo>
                  <a:lnTo>
                    <a:pt x="448" y="269"/>
                  </a:lnTo>
                  <a:lnTo>
                    <a:pt x="445" y="292"/>
                  </a:lnTo>
                  <a:cubicBezTo>
                    <a:pt x="445" y="293"/>
                    <a:pt x="445" y="294"/>
                    <a:pt x="444" y="294"/>
                  </a:cubicBezTo>
                  <a:lnTo>
                    <a:pt x="437" y="310"/>
                  </a:lnTo>
                  <a:cubicBezTo>
                    <a:pt x="436" y="312"/>
                    <a:pt x="433" y="314"/>
                    <a:pt x="430" y="314"/>
                  </a:cubicBezTo>
                  <a:lnTo>
                    <a:pt x="412" y="316"/>
                  </a:lnTo>
                  <a:lnTo>
                    <a:pt x="416" y="315"/>
                  </a:lnTo>
                  <a:lnTo>
                    <a:pt x="402" y="325"/>
                  </a:lnTo>
                  <a:cubicBezTo>
                    <a:pt x="401" y="326"/>
                    <a:pt x="400" y="326"/>
                    <a:pt x="399" y="326"/>
                  </a:cubicBezTo>
                  <a:lnTo>
                    <a:pt x="382" y="331"/>
                  </a:lnTo>
                  <a:lnTo>
                    <a:pt x="384" y="330"/>
                  </a:lnTo>
                  <a:lnTo>
                    <a:pt x="348" y="348"/>
                  </a:lnTo>
                  <a:cubicBezTo>
                    <a:pt x="347" y="349"/>
                    <a:pt x="346" y="349"/>
                    <a:pt x="345" y="349"/>
                  </a:cubicBezTo>
                  <a:lnTo>
                    <a:pt x="327" y="351"/>
                  </a:lnTo>
                  <a:lnTo>
                    <a:pt x="271" y="354"/>
                  </a:lnTo>
                  <a:lnTo>
                    <a:pt x="275" y="353"/>
                  </a:lnTo>
                  <a:lnTo>
                    <a:pt x="246" y="371"/>
                  </a:lnTo>
                  <a:lnTo>
                    <a:pt x="250" y="365"/>
                  </a:lnTo>
                  <a:lnTo>
                    <a:pt x="250" y="382"/>
                  </a:lnTo>
                  <a:lnTo>
                    <a:pt x="248" y="377"/>
                  </a:lnTo>
                  <a:lnTo>
                    <a:pt x="256" y="388"/>
                  </a:lnTo>
                  <a:cubicBezTo>
                    <a:pt x="258" y="390"/>
                    <a:pt x="258" y="394"/>
                    <a:pt x="257" y="396"/>
                  </a:cubicBezTo>
                  <a:cubicBezTo>
                    <a:pt x="255" y="399"/>
                    <a:pt x="252" y="401"/>
                    <a:pt x="249" y="400"/>
                  </a:cubicBezTo>
                  <a:lnTo>
                    <a:pt x="222" y="399"/>
                  </a:lnTo>
                  <a:cubicBezTo>
                    <a:pt x="219" y="398"/>
                    <a:pt x="216" y="397"/>
                    <a:pt x="215" y="394"/>
                  </a:cubicBezTo>
                  <a:lnTo>
                    <a:pt x="201" y="365"/>
                  </a:lnTo>
                  <a:lnTo>
                    <a:pt x="206" y="370"/>
                  </a:lnTo>
                  <a:lnTo>
                    <a:pt x="193" y="367"/>
                  </a:lnTo>
                  <a:lnTo>
                    <a:pt x="195" y="367"/>
                  </a:lnTo>
                  <a:lnTo>
                    <a:pt x="151" y="374"/>
                  </a:lnTo>
                  <a:cubicBezTo>
                    <a:pt x="150" y="374"/>
                    <a:pt x="149" y="374"/>
                    <a:pt x="148" y="374"/>
                  </a:cubicBezTo>
                  <a:lnTo>
                    <a:pt x="115" y="365"/>
                  </a:lnTo>
                  <a:lnTo>
                    <a:pt x="81" y="351"/>
                  </a:lnTo>
                  <a:lnTo>
                    <a:pt x="48" y="335"/>
                  </a:lnTo>
                  <a:cubicBezTo>
                    <a:pt x="46" y="334"/>
                    <a:pt x="44" y="331"/>
                    <a:pt x="44" y="329"/>
                  </a:cubicBezTo>
                  <a:lnTo>
                    <a:pt x="39" y="300"/>
                  </a:lnTo>
                  <a:lnTo>
                    <a:pt x="42" y="305"/>
                  </a:lnTo>
                  <a:lnTo>
                    <a:pt x="21" y="290"/>
                  </a:lnTo>
                  <a:cubicBezTo>
                    <a:pt x="19" y="288"/>
                    <a:pt x="18" y="285"/>
                    <a:pt x="18" y="282"/>
                  </a:cubicBezTo>
                  <a:lnTo>
                    <a:pt x="20" y="268"/>
                  </a:lnTo>
                  <a:lnTo>
                    <a:pt x="21" y="272"/>
                  </a:lnTo>
                  <a:lnTo>
                    <a:pt x="1" y="230"/>
                  </a:lnTo>
                  <a:cubicBezTo>
                    <a:pt x="0" y="228"/>
                    <a:pt x="0" y="226"/>
                    <a:pt x="1" y="224"/>
                  </a:cubicBezTo>
                  <a:lnTo>
                    <a:pt x="7" y="207"/>
                  </a:lnTo>
                  <a:lnTo>
                    <a:pt x="22" y="213"/>
                  </a:lnTo>
                  <a:lnTo>
                    <a:pt x="16" y="229"/>
                  </a:lnTo>
                  <a:lnTo>
                    <a:pt x="16" y="223"/>
                  </a:lnTo>
                  <a:lnTo>
                    <a:pt x="35" y="266"/>
                  </a:lnTo>
                  <a:cubicBezTo>
                    <a:pt x="36" y="267"/>
                    <a:pt x="36" y="269"/>
                    <a:pt x="36" y="270"/>
                  </a:cubicBezTo>
                  <a:lnTo>
                    <a:pt x="34" y="285"/>
                  </a:lnTo>
                  <a:lnTo>
                    <a:pt x="31" y="277"/>
                  </a:lnTo>
                  <a:lnTo>
                    <a:pt x="52" y="293"/>
                  </a:lnTo>
                  <a:cubicBezTo>
                    <a:pt x="53" y="294"/>
                    <a:pt x="55" y="296"/>
                    <a:pt x="55" y="298"/>
                  </a:cubicBezTo>
                  <a:lnTo>
                    <a:pt x="60" y="326"/>
                  </a:lnTo>
                  <a:lnTo>
                    <a:pt x="56" y="320"/>
                  </a:lnTo>
                  <a:lnTo>
                    <a:pt x="87" y="336"/>
                  </a:lnTo>
                  <a:lnTo>
                    <a:pt x="119" y="349"/>
                  </a:lnTo>
                  <a:lnTo>
                    <a:pt x="152" y="359"/>
                  </a:lnTo>
                  <a:lnTo>
                    <a:pt x="149" y="358"/>
                  </a:lnTo>
                  <a:lnTo>
                    <a:pt x="193" y="351"/>
                  </a:lnTo>
                  <a:cubicBezTo>
                    <a:pt x="194" y="351"/>
                    <a:pt x="195" y="351"/>
                    <a:pt x="196" y="351"/>
                  </a:cubicBezTo>
                  <a:lnTo>
                    <a:pt x="209" y="354"/>
                  </a:lnTo>
                  <a:cubicBezTo>
                    <a:pt x="212" y="355"/>
                    <a:pt x="214" y="356"/>
                    <a:pt x="215" y="358"/>
                  </a:cubicBezTo>
                  <a:lnTo>
                    <a:pt x="229" y="387"/>
                  </a:lnTo>
                  <a:lnTo>
                    <a:pt x="223" y="383"/>
                  </a:lnTo>
                  <a:lnTo>
                    <a:pt x="250" y="384"/>
                  </a:lnTo>
                  <a:lnTo>
                    <a:pt x="243" y="397"/>
                  </a:lnTo>
                  <a:lnTo>
                    <a:pt x="235" y="387"/>
                  </a:lnTo>
                  <a:cubicBezTo>
                    <a:pt x="234" y="385"/>
                    <a:pt x="234" y="384"/>
                    <a:pt x="234" y="382"/>
                  </a:cubicBezTo>
                  <a:lnTo>
                    <a:pt x="234" y="365"/>
                  </a:lnTo>
                  <a:cubicBezTo>
                    <a:pt x="234" y="362"/>
                    <a:pt x="235" y="359"/>
                    <a:pt x="237" y="358"/>
                  </a:cubicBezTo>
                  <a:lnTo>
                    <a:pt x="267" y="339"/>
                  </a:lnTo>
                  <a:cubicBezTo>
                    <a:pt x="268" y="338"/>
                    <a:pt x="269" y="338"/>
                    <a:pt x="271" y="338"/>
                  </a:cubicBezTo>
                  <a:lnTo>
                    <a:pt x="325" y="335"/>
                  </a:lnTo>
                  <a:lnTo>
                    <a:pt x="344" y="333"/>
                  </a:lnTo>
                  <a:lnTo>
                    <a:pt x="341" y="334"/>
                  </a:lnTo>
                  <a:lnTo>
                    <a:pt x="377" y="316"/>
                  </a:lnTo>
                  <a:cubicBezTo>
                    <a:pt x="377" y="315"/>
                    <a:pt x="378" y="315"/>
                    <a:pt x="378" y="315"/>
                  </a:cubicBezTo>
                  <a:lnTo>
                    <a:pt x="395" y="311"/>
                  </a:lnTo>
                  <a:lnTo>
                    <a:pt x="392" y="312"/>
                  </a:lnTo>
                  <a:lnTo>
                    <a:pt x="407" y="302"/>
                  </a:lnTo>
                  <a:cubicBezTo>
                    <a:pt x="408" y="301"/>
                    <a:pt x="409" y="300"/>
                    <a:pt x="411" y="300"/>
                  </a:cubicBezTo>
                  <a:lnTo>
                    <a:pt x="429" y="298"/>
                  </a:lnTo>
                  <a:lnTo>
                    <a:pt x="422" y="303"/>
                  </a:lnTo>
                  <a:lnTo>
                    <a:pt x="430" y="287"/>
                  </a:lnTo>
                  <a:lnTo>
                    <a:pt x="429" y="290"/>
                  </a:lnTo>
                  <a:lnTo>
                    <a:pt x="432" y="267"/>
                  </a:lnTo>
                  <a:cubicBezTo>
                    <a:pt x="432" y="265"/>
                    <a:pt x="433" y="263"/>
                    <a:pt x="435" y="262"/>
                  </a:cubicBezTo>
                  <a:lnTo>
                    <a:pt x="449" y="249"/>
                  </a:lnTo>
                  <a:cubicBezTo>
                    <a:pt x="450" y="247"/>
                    <a:pt x="452" y="247"/>
                    <a:pt x="454" y="247"/>
                  </a:cubicBezTo>
                  <a:lnTo>
                    <a:pt x="489" y="248"/>
                  </a:lnTo>
                  <a:cubicBezTo>
                    <a:pt x="490" y="248"/>
                    <a:pt x="491" y="248"/>
                    <a:pt x="492" y="249"/>
                  </a:cubicBezTo>
                  <a:lnTo>
                    <a:pt x="514" y="258"/>
                  </a:lnTo>
                  <a:lnTo>
                    <a:pt x="506" y="260"/>
                  </a:lnTo>
                  <a:lnTo>
                    <a:pt x="518" y="248"/>
                  </a:lnTo>
                  <a:cubicBezTo>
                    <a:pt x="520" y="247"/>
                    <a:pt x="521" y="246"/>
                    <a:pt x="523" y="246"/>
                  </a:cubicBezTo>
                  <a:lnTo>
                    <a:pt x="541" y="243"/>
                  </a:lnTo>
                  <a:cubicBezTo>
                    <a:pt x="542" y="243"/>
                    <a:pt x="543" y="243"/>
                    <a:pt x="544" y="243"/>
                  </a:cubicBezTo>
                  <a:lnTo>
                    <a:pt x="581" y="250"/>
                  </a:lnTo>
                  <a:lnTo>
                    <a:pt x="573" y="263"/>
                  </a:lnTo>
                  <a:lnTo>
                    <a:pt x="513" y="186"/>
                  </a:lnTo>
                  <a:cubicBezTo>
                    <a:pt x="512" y="185"/>
                    <a:pt x="511" y="182"/>
                    <a:pt x="512" y="180"/>
                  </a:cubicBezTo>
                  <a:lnTo>
                    <a:pt x="516" y="153"/>
                  </a:lnTo>
                  <a:cubicBezTo>
                    <a:pt x="516" y="151"/>
                    <a:pt x="517" y="150"/>
                    <a:pt x="518" y="149"/>
                  </a:cubicBezTo>
                  <a:lnTo>
                    <a:pt x="537" y="130"/>
                  </a:lnTo>
                  <a:cubicBezTo>
                    <a:pt x="539" y="129"/>
                    <a:pt x="541" y="128"/>
                    <a:pt x="543" y="128"/>
                  </a:cubicBezTo>
                  <a:lnTo>
                    <a:pt x="563" y="130"/>
                  </a:lnTo>
                  <a:lnTo>
                    <a:pt x="558" y="131"/>
                  </a:lnTo>
                  <a:lnTo>
                    <a:pt x="569" y="127"/>
                  </a:lnTo>
                  <a:lnTo>
                    <a:pt x="565" y="130"/>
                  </a:lnTo>
                  <a:lnTo>
                    <a:pt x="575" y="110"/>
                  </a:lnTo>
                  <a:cubicBezTo>
                    <a:pt x="576" y="108"/>
                    <a:pt x="577" y="107"/>
                    <a:pt x="578" y="106"/>
                  </a:cubicBezTo>
                  <a:lnTo>
                    <a:pt x="638" y="73"/>
                  </a:lnTo>
                  <a:lnTo>
                    <a:pt x="636" y="74"/>
                  </a:lnTo>
                  <a:lnTo>
                    <a:pt x="682" y="36"/>
                  </a:lnTo>
                  <a:cubicBezTo>
                    <a:pt x="682" y="36"/>
                    <a:pt x="683" y="35"/>
                    <a:pt x="684" y="35"/>
                  </a:cubicBezTo>
                  <a:lnTo>
                    <a:pt x="724" y="16"/>
                  </a:lnTo>
                  <a:lnTo>
                    <a:pt x="719" y="23"/>
                  </a:lnTo>
                  <a:lnTo>
                    <a:pt x="720" y="8"/>
                  </a:lnTo>
                  <a:lnTo>
                    <a:pt x="732" y="16"/>
                  </a:lnTo>
                  <a:lnTo>
                    <a:pt x="552" y="95"/>
                  </a:lnTo>
                  <a:lnTo>
                    <a:pt x="434" y="133"/>
                  </a:lnTo>
                  <a:cubicBezTo>
                    <a:pt x="434" y="134"/>
                    <a:pt x="433" y="134"/>
                    <a:pt x="433" y="134"/>
                  </a:cubicBezTo>
                  <a:lnTo>
                    <a:pt x="376" y="141"/>
                  </a:lnTo>
                  <a:cubicBezTo>
                    <a:pt x="375" y="141"/>
                    <a:pt x="375" y="141"/>
                    <a:pt x="374" y="141"/>
                  </a:cubicBezTo>
                  <a:lnTo>
                    <a:pt x="276" y="131"/>
                  </a:lnTo>
                  <a:lnTo>
                    <a:pt x="279" y="131"/>
                  </a:lnTo>
                  <a:lnTo>
                    <a:pt x="266" y="135"/>
                  </a:lnTo>
                  <a:cubicBezTo>
                    <a:pt x="265" y="135"/>
                    <a:pt x="263" y="135"/>
                    <a:pt x="262" y="135"/>
                  </a:cubicBezTo>
                  <a:lnTo>
                    <a:pt x="240" y="130"/>
                  </a:lnTo>
                  <a:cubicBezTo>
                    <a:pt x="239" y="130"/>
                    <a:pt x="238" y="130"/>
                    <a:pt x="237" y="129"/>
                  </a:cubicBezTo>
                  <a:lnTo>
                    <a:pt x="210" y="114"/>
                  </a:lnTo>
                  <a:lnTo>
                    <a:pt x="222" y="107"/>
                  </a:lnTo>
                  <a:lnTo>
                    <a:pt x="224" y="129"/>
                  </a:lnTo>
                  <a:lnTo>
                    <a:pt x="226" y="154"/>
                  </a:lnTo>
                  <a:cubicBezTo>
                    <a:pt x="226" y="155"/>
                    <a:pt x="226" y="156"/>
                    <a:pt x="226" y="157"/>
                  </a:cubicBezTo>
                  <a:lnTo>
                    <a:pt x="216" y="188"/>
                  </a:lnTo>
                  <a:cubicBezTo>
                    <a:pt x="215" y="191"/>
                    <a:pt x="214" y="193"/>
                    <a:pt x="211" y="194"/>
                  </a:cubicBezTo>
                  <a:lnTo>
                    <a:pt x="185" y="204"/>
                  </a:lnTo>
                  <a:cubicBezTo>
                    <a:pt x="183" y="205"/>
                    <a:pt x="181" y="205"/>
                    <a:pt x="179" y="204"/>
                  </a:cubicBezTo>
                  <a:lnTo>
                    <a:pt x="151" y="192"/>
                  </a:lnTo>
                  <a:lnTo>
                    <a:pt x="153" y="193"/>
                  </a:lnTo>
                  <a:lnTo>
                    <a:pt x="126" y="187"/>
                  </a:lnTo>
                  <a:lnTo>
                    <a:pt x="130" y="187"/>
                  </a:lnTo>
                  <a:lnTo>
                    <a:pt x="97" y="199"/>
                  </a:lnTo>
                  <a:lnTo>
                    <a:pt x="101" y="196"/>
                  </a:lnTo>
                  <a:lnTo>
                    <a:pt x="78" y="229"/>
                  </a:lnTo>
                  <a:cubicBezTo>
                    <a:pt x="77" y="231"/>
                    <a:pt x="76" y="232"/>
                    <a:pt x="74" y="232"/>
                  </a:cubicBezTo>
                  <a:lnTo>
                    <a:pt x="52" y="239"/>
                  </a:lnTo>
                  <a:cubicBezTo>
                    <a:pt x="51" y="240"/>
                    <a:pt x="49" y="240"/>
                    <a:pt x="48" y="240"/>
                  </a:cubicBezTo>
                  <a:lnTo>
                    <a:pt x="34" y="237"/>
                  </a:lnTo>
                  <a:cubicBezTo>
                    <a:pt x="33" y="237"/>
                    <a:pt x="32" y="236"/>
                    <a:pt x="31" y="235"/>
                  </a:cubicBezTo>
                  <a:lnTo>
                    <a:pt x="9" y="218"/>
                  </a:lnTo>
                  <a:lnTo>
                    <a:pt x="19" y="205"/>
                  </a:lnTo>
                  <a:close/>
                </a:path>
              </a:pathLst>
            </a:custGeom>
            <a:solidFill>
              <a:srgbClr val="000000"/>
            </a:solidFill>
            <a:ln w="0" cap="flat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301" name="Rectangle 268"/>
            <p:cNvSpPr>
              <a:spLocks noChangeArrowheads="1"/>
            </p:cNvSpPr>
            <p:nvPr/>
          </p:nvSpPr>
          <p:spPr bwMode="auto">
            <a:xfrm>
              <a:off x="5151" y="3205"/>
              <a:ext cx="44" cy="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sz="400" b="1">
                  <a:solidFill>
                    <a:srgbClr val="000000"/>
                  </a:solidFill>
                </a:rPr>
                <a:t>CY</a:t>
              </a:r>
              <a:endParaRPr lang="de-DE"/>
            </a:p>
          </p:txBody>
        </p:sp>
      </p:grpSp>
      <p:sp>
        <p:nvSpPr>
          <p:cNvPr id="7177" name="AutoShape 9"/>
          <p:cNvSpPr>
            <a:spLocks noChangeAspect="1" noChangeArrowheads="1"/>
          </p:cNvSpPr>
          <p:nvPr/>
        </p:nvSpPr>
        <p:spPr bwMode="auto">
          <a:xfrm>
            <a:off x="3132138" y="620713"/>
            <a:ext cx="5826125" cy="426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500767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6"/>
          <p:cNvSpPr>
            <a:spLocks noGrp="1" noChangeArrowheads="1"/>
          </p:cNvSpPr>
          <p:nvPr>
            <p:ph type="sldNum" sz="quarter" idx="4294967295"/>
          </p:nvPr>
        </p:nvSpPr>
        <p:spPr>
          <a:xfrm>
            <a:off x="6626225" y="6535738"/>
            <a:ext cx="1828800" cy="2286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dirty="0" smtClean="0">
                <a:latin typeface="Verdana" pitchFamily="34" charset="0"/>
              </a:rPr>
              <a:t> </a:t>
            </a:r>
            <a:endParaRPr lang="de-DE" dirty="0" smtClean="0">
              <a:latin typeface="Verdana" pitchFamily="34" charset="0"/>
            </a:endParaRPr>
          </a:p>
        </p:txBody>
      </p:sp>
      <p:pic>
        <p:nvPicPr>
          <p:cNvPr id="13315" name="Picture 10" descr="feld_0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10139" b="54794"/>
          <a:stretch>
            <a:fillRect/>
          </a:stretch>
        </p:blipFill>
        <p:spPr bwMode="auto">
          <a:xfrm>
            <a:off x="5924550" y="2039938"/>
            <a:ext cx="3317875" cy="1860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16" name="Picture 9" descr="feld_0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4805" r="-7986" b="-2759"/>
          <a:stretch>
            <a:fillRect/>
          </a:stretch>
        </p:blipFill>
        <p:spPr bwMode="auto">
          <a:xfrm>
            <a:off x="5924550" y="3702050"/>
            <a:ext cx="3255963" cy="1963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7" name="Rectangle 4"/>
          <p:cNvSpPr>
            <a:spLocks noChangeArrowheads="1"/>
          </p:cNvSpPr>
          <p:nvPr/>
        </p:nvSpPr>
        <p:spPr bwMode="auto">
          <a:xfrm>
            <a:off x="5924550" y="2205038"/>
            <a:ext cx="2941638" cy="3232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137160" rIns="182880" bIns="137160"/>
          <a:lstStyle/>
          <a:p>
            <a:pPr marL="474663" lvl="4" indent="-185738">
              <a:lnSpc>
                <a:spcPts val="1400"/>
              </a:lnSpc>
              <a:buClr>
                <a:schemeClr val="tx2"/>
              </a:buClr>
              <a:buSzPct val="120000"/>
              <a:buFont typeface="Verdana" pitchFamily="34" charset="0"/>
              <a:buChar char="•"/>
            </a:pPr>
            <a:r>
              <a:rPr lang="en-US" sz="1100">
                <a:latin typeface="Verdana" pitchFamily="34" charset="0"/>
              </a:rPr>
              <a:t>TSC nabízí </a:t>
            </a:r>
            <a:r>
              <a:rPr lang="cs-CZ" sz="1100">
                <a:latin typeface="Verdana" pitchFamily="34" charset="0"/>
              </a:rPr>
              <a:t>integrovaná </a:t>
            </a:r>
            <a:r>
              <a:rPr lang="en-US" sz="1100">
                <a:latin typeface="Verdana" pitchFamily="34" charset="0"/>
              </a:rPr>
              <a:t>v</a:t>
            </a:r>
            <a:r>
              <a:rPr lang="cs-CZ" sz="1100">
                <a:latin typeface="Verdana" pitchFamily="34" charset="0"/>
              </a:rPr>
              <a:t>ý</a:t>
            </a:r>
            <a:r>
              <a:rPr lang="en-US" sz="1100">
                <a:latin typeface="Verdana" pitchFamily="34" charset="0"/>
              </a:rPr>
              <a:t>stupní </a:t>
            </a:r>
            <a:r>
              <a:rPr lang="cs-CZ" sz="1100">
                <a:latin typeface="Verdana" pitchFamily="34" charset="0"/>
              </a:rPr>
              <a:t>data, </a:t>
            </a:r>
            <a:r>
              <a:rPr lang="en-US" sz="1100">
                <a:latin typeface="Verdana" pitchFamily="34" charset="0"/>
              </a:rPr>
              <a:t>což je užitečné pro provozovatele </a:t>
            </a:r>
            <a:r>
              <a:rPr lang="cs-CZ" sz="1100">
                <a:latin typeface="Verdana" pitchFamily="34" charset="0"/>
              </a:rPr>
              <a:t>PS</a:t>
            </a:r>
            <a:r>
              <a:rPr lang="en-US" sz="1100">
                <a:latin typeface="Verdana" pitchFamily="34" charset="0"/>
              </a:rPr>
              <a:t> </a:t>
            </a:r>
            <a:r>
              <a:rPr lang="cs-CZ" sz="1100">
                <a:latin typeface="Verdana" pitchFamily="34" charset="0"/>
              </a:rPr>
              <a:t>i</a:t>
            </a:r>
            <a:r>
              <a:rPr lang="en-US" sz="1100">
                <a:latin typeface="Verdana" pitchFamily="34" charset="0"/>
              </a:rPr>
              <a:t> pro </a:t>
            </a:r>
            <a:r>
              <a:rPr lang="cs-CZ" sz="1100">
                <a:latin typeface="Verdana" pitchFamily="34" charset="0"/>
              </a:rPr>
              <a:t>další </a:t>
            </a:r>
            <a:r>
              <a:rPr lang="en-US" sz="1100">
                <a:latin typeface="Verdana" pitchFamily="34" charset="0"/>
              </a:rPr>
              <a:t>stávající bezpečnostní </a:t>
            </a:r>
            <a:r>
              <a:rPr lang="cs-CZ" sz="1100">
                <a:latin typeface="Verdana" pitchFamily="34" charset="0"/>
              </a:rPr>
              <a:t>iniciativy</a:t>
            </a:r>
            <a:r>
              <a:rPr lang="en-US" sz="1100">
                <a:latin typeface="Verdana" pitchFamily="34" charset="0"/>
              </a:rPr>
              <a:t> (centralizované, decentralizované ...)</a:t>
            </a:r>
            <a:endParaRPr lang="cs-CZ" sz="1100">
              <a:latin typeface="Verdana" pitchFamily="34" charset="0"/>
            </a:endParaRPr>
          </a:p>
          <a:p>
            <a:pPr marL="474663" lvl="4" indent="-185738">
              <a:lnSpc>
                <a:spcPts val="1400"/>
              </a:lnSpc>
              <a:buClr>
                <a:schemeClr val="tx2"/>
              </a:buClr>
              <a:buSzPct val="120000"/>
              <a:buFont typeface="Verdana" pitchFamily="34" charset="0"/>
              <a:buChar char="•"/>
            </a:pPr>
            <a:endParaRPr lang="en-US" sz="1100">
              <a:latin typeface="Verdana" pitchFamily="34" charset="0"/>
            </a:endParaRPr>
          </a:p>
          <a:p>
            <a:pPr marL="474663" lvl="4" indent="-185738">
              <a:lnSpc>
                <a:spcPts val="1400"/>
              </a:lnSpc>
              <a:spcAft>
                <a:spcPts val="300"/>
              </a:spcAft>
              <a:buClr>
                <a:schemeClr val="tx2"/>
              </a:buClr>
              <a:buSzPct val="120000"/>
              <a:buFont typeface="Verdana" pitchFamily="34" charset="0"/>
              <a:buChar char="•"/>
            </a:pPr>
            <a:r>
              <a:rPr lang="en-US" sz="1100">
                <a:latin typeface="Verdana" pitchFamily="34" charset="0"/>
              </a:rPr>
              <a:t>TSC je kompatibilní se všemi organizační</a:t>
            </a:r>
            <a:r>
              <a:rPr lang="cs-CZ" sz="1100">
                <a:latin typeface="Verdana" pitchFamily="34" charset="0"/>
              </a:rPr>
              <a:t>mi </a:t>
            </a:r>
            <a:r>
              <a:rPr lang="en-US" sz="1100">
                <a:latin typeface="Verdana" pitchFamily="34" charset="0"/>
              </a:rPr>
              <a:t>form</a:t>
            </a:r>
            <a:r>
              <a:rPr lang="cs-CZ" sz="1100">
                <a:latin typeface="Verdana" pitchFamily="34" charset="0"/>
              </a:rPr>
              <a:t>ami </a:t>
            </a:r>
            <a:r>
              <a:rPr lang="en-US" sz="1100">
                <a:latin typeface="Verdana" pitchFamily="34" charset="0"/>
              </a:rPr>
              <a:t>(</a:t>
            </a:r>
            <a:r>
              <a:rPr lang="cs-CZ" sz="1100">
                <a:latin typeface="Verdana" pitchFamily="34" charset="0"/>
              </a:rPr>
              <a:t>mezi dalšími </a:t>
            </a:r>
            <a:r>
              <a:rPr lang="en-US" sz="1100">
                <a:latin typeface="Verdana" pitchFamily="34" charset="0"/>
              </a:rPr>
              <a:t>TSO) </a:t>
            </a:r>
            <a:r>
              <a:rPr lang="cs-CZ" sz="1100">
                <a:latin typeface="Verdana" pitchFamily="34" charset="0"/>
              </a:rPr>
              <a:t>v Evropě</a:t>
            </a:r>
          </a:p>
          <a:p>
            <a:pPr marL="474663" lvl="4" indent="-185738">
              <a:lnSpc>
                <a:spcPts val="1400"/>
              </a:lnSpc>
              <a:spcAft>
                <a:spcPts val="300"/>
              </a:spcAft>
              <a:buClr>
                <a:schemeClr val="tx2"/>
              </a:buClr>
              <a:buSzPct val="120000"/>
              <a:buFont typeface="Verdana" pitchFamily="34" charset="0"/>
              <a:buChar char="•"/>
            </a:pPr>
            <a:endParaRPr lang="en-US" sz="1100">
              <a:latin typeface="Verdana" pitchFamily="34" charset="0"/>
            </a:endParaRPr>
          </a:p>
          <a:p>
            <a:pPr marL="474663" lvl="4" indent="-185738">
              <a:lnSpc>
                <a:spcPts val="1400"/>
              </a:lnSpc>
              <a:spcAft>
                <a:spcPts val="300"/>
              </a:spcAft>
              <a:buClr>
                <a:schemeClr val="tx2"/>
              </a:buClr>
              <a:buSzPct val="120000"/>
              <a:buFont typeface="Verdana" pitchFamily="34" charset="0"/>
              <a:buChar char="•"/>
            </a:pPr>
            <a:r>
              <a:rPr lang="en-US" sz="1100">
                <a:latin typeface="Verdana" pitchFamily="34" charset="0"/>
              </a:rPr>
              <a:t>TSC je rozšiřiteln</a:t>
            </a:r>
            <a:r>
              <a:rPr lang="cs-CZ" sz="1100">
                <a:latin typeface="Verdana" pitchFamily="34" charset="0"/>
              </a:rPr>
              <a:t>é v případě zájmu </a:t>
            </a:r>
            <a:r>
              <a:rPr lang="en-US" sz="1100">
                <a:latin typeface="Verdana" pitchFamily="34" charset="0"/>
              </a:rPr>
              <a:t> ostatních provozovatelů přenosových soustav (i v jiných oblastech synchronní</a:t>
            </a:r>
            <a:r>
              <a:rPr lang="cs-CZ" sz="1100">
                <a:latin typeface="Verdana" pitchFamily="34" charset="0"/>
              </a:rPr>
              <a:t> části evropské soustavy</a:t>
            </a:r>
            <a:r>
              <a:rPr lang="en-US" sz="1100">
                <a:latin typeface="Verdana" pitchFamily="34" charset="0"/>
              </a:rPr>
              <a:t>)</a:t>
            </a:r>
          </a:p>
        </p:txBody>
      </p:sp>
      <p:pic>
        <p:nvPicPr>
          <p:cNvPr id="13318" name="Picture 4" descr="img_tsc_it_platform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8750" y="2039938"/>
            <a:ext cx="3746500" cy="3603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2"/>
          <p:cNvSpPr txBox="1">
            <a:spLocks noChangeArrowheads="1"/>
          </p:cNvSpPr>
          <p:nvPr/>
        </p:nvSpPr>
        <p:spPr>
          <a:xfrm>
            <a:off x="221499" y="404664"/>
            <a:ext cx="7769225" cy="795338"/>
          </a:xfrm>
          <a:prstGeom prst="rect">
            <a:avLst/>
          </a:prstGeom>
        </p:spPr>
        <p:txBody>
          <a:bodyPr anchor="b"/>
          <a:lstStyle/>
          <a:p>
            <a:pPr>
              <a:lnSpc>
                <a:spcPts val="3200"/>
              </a:lnSpc>
              <a:defRPr/>
            </a:pPr>
            <a:r>
              <a:rPr lang="en-US" sz="2400" b="1" kern="0" dirty="0">
                <a:latin typeface="+mj-lt"/>
                <a:ea typeface="+mj-ea"/>
                <a:cs typeface="+mj-cs"/>
              </a:rPr>
              <a:t>TSC </a:t>
            </a:r>
            <a:r>
              <a:rPr lang="cs-CZ" sz="2400" b="1" kern="0" dirty="0">
                <a:latin typeface="+mj-lt"/>
                <a:ea typeface="+mj-ea"/>
                <a:cs typeface="+mj-cs"/>
              </a:rPr>
              <a:t>zlepšuje provozní bezpečnost v </a:t>
            </a:r>
            <a:r>
              <a:rPr lang="en-US" sz="2400" b="1" kern="0" dirty="0">
                <a:latin typeface="+mj-lt"/>
                <a:ea typeface="+mj-ea"/>
                <a:cs typeface="+mj-cs"/>
              </a:rPr>
              <a:t>E</a:t>
            </a:r>
            <a:r>
              <a:rPr lang="cs-CZ" sz="2400" b="1" kern="0" dirty="0">
                <a:latin typeface="+mj-lt"/>
                <a:ea typeface="+mj-ea"/>
                <a:cs typeface="+mj-cs"/>
              </a:rPr>
              <a:t>v</a:t>
            </a:r>
            <a:r>
              <a:rPr lang="en-US" sz="2400" b="1" kern="0" dirty="0" err="1">
                <a:latin typeface="+mj-lt"/>
                <a:ea typeface="+mj-ea"/>
                <a:cs typeface="+mj-cs"/>
              </a:rPr>
              <a:t>rop</a:t>
            </a:r>
            <a:r>
              <a:rPr lang="cs-CZ" sz="2400" b="1" kern="0" dirty="0">
                <a:latin typeface="+mj-lt"/>
                <a:ea typeface="+mj-ea"/>
                <a:cs typeface="+mj-cs"/>
              </a:rPr>
              <a:t>ě</a:t>
            </a:r>
            <a:endParaRPr lang="en-US" sz="2400" b="1" kern="0" dirty="0">
              <a:latin typeface="+mj-lt"/>
              <a:ea typeface="+mj-ea"/>
              <a:cs typeface="+mj-cs"/>
            </a:endParaRPr>
          </a:p>
        </p:txBody>
      </p:sp>
      <p:sp>
        <p:nvSpPr>
          <p:cNvPr id="13320" name="TextovéPole 1"/>
          <p:cNvSpPr txBox="1">
            <a:spLocks noChangeArrowheads="1"/>
          </p:cNvSpPr>
          <p:nvPr/>
        </p:nvSpPr>
        <p:spPr bwMode="auto">
          <a:xfrm>
            <a:off x="539750" y="4437063"/>
            <a:ext cx="1223963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cs-CZ"/>
              <a:t>ENTSO-E</a:t>
            </a:r>
          </a:p>
        </p:txBody>
      </p:sp>
      <p:sp>
        <p:nvSpPr>
          <p:cNvPr id="13321" name="TextovéPole 8"/>
          <p:cNvSpPr txBox="1">
            <a:spLocks noChangeArrowheads="1"/>
          </p:cNvSpPr>
          <p:nvPr/>
        </p:nvSpPr>
        <p:spPr bwMode="auto">
          <a:xfrm>
            <a:off x="984250" y="3586163"/>
            <a:ext cx="1008063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cs-CZ" b="1"/>
              <a:t>CTDS</a:t>
            </a:r>
          </a:p>
        </p:txBody>
      </p:sp>
      <p:sp>
        <p:nvSpPr>
          <p:cNvPr id="13322" name="TextovéPole 9"/>
          <p:cNvSpPr txBox="1">
            <a:spLocks noChangeArrowheads="1"/>
          </p:cNvSpPr>
          <p:nvPr/>
        </p:nvSpPr>
        <p:spPr bwMode="auto">
          <a:xfrm>
            <a:off x="584200" y="2778125"/>
            <a:ext cx="1223963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cs-CZ"/>
              <a:t>CORESO</a:t>
            </a:r>
          </a:p>
        </p:txBody>
      </p:sp>
      <p:sp>
        <p:nvSpPr>
          <p:cNvPr id="13323" name="TextovéPole 10"/>
          <p:cNvSpPr txBox="1">
            <a:spLocks noChangeArrowheads="1"/>
          </p:cNvSpPr>
          <p:nvPr/>
        </p:nvSpPr>
        <p:spPr bwMode="auto">
          <a:xfrm>
            <a:off x="4330700" y="2492375"/>
            <a:ext cx="15938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cs-CZ"/>
              <a:t>TSC - SSC…</a:t>
            </a:r>
          </a:p>
        </p:txBody>
      </p:sp>
      <p:sp>
        <p:nvSpPr>
          <p:cNvPr id="3" name="TextovéPole 2"/>
          <p:cNvSpPr txBox="1"/>
          <p:nvPr/>
        </p:nvSpPr>
        <p:spPr>
          <a:xfrm>
            <a:off x="855663" y="3067050"/>
            <a:ext cx="673100" cy="2619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cs-CZ" sz="1050" dirty="0"/>
              <a:t>Brusel</a:t>
            </a:r>
          </a:p>
        </p:txBody>
      </p:sp>
      <p:sp>
        <p:nvSpPr>
          <p:cNvPr id="13" name="TextovéPole 12"/>
          <p:cNvSpPr txBox="1"/>
          <p:nvPr/>
        </p:nvSpPr>
        <p:spPr>
          <a:xfrm>
            <a:off x="814388" y="4724400"/>
            <a:ext cx="673100" cy="2619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cs-CZ" sz="1050" dirty="0"/>
              <a:t>Evropa</a:t>
            </a:r>
          </a:p>
        </p:txBody>
      </p:sp>
      <p:sp>
        <p:nvSpPr>
          <p:cNvPr id="14" name="TextovéPole 13"/>
          <p:cNvSpPr txBox="1"/>
          <p:nvPr/>
        </p:nvSpPr>
        <p:spPr>
          <a:xfrm>
            <a:off x="900113" y="3900488"/>
            <a:ext cx="1439862" cy="4159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cs-CZ" sz="1050" dirty="0"/>
              <a:t>TSC </a:t>
            </a:r>
            <a:r>
              <a:rPr lang="cs-CZ" sz="1050" dirty="0" err="1"/>
              <a:t>pTSOs</a:t>
            </a:r>
            <a:r>
              <a:rPr lang="cs-CZ" sz="1050" dirty="0"/>
              <a:t> decentralizovaně</a:t>
            </a:r>
          </a:p>
        </p:txBody>
      </p:sp>
      <p:sp>
        <p:nvSpPr>
          <p:cNvPr id="15" name="TextovéPole 14"/>
          <p:cNvSpPr txBox="1"/>
          <p:nvPr/>
        </p:nvSpPr>
        <p:spPr>
          <a:xfrm>
            <a:off x="4700588" y="2349500"/>
            <a:ext cx="1223962" cy="2540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cs-CZ" sz="1050" dirty="0" err="1"/>
              <a:t>Roemmerkirchen</a:t>
            </a:r>
            <a:endParaRPr lang="cs-CZ" sz="1050" dirty="0"/>
          </a:p>
        </p:txBody>
      </p:sp>
      <p:sp>
        <p:nvSpPr>
          <p:cNvPr id="4" name="TextovéPole 3"/>
          <p:cNvSpPr txBox="1"/>
          <p:nvPr/>
        </p:nvSpPr>
        <p:spPr>
          <a:xfrm>
            <a:off x="2168525" y="5437188"/>
            <a:ext cx="1106488" cy="26193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cs-CZ" sz="1050" dirty="0"/>
              <a:t>(DACF …)</a:t>
            </a:r>
          </a:p>
        </p:txBody>
      </p:sp>
    </p:spTree>
    <p:extLst>
      <p:ext uri="{BB962C8B-B14F-4D97-AF65-F5344CB8AC3E}">
        <p14:creationId xmlns:p14="http://schemas.microsoft.com/office/powerpoint/2010/main" val="12665552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30" name="Rectangle 11"/>
          <p:cNvSpPr>
            <a:spLocks noChangeArrowheads="1"/>
          </p:cNvSpPr>
          <p:nvPr/>
        </p:nvSpPr>
        <p:spPr bwMode="auto">
          <a:xfrm>
            <a:off x="251520" y="188912"/>
            <a:ext cx="8640960" cy="5757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>
              <a:lnSpc>
                <a:spcPts val="3200"/>
              </a:lnSpc>
            </a:pPr>
            <a:r>
              <a:rPr lang="en-GB" sz="2400" b="1" dirty="0" smtClean="0">
                <a:latin typeface="Verdana" pitchFamily="34" charset="0"/>
              </a:rPr>
              <a:t>TSC -TSO Security Cooperation</a:t>
            </a:r>
            <a:endParaRPr lang="cs-CZ" sz="2400" b="1" dirty="0" smtClean="0">
              <a:latin typeface="Verdana" pitchFamily="34" charset="0"/>
            </a:endParaRPr>
          </a:p>
        </p:txBody>
      </p:sp>
      <p:sp>
        <p:nvSpPr>
          <p:cNvPr id="33793" name="Rectangle 1"/>
          <p:cNvSpPr>
            <a:spLocks noChangeArrowheads="1"/>
          </p:cNvSpPr>
          <p:nvPr/>
        </p:nvSpPr>
        <p:spPr bwMode="auto">
          <a:xfrm>
            <a:off x="467544" y="623446"/>
            <a:ext cx="7236296" cy="203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cs-CZ" sz="1600" dirty="0" smtClean="0"/>
              <a:t>Nástroj pro užší spolupráci mezi TSO.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cs-CZ" sz="1600" dirty="0" smtClean="0"/>
              <a:t>Řeší nepříznivé </a:t>
            </a:r>
            <a:r>
              <a:rPr lang="cs-CZ" sz="1600" dirty="0"/>
              <a:t>provozní situace </a:t>
            </a:r>
            <a:r>
              <a:rPr lang="cs-CZ" sz="1600" dirty="0" smtClean="0"/>
              <a:t>(způsobené vysokým tranzitem energie </a:t>
            </a:r>
            <a:r>
              <a:rPr lang="cs-CZ" sz="1600" dirty="0"/>
              <a:t>z větrných parků v severním </a:t>
            </a:r>
            <a:r>
              <a:rPr lang="cs-CZ" sz="1600" dirty="0" smtClean="0"/>
              <a:t>Německu). </a:t>
            </a:r>
          </a:p>
          <a:p>
            <a:endParaRPr lang="cs-CZ" sz="1600" dirty="0" smtClean="0"/>
          </a:p>
          <a:p>
            <a:r>
              <a:rPr lang="cs-CZ" sz="1400" dirty="0" smtClean="0"/>
              <a:t>Tyto </a:t>
            </a:r>
            <a:r>
              <a:rPr lang="cs-CZ" sz="1400" dirty="0"/>
              <a:t>toky energie jsou způsobeny jednak </a:t>
            </a:r>
            <a:r>
              <a:rPr lang="cs-CZ" sz="1400" dirty="0" smtClean="0"/>
              <a:t>zvýšeným objemem instalovaného výkonu ve </a:t>
            </a:r>
            <a:r>
              <a:rPr lang="cs-CZ" sz="1400" dirty="0" err="1" smtClean="0"/>
              <a:t>VtE</a:t>
            </a:r>
            <a:r>
              <a:rPr lang="cs-CZ" sz="1400" dirty="0" smtClean="0"/>
              <a:t>, částečně je to i důsledek cen na spotových trzích (kdy ceny elektřiny mají přímou vazbu na velikost výroby z </a:t>
            </a:r>
            <a:r>
              <a:rPr lang="cs-CZ" sz="1400" dirty="0" err="1" smtClean="0"/>
              <a:t>VtE</a:t>
            </a:r>
            <a:r>
              <a:rPr lang="cs-CZ" sz="1400" dirty="0" smtClean="0"/>
              <a:t>)</a:t>
            </a:r>
            <a:endParaRPr lang="cs-CZ" sz="1600" dirty="0"/>
          </a:p>
          <a:p>
            <a:pPr marL="0" marR="0" lvl="0" indent="1809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cs-CZ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33795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547664" y="2296566"/>
            <a:ext cx="6048672" cy="44448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7" name="Obdélník 6"/>
          <p:cNvSpPr/>
          <p:nvPr/>
        </p:nvSpPr>
        <p:spPr>
          <a:xfrm>
            <a:off x="0" y="5949280"/>
            <a:ext cx="262778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 smtClean="0">
                <a:latin typeface="Verdana" pitchFamily="34" charset="0"/>
              </a:rPr>
              <a:t> </a:t>
            </a:r>
            <a:r>
              <a:rPr lang="cs-CZ" b="1" dirty="0" smtClean="0">
                <a:latin typeface="Verdana" pitchFamily="34" charset="0"/>
              </a:rPr>
              <a:t>typický tok elektřiny z větru</a:t>
            </a:r>
            <a:endParaRPr lang="cs-CZ" dirty="0"/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6"/>
          <p:cNvSpPr>
            <a:spLocks noGrp="1" noChangeArrowheads="1"/>
          </p:cNvSpPr>
          <p:nvPr>
            <p:ph type="sldNum" sz="quarter" idx="4294967295"/>
          </p:nvPr>
        </p:nvSpPr>
        <p:spPr>
          <a:xfrm>
            <a:off x="6626225" y="6535738"/>
            <a:ext cx="1828800" cy="2286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de-DE" dirty="0" smtClean="0">
              <a:latin typeface="Verdana" pitchFamily="34" charset="0"/>
            </a:endParaRPr>
          </a:p>
        </p:txBody>
      </p:sp>
      <p:sp>
        <p:nvSpPr>
          <p:cNvPr id="20483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en-US" sz="2800" dirty="0" smtClean="0">
                <a:latin typeface="Verdana" pitchFamily="34" charset="0"/>
              </a:rPr>
              <a:t>Real-Time Awareness &amp; Alarm </a:t>
            </a:r>
            <a:r>
              <a:rPr lang="en-US" sz="2800" dirty="0" err="1" smtClean="0">
                <a:latin typeface="Verdana" pitchFamily="34" charset="0"/>
              </a:rPr>
              <a:t>syst</a:t>
            </a:r>
            <a:r>
              <a:rPr lang="cs-CZ" sz="2800" dirty="0">
                <a:latin typeface="Verdana" pitchFamily="34" charset="0"/>
              </a:rPr>
              <a:t>e</a:t>
            </a:r>
            <a:r>
              <a:rPr lang="en-US" sz="2800" dirty="0" smtClean="0">
                <a:latin typeface="Verdana" pitchFamily="34" charset="0"/>
              </a:rPr>
              <a:t>m </a:t>
            </a:r>
            <a:r>
              <a:rPr lang="en-US" sz="2800" dirty="0" smtClean="0">
                <a:latin typeface="Verdana" pitchFamily="34" charset="0"/>
              </a:rPr>
              <a:t>(RAAS) </a:t>
            </a:r>
            <a:r>
              <a:rPr lang="cs-CZ" sz="2800" dirty="0" smtClean="0">
                <a:latin typeface="Verdana" pitchFamily="34" charset="0"/>
              </a:rPr>
              <a:t>v </a:t>
            </a:r>
            <a:r>
              <a:rPr lang="en-US" sz="2800" dirty="0" err="1" smtClean="0">
                <a:latin typeface="Verdana" pitchFamily="34" charset="0"/>
              </a:rPr>
              <a:t>Centr</a:t>
            </a:r>
            <a:r>
              <a:rPr lang="cs-CZ" sz="2800" dirty="0" smtClean="0">
                <a:latin typeface="Verdana" pitchFamily="34" charset="0"/>
              </a:rPr>
              <a:t>á</a:t>
            </a:r>
            <a:r>
              <a:rPr lang="en-US" sz="2800" dirty="0" smtClean="0">
                <a:latin typeface="Verdana" pitchFamily="34" charset="0"/>
              </a:rPr>
              <a:t>l</a:t>
            </a:r>
            <a:r>
              <a:rPr lang="cs-CZ" sz="2800" dirty="0" smtClean="0">
                <a:latin typeface="Verdana" pitchFamily="34" charset="0"/>
              </a:rPr>
              <a:t>ní</a:t>
            </a:r>
            <a:r>
              <a:rPr lang="en-US" sz="2800" dirty="0" smtClean="0">
                <a:latin typeface="Verdana" pitchFamily="34" charset="0"/>
              </a:rPr>
              <a:t> E</a:t>
            </a:r>
            <a:r>
              <a:rPr lang="cs-CZ" sz="2800" dirty="0" smtClean="0">
                <a:latin typeface="Verdana" pitchFamily="34" charset="0"/>
              </a:rPr>
              <a:t>v</a:t>
            </a:r>
            <a:r>
              <a:rPr lang="en-US" sz="2800" dirty="0" err="1" smtClean="0">
                <a:latin typeface="Verdana" pitchFamily="34" charset="0"/>
              </a:rPr>
              <a:t>rop</a:t>
            </a:r>
            <a:r>
              <a:rPr lang="cs-CZ" sz="2800" dirty="0" smtClean="0">
                <a:latin typeface="Verdana" pitchFamily="34" charset="0"/>
              </a:rPr>
              <a:t>ě</a:t>
            </a:r>
            <a:endParaRPr lang="en-US" sz="2800" dirty="0" smtClean="0">
              <a:latin typeface="Verdana" pitchFamily="34" charset="0"/>
            </a:endParaRPr>
          </a:p>
        </p:txBody>
      </p:sp>
      <p:pic>
        <p:nvPicPr>
          <p:cNvPr id="20484" name="Picture 10" descr="feld_01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10139" b="54794"/>
          <a:stretch>
            <a:fillRect/>
          </a:stretch>
        </p:blipFill>
        <p:spPr bwMode="auto">
          <a:xfrm>
            <a:off x="6054725" y="2071688"/>
            <a:ext cx="2517775" cy="1643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485" name="Picture 9" descr="feld_01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4805" r="-7986" b="-2759"/>
          <a:stretch>
            <a:fillRect/>
          </a:stretch>
        </p:blipFill>
        <p:spPr bwMode="auto">
          <a:xfrm>
            <a:off x="6061075" y="2786063"/>
            <a:ext cx="2468563" cy="1743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486" name="Rectangle 4"/>
          <p:cNvSpPr>
            <a:spLocks noChangeArrowheads="1"/>
          </p:cNvSpPr>
          <p:nvPr/>
        </p:nvSpPr>
        <p:spPr bwMode="auto">
          <a:xfrm>
            <a:off x="5613645" y="2034480"/>
            <a:ext cx="2560638" cy="3262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137160" rIns="182880" bIns="137160"/>
          <a:lstStyle/>
          <a:p>
            <a:pPr marL="474663" lvl="4" indent="-185738">
              <a:lnSpc>
                <a:spcPts val="1400"/>
              </a:lnSpc>
              <a:spcAft>
                <a:spcPts val="300"/>
              </a:spcAft>
              <a:buClr>
                <a:schemeClr val="tx2"/>
              </a:buClr>
              <a:buSzPct val="120000"/>
              <a:buFont typeface="Verdana" pitchFamily="34" charset="0"/>
              <a:buChar char="•"/>
            </a:pPr>
            <a:r>
              <a:rPr lang="en-US" sz="1100" dirty="0">
                <a:latin typeface="Verdana" pitchFamily="34" charset="0"/>
              </a:rPr>
              <a:t>Glob</a:t>
            </a:r>
            <a:r>
              <a:rPr lang="cs-CZ" sz="1100" dirty="0">
                <a:latin typeface="Verdana" pitchFamily="34" charset="0"/>
              </a:rPr>
              <a:t>á</a:t>
            </a:r>
            <a:r>
              <a:rPr lang="en-US" sz="1100" dirty="0">
                <a:latin typeface="Verdana" pitchFamily="34" charset="0"/>
              </a:rPr>
              <a:t>l</a:t>
            </a:r>
            <a:r>
              <a:rPr lang="cs-CZ" sz="1100" dirty="0">
                <a:latin typeface="Verdana" pitchFamily="34" charset="0"/>
              </a:rPr>
              <a:t>ní přehled o stavu </a:t>
            </a:r>
            <a:r>
              <a:rPr lang="en-US" sz="1100" dirty="0">
                <a:latin typeface="Verdana" pitchFamily="34" charset="0"/>
              </a:rPr>
              <a:t> </a:t>
            </a:r>
            <a:r>
              <a:rPr lang="en-US" sz="1100" dirty="0" err="1">
                <a:latin typeface="Verdana" pitchFamily="34" charset="0"/>
              </a:rPr>
              <a:t>ele</a:t>
            </a:r>
            <a:r>
              <a:rPr lang="cs-CZ" sz="1100" dirty="0">
                <a:latin typeface="Verdana" pitchFamily="34" charset="0"/>
              </a:rPr>
              <a:t>k</a:t>
            </a:r>
            <a:r>
              <a:rPr lang="en-US" sz="1100" dirty="0" err="1">
                <a:latin typeface="Verdana" pitchFamily="34" charset="0"/>
              </a:rPr>
              <a:t>tric</a:t>
            </a:r>
            <a:r>
              <a:rPr lang="cs-CZ" sz="1100" dirty="0" err="1">
                <a:latin typeface="Verdana" pitchFamily="34" charset="0"/>
              </a:rPr>
              <a:t>kého</a:t>
            </a:r>
            <a:r>
              <a:rPr lang="en-US" sz="1100" dirty="0">
                <a:latin typeface="Verdana" pitchFamily="34" charset="0"/>
              </a:rPr>
              <a:t> </a:t>
            </a:r>
            <a:r>
              <a:rPr lang="en-US" sz="1100" dirty="0" err="1">
                <a:latin typeface="Verdana" pitchFamily="34" charset="0"/>
              </a:rPr>
              <a:t>syst</a:t>
            </a:r>
            <a:r>
              <a:rPr lang="cs-CZ" sz="1100" dirty="0">
                <a:latin typeface="Verdana" pitchFamily="34" charset="0"/>
              </a:rPr>
              <a:t>é</a:t>
            </a:r>
            <a:r>
              <a:rPr lang="en-US" sz="1100" dirty="0">
                <a:latin typeface="Verdana" pitchFamily="34" charset="0"/>
              </a:rPr>
              <a:t>m</a:t>
            </a:r>
            <a:r>
              <a:rPr lang="cs-CZ" sz="1100" dirty="0">
                <a:latin typeface="Verdana" pitchFamily="34" charset="0"/>
              </a:rPr>
              <a:t>u</a:t>
            </a:r>
            <a:r>
              <a:rPr lang="en-US" sz="1100" dirty="0">
                <a:latin typeface="Verdana" pitchFamily="34" charset="0"/>
              </a:rPr>
              <a:t> a real-time info</a:t>
            </a:r>
            <a:r>
              <a:rPr lang="cs-CZ" sz="1100" dirty="0" err="1">
                <a:latin typeface="Verdana" pitchFamily="34" charset="0"/>
              </a:rPr>
              <a:t>rmace</a:t>
            </a:r>
            <a:r>
              <a:rPr lang="cs-CZ" sz="1100" dirty="0">
                <a:latin typeface="Verdana" pitchFamily="34" charset="0"/>
              </a:rPr>
              <a:t> o hlavních </a:t>
            </a:r>
            <a:r>
              <a:rPr lang="en-US" sz="1100" dirty="0" err="1">
                <a:latin typeface="Verdana" pitchFamily="34" charset="0"/>
              </a:rPr>
              <a:t>parametr</a:t>
            </a:r>
            <a:r>
              <a:rPr lang="cs-CZ" sz="1100" dirty="0">
                <a:latin typeface="Verdana" pitchFamily="34" charset="0"/>
              </a:rPr>
              <a:t>ech, které jsou dostupné na jednotlivých dispečincích </a:t>
            </a:r>
          </a:p>
          <a:p>
            <a:pPr marL="474663" lvl="4" indent="-185738">
              <a:lnSpc>
                <a:spcPts val="1400"/>
              </a:lnSpc>
              <a:spcAft>
                <a:spcPts val="300"/>
              </a:spcAft>
              <a:buClr>
                <a:schemeClr val="tx2"/>
              </a:buClr>
              <a:buSzPct val="120000"/>
              <a:buFont typeface="Verdana" pitchFamily="34" charset="0"/>
              <a:buChar char="•"/>
            </a:pPr>
            <a:endParaRPr lang="cs-CZ" sz="1100" dirty="0">
              <a:latin typeface="Verdana" pitchFamily="34" charset="0"/>
            </a:endParaRPr>
          </a:p>
          <a:p>
            <a:pPr marL="474663" lvl="4" indent="-185738">
              <a:lnSpc>
                <a:spcPts val="1400"/>
              </a:lnSpc>
              <a:spcAft>
                <a:spcPts val="300"/>
              </a:spcAft>
              <a:buClr>
                <a:schemeClr val="tx2"/>
              </a:buClr>
              <a:buSzPct val="120000"/>
              <a:buFont typeface="Verdana" pitchFamily="34" charset="0"/>
              <a:buChar char="•"/>
            </a:pPr>
            <a:r>
              <a:rPr lang="en-US" sz="1100" dirty="0">
                <a:latin typeface="Verdana" pitchFamily="34" charset="0"/>
              </a:rPr>
              <a:t>RAAS </a:t>
            </a:r>
            <a:r>
              <a:rPr lang="cs-CZ" sz="1100" dirty="0">
                <a:latin typeface="Verdana" pitchFamily="34" charset="0"/>
              </a:rPr>
              <a:t>poskytuje výstrahy a alarmy o stavu sítě všem </a:t>
            </a:r>
            <a:r>
              <a:rPr lang="cs-CZ" sz="1100" dirty="0" err="1">
                <a:latin typeface="Verdana" pitchFamily="34" charset="0"/>
              </a:rPr>
              <a:t>TSOs</a:t>
            </a:r>
            <a:r>
              <a:rPr lang="cs-CZ" sz="1100" dirty="0">
                <a:latin typeface="Verdana" pitchFamily="34" charset="0"/>
              </a:rPr>
              <a:t> v celém regionu v</a:t>
            </a:r>
            <a:r>
              <a:rPr lang="en-US" sz="1100" dirty="0">
                <a:latin typeface="Verdana" pitchFamily="34" charset="0"/>
              </a:rPr>
              <a:t> re</a:t>
            </a:r>
            <a:r>
              <a:rPr lang="cs-CZ" sz="1100" dirty="0">
                <a:latin typeface="Verdana" pitchFamily="34" charset="0"/>
              </a:rPr>
              <a:t>á</a:t>
            </a:r>
            <a:r>
              <a:rPr lang="en-US" sz="1100" dirty="0">
                <a:latin typeface="Verdana" pitchFamily="34" charset="0"/>
              </a:rPr>
              <a:t>l</a:t>
            </a:r>
            <a:r>
              <a:rPr lang="cs-CZ" sz="1100" dirty="0" err="1">
                <a:latin typeface="Verdana" pitchFamily="34" charset="0"/>
              </a:rPr>
              <a:t>ném</a:t>
            </a:r>
            <a:r>
              <a:rPr lang="cs-CZ" sz="1100" dirty="0">
                <a:latin typeface="Verdana" pitchFamily="34" charset="0"/>
              </a:rPr>
              <a:t> čase</a:t>
            </a:r>
            <a:r>
              <a:rPr lang="en-US" sz="1100" dirty="0">
                <a:latin typeface="Verdana" pitchFamily="34" charset="0"/>
              </a:rPr>
              <a:t>. </a:t>
            </a:r>
          </a:p>
        </p:txBody>
      </p:sp>
      <p:pic>
        <p:nvPicPr>
          <p:cNvPr id="20487" name="Picture 6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813" y="2071688"/>
            <a:ext cx="4929187" cy="3467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0488" name="Gruppieren 40"/>
          <p:cNvGrpSpPr>
            <a:grpSpLocks/>
          </p:cNvGrpSpPr>
          <p:nvPr/>
        </p:nvGrpSpPr>
        <p:grpSpPr bwMode="auto">
          <a:xfrm>
            <a:off x="5722043" y="4457850"/>
            <a:ext cx="2147888" cy="1227138"/>
            <a:chOff x="1471670" y="4392781"/>
            <a:chExt cx="2693104" cy="1602573"/>
          </a:xfrm>
        </p:grpSpPr>
        <p:sp>
          <p:nvSpPr>
            <p:cNvPr id="20504" name="Line 2"/>
            <p:cNvSpPr>
              <a:spLocks noChangeShapeType="1"/>
            </p:cNvSpPr>
            <p:nvPr/>
          </p:nvSpPr>
          <p:spPr bwMode="auto">
            <a:xfrm>
              <a:off x="2300660" y="4686257"/>
              <a:ext cx="1133072" cy="0"/>
            </a:xfrm>
            <a:prstGeom prst="line">
              <a:avLst/>
            </a:prstGeom>
            <a:noFill/>
            <a:ln w="19050">
              <a:solidFill>
                <a:srgbClr val="99CC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137160" rIns="182880" bIns="137160"/>
            <a:lstStyle/>
            <a:p>
              <a:endParaRPr lang="cs-CZ"/>
            </a:p>
          </p:txBody>
        </p:sp>
        <p:sp>
          <p:nvSpPr>
            <p:cNvPr id="20505" name="Line 3"/>
            <p:cNvSpPr>
              <a:spLocks noChangeShapeType="1"/>
            </p:cNvSpPr>
            <p:nvPr/>
          </p:nvSpPr>
          <p:spPr bwMode="auto">
            <a:xfrm>
              <a:off x="2300660" y="4789568"/>
              <a:ext cx="443234" cy="144272"/>
            </a:xfrm>
            <a:prstGeom prst="line">
              <a:avLst/>
            </a:prstGeom>
            <a:noFill/>
            <a:ln w="19050">
              <a:solidFill>
                <a:srgbClr val="99CC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137160" rIns="182880" bIns="137160"/>
            <a:lstStyle/>
            <a:p>
              <a:endParaRPr lang="cs-CZ"/>
            </a:p>
          </p:txBody>
        </p:sp>
        <p:sp>
          <p:nvSpPr>
            <p:cNvPr id="20506" name="Line 4"/>
            <p:cNvSpPr>
              <a:spLocks noChangeShapeType="1"/>
            </p:cNvSpPr>
            <p:nvPr/>
          </p:nvSpPr>
          <p:spPr bwMode="auto">
            <a:xfrm>
              <a:off x="2054057" y="4892879"/>
              <a:ext cx="0" cy="268518"/>
            </a:xfrm>
            <a:prstGeom prst="line">
              <a:avLst/>
            </a:prstGeom>
            <a:noFill/>
            <a:ln w="19050">
              <a:solidFill>
                <a:srgbClr val="99CC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137160" rIns="182880" bIns="137160"/>
            <a:lstStyle/>
            <a:p>
              <a:endParaRPr lang="cs-CZ"/>
            </a:p>
          </p:txBody>
        </p:sp>
        <p:sp>
          <p:nvSpPr>
            <p:cNvPr id="20507" name="Line 5"/>
            <p:cNvSpPr>
              <a:spLocks noChangeShapeType="1"/>
            </p:cNvSpPr>
            <p:nvPr/>
          </p:nvSpPr>
          <p:spPr bwMode="auto">
            <a:xfrm>
              <a:off x="2201802" y="4892879"/>
              <a:ext cx="517650" cy="557061"/>
            </a:xfrm>
            <a:prstGeom prst="line">
              <a:avLst/>
            </a:prstGeom>
            <a:noFill/>
            <a:ln w="19050">
              <a:solidFill>
                <a:srgbClr val="99CC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137160" rIns="182880" bIns="137160"/>
            <a:lstStyle/>
            <a:p>
              <a:endParaRPr lang="cs-CZ"/>
            </a:p>
          </p:txBody>
        </p:sp>
        <p:sp>
          <p:nvSpPr>
            <p:cNvPr id="20508" name="Line 6"/>
            <p:cNvSpPr>
              <a:spLocks noChangeShapeType="1"/>
            </p:cNvSpPr>
            <p:nvPr/>
          </p:nvSpPr>
          <p:spPr bwMode="auto">
            <a:xfrm>
              <a:off x="2177358" y="5305668"/>
              <a:ext cx="1404119" cy="0"/>
            </a:xfrm>
            <a:prstGeom prst="line">
              <a:avLst/>
            </a:prstGeom>
            <a:noFill/>
            <a:ln w="19050">
              <a:solidFill>
                <a:srgbClr val="99CC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137160" rIns="182880" bIns="137160"/>
            <a:lstStyle/>
            <a:p>
              <a:endParaRPr lang="cs-CZ"/>
            </a:p>
          </p:txBody>
        </p:sp>
        <p:sp>
          <p:nvSpPr>
            <p:cNvPr id="20509" name="Line 7"/>
            <p:cNvSpPr>
              <a:spLocks noChangeShapeType="1"/>
            </p:cNvSpPr>
            <p:nvPr/>
          </p:nvSpPr>
          <p:spPr bwMode="auto">
            <a:xfrm flipV="1">
              <a:off x="2127929" y="5016670"/>
              <a:ext cx="542093" cy="249858"/>
            </a:xfrm>
            <a:prstGeom prst="line">
              <a:avLst/>
            </a:prstGeom>
            <a:noFill/>
            <a:ln w="19050">
              <a:solidFill>
                <a:srgbClr val="99CC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137160" rIns="182880" bIns="137160"/>
            <a:lstStyle/>
            <a:p>
              <a:endParaRPr lang="cs-CZ"/>
            </a:p>
          </p:txBody>
        </p:sp>
        <p:sp>
          <p:nvSpPr>
            <p:cNvPr id="20510" name="Line 8"/>
            <p:cNvSpPr>
              <a:spLocks noChangeShapeType="1"/>
            </p:cNvSpPr>
            <p:nvPr/>
          </p:nvSpPr>
          <p:spPr bwMode="auto">
            <a:xfrm>
              <a:off x="2152915" y="5408979"/>
              <a:ext cx="517107" cy="185687"/>
            </a:xfrm>
            <a:prstGeom prst="line">
              <a:avLst/>
            </a:prstGeom>
            <a:noFill/>
            <a:ln w="19050">
              <a:solidFill>
                <a:srgbClr val="99CC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137160" rIns="182880" bIns="137160"/>
            <a:lstStyle/>
            <a:p>
              <a:endParaRPr lang="cs-CZ"/>
            </a:p>
          </p:txBody>
        </p:sp>
        <p:sp>
          <p:nvSpPr>
            <p:cNvPr id="20511" name="Line 9"/>
            <p:cNvSpPr>
              <a:spLocks noChangeShapeType="1"/>
            </p:cNvSpPr>
            <p:nvPr/>
          </p:nvSpPr>
          <p:spPr bwMode="auto">
            <a:xfrm flipV="1">
              <a:off x="2941069" y="5302482"/>
              <a:ext cx="665395" cy="250768"/>
            </a:xfrm>
            <a:prstGeom prst="line">
              <a:avLst/>
            </a:prstGeom>
            <a:noFill/>
            <a:ln w="19050">
              <a:solidFill>
                <a:srgbClr val="99CC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137160" rIns="182880" bIns="137160"/>
            <a:lstStyle/>
            <a:p>
              <a:endParaRPr lang="cs-CZ"/>
            </a:p>
          </p:txBody>
        </p:sp>
        <p:sp>
          <p:nvSpPr>
            <p:cNvPr id="20512" name="Line 10"/>
            <p:cNvSpPr>
              <a:spLocks noChangeShapeType="1"/>
            </p:cNvSpPr>
            <p:nvPr/>
          </p:nvSpPr>
          <p:spPr bwMode="auto">
            <a:xfrm>
              <a:off x="3557034" y="4871944"/>
              <a:ext cx="0" cy="309933"/>
            </a:xfrm>
            <a:prstGeom prst="line">
              <a:avLst/>
            </a:prstGeom>
            <a:noFill/>
            <a:ln w="19050">
              <a:solidFill>
                <a:srgbClr val="99CC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137160" rIns="182880" bIns="137160"/>
            <a:lstStyle/>
            <a:p>
              <a:endParaRPr lang="cs-CZ"/>
            </a:p>
          </p:txBody>
        </p:sp>
        <p:sp>
          <p:nvSpPr>
            <p:cNvPr id="20513" name="Line 11"/>
            <p:cNvSpPr>
              <a:spLocks noChangeShapeType="1"/>
            </p:cNvSpPr>
            <p:nvPr/>
          </p:nvSpPr>
          <p:spPr bwMode="auto">
            <a:xfrm flipV="1">
              <a:off x="2990498" y="4810048"/>
              <a:ext cx="418791" cy="165207"/>
            </a:xfrm>
            <a:prstGeom prst="line">
              <a:avLst/>
            </a:prstGeom>
            <a:noFill/>
            <a:ln w="19050">
              <a:solidFill>
                <a:srgbClr val="99CC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137160" rIns="182880" bIns="137160"/>
            <a:lstStyle/>
            <a:p>
              <a:endParaRPr lang="cs-CZ"/>
            </a:p>
          </p:txBody>
        </p:sp>
        <p:sp>
          <p:nvSpPr>
            <p:cNvPr id="20514" name="Line 12"/>
            <p:cNvSpPr>
              <a:spLocks noChangeShapeType="1"/>
            </p:cNvSpPr>
            <p:nvPr/>
          </p:nvSpPr>
          <p:spPr bwMode="auto">
            <a:xfrm>
              <a:off x="2941069" y="5057631"/>
              <a:ext cx="566536" cy="186142"/>
            </a:xfrm>
            <a:prstGeom prst="line">
              <a:avLst/>
            </a:prstGeom>
            <a:noFill/>
            <a:ln w="19050">
              <a:solidFill>
                <a:srgbClr val="99CC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137160" rIns="182880" bIns="137160"/>
            <a:lstStyle/>
            <a:p>
              <a:endParaRPr lang="cs-CZ"/>
            </a:p>
          </p:txBody>
        </p:sp>
        <p:sp>
          <p:nvSpPr>
            <p:cNvPr id="20515" name="Line 13"/>
            <p:cNvSpPr>
              <a:spLocks noChangeShapeType="1"/>
            </p:cNvSpPr>
            <p:nvPr/>
          </p:nvSpPr>
          <p:spPr bwMode="auto">
            <a:xfrm>
              <a:off x="2817767" y="5084027"/>
              <a:ext cx="0" cy="350893"/>
            </a:xfrm>
            <a:prstGeom prst="line">
              <a:avLst/>
            </a:prstGeom>
            <a:noFill/>
            <a:ln w="19050">
              <a:solidFill>
                <a:srgbClr val="99CC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137160" rIns="182880" bIns="137160"/>
            <a:lstStyle/>
            <a:p>
              <a:endParaRPr lang="cs-CZ"/>
            </a:p>
          </p:txBody>
        </p:sp>
        <p:sp>
          <p:nvSpPr>
            <p:cNvPr id="20516" name="Line 14"/>
            <p:cNvSpPr>
              <a:spLocks noChangeShapeType="1"/>
            </p:cNvSpPr>
            <p:nvPr/>
          </p:nvSpPr>
          <p:spPr bwMode="auto">
            <a:xfrm flipV="1">
              <a:off x="2836778" y="4871944"/>
              <a:ext cx="621941" cy="639892"/>
            </a:xfrm>
            <a:prstGeom prst="line">
              <a:avLst/>
            </a:prstGeom>
            <a:noFill/>
            <a:ln w="19050">
              <a:solidFill>
                <a:srgbClr val="99CC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137160" rIns="182880" bIns="137160"/>
            <a:lstStyle/>
            <a:p>
              <a:endParaRPr lang="cs-CZ"/>
            </a:p>
          </p:txBody>
        </p:sp>
        <p:sp>
          <p:nvSpPr>
            <p:cNvPr id="20517" name="Oval 15"/>
            <p:cNvSpPr>
              <a:spLocks noChangeArrowheads="1"/>
            </p:cNvSpPr>
            <p:nvPr/>
          </p:nvSpPr>
          <p:spPr bwMode="auto">
            <a:xfrm>
              <a:off x="1927496" y="4562466"/>
              <a:ext cx="418792" cy="350893"/>
            </a:xfrm>
            <a:prstGeom prst="ellipse">
              <a:avLst/>
            </a:prstGeom>
            <a:solidFill>
              <a:srgbClr val="FFFFFF"/>
            </a:solidFill>
            <a:ln w="19050" algn="ctr">
              <a:solidFill>
                <a:schemeClr val="hlink"/>
              </a:solidFill>
              <a:round/>
              <a:headEnd/>
              <a:tailEnd/>
            </a:ln>
          </p:spPr>
          <p:txBody>
            <a:bodyPr wrap="none" lIns="0" tIns="137160" rIns="182880" bIns="137160" anchor="ctr"/>
            <a:lstStyle/>
            <a:p>
              <a:endParaRPr lang="de-DE" sz="1000"/>
            </a:p>
          </p:txBody>
        </p:sp>
        <p:sp>
          <p:nvSpPr>
            <p:cNvPr id="20518" name="Oval 16"/>
            <p:cNvSpPr>
              <a:spLocks noChangeArrowheads="1"/>
            </p:cNvSpPr>
            <p:nvPr/>
          </p:nvSpPr>
          <p:spPr bwMode="auto">
            <a:xfrm>
              <a:off x="1783010" y="5160942"/>
              <a:ext cx="418792" cy="350894"/>
            </a:xfrm>
            <a:prstGeom prst="ellipse">
              <a:avLst/>
            </a:prstGeom>
            <a:solidFill>
              <a:srgbClr val="FFFFFF"/>
            </a:solidFill>
            <a:ln w="19050" algn="ctr">
              <a:solidFill>
                <a:schemeClr val="hlink"/>
              </a:solidFill>
              <a:round/>
              <a:headEnd/>
              <a:tailEnd/>
            </a:ln>
          </p:spPr>
          <p:txBody>
            <a:bodyPr wrap="none" lIns="0" tIns="137160" rIns="182880" bIns="137160" anchor="ctr"/>
            <a:lstStyle/>
            <a:p>
              <a:endParaRPr lang="de-DE" sz="1000"/>
            </a:p>
          </p:txBody>
        </p:sp>
        <p:sp>
          <p:nvSpPr>
            <p:cNvPr id="20519" name="Oval 17"/>
            <p:cNvSpPr>
              <a:spLocks noChangeArrowheads="1"/>
            </p:cNvSpPr>
            <p:nvPr/>
          </p:nvSpPr>
          <p:spPr bwMode="auto">
            <a:xfrm>
              <a:off x="2571707" y="5408979"/>
              <a:ext cx="418792" cy="350893"/>
            </a:xfrm>
            <a:prstGeom prst="ellipse">
              <a:avLst/>
            </a:prstGeom>
            <a:solidFill>
              <a:srgbClr val="FFFFFF"/>
            </a:solidFill>
            <a:ln w="19050" algn="ctr">
              <a:solidFill>
                <a:schemeClr val="hlink"/>
              </a:solidFill>
              <a:round/>
              <a:headEnd/>
              <a:tailEnd/>
            </a:ln>
          </p:spPr>
          <p:txBody>
            <a:bodyPr wrap="none" lIns="0" tIns="137160" rIns="182880" bIns="137160" anchor="ctr"/>
            <a:lstStyle/>
            <a:p>
              <a:endParaRPr lang="de-DE" sz="1000"/>
            </a:p>
          </p:txBody>
        </p:sp>
        <p:sp>
          <p:nvSpPr>
            <p:cNvPr id="20520" name="Oval 18"/>
            <p:cNvSpPr>
              <a:spLocks noChangeArrowheads="1"/>
            </p:cNvSpPr>
            <p:nvPr/>
          </p:nvSpPr>
          <p:spPr bwMode="auto">
            <a:xfrm>
              <a:off x="3433733" y="5078566"/>
              <a:ext cx="418791" cy="350893"/>
            </a:xfrm>
            <a:prstGeom prst="ellipse">
              <a:avLst/>
            </a:prstGeom>
            <a:solidFill>
              <a:srgbClr val="FFFFFF"/>
            </a:solidFill>
            <a:ln w="19050" algn="ctr">
              <a:solidFill>
                <a:schemeClr val="hlink"/>
              </a:solidFill>
              <a:round/>
              <a:headEnd/>
              <a:tailEnd/>
            </a:ln>
          </p:spPr>
          <p:txBody>
            <a:bodyPr wrap="none" lIns="0" tIns="137160" rIns="182880" bIns="137160" anchor="ctr"/>
            <a:lstStyle/>
            <a:p>
              <a:endParaRPr lang="de-DE" sz="1000"/>
            </a:p>
          </p:txBody>
        </p:sp>
        <p:sp>
          <p:nvSpPr>
            <p:cNvPr id="20521" name="Oval 19"/>
            <p:cNvSpPr>
              <a:spLocks noChangeArrowheads="1"/>
            </p:cNvSpPr>
            <p:nvPr/>
          </p:nvSpPr>
          <p:spPr bwMode="auto">
            <a:xfrm>
              <a:off x="3359860" y="4541530"/>
              <a:ext cx="418791" cy="350893"/>
            </a:xfrm>
            <a:prstGeom prst="ellipse">
              <a:avLst/>
            </a:prstGeom>
            <a:solidFill>
              <a:srgbClr val="FFFFFF"/>
            </a:solidFill>
            <a:ln w="19050" algn="ctr">
              <a:solidFill>
                <a:schemeClr val="hlink"/>
              </a:solidFill>
              <a:round/>
              <a:headEnd/>
              <a:tailEnd/>
            </a:ln>
          </p:spPr>
          <p:txBody>
            <a:bodyPr wrap="none" lIns="0" tIns="137160" rIns="182880" bIns="137160" anchor="ctr"/>
            <a:lstStyle/>
            <a:p>
              <a:endParaRPr lang="de-DE" sz="1000"/>
            </a:p>
          </p:txBody>
        </p:sp>
        <p:sp>
          <p:nvSpPr>
            <p:cNvPr id="20522" name="Oval 20"/>
            <p:cNvSpPr>
              <a:spLocks noChangeArrowheads="1"/>
            </p:cNvSpPr>
            <p:nvPr/>
          </p:nvSpPr>
          <p:spPr bwMode="auto">
            <a:xfrm>
              <a:off x="2621136" y="4789568"/>
              <a:ext cx="418791" cy="350894"/>
            </a:xfrm>
            <a:prstGeom prst="ellipse">
              <a:avLst/>
            </a:prstGeom>
            <a:solidFill>
              <a:srgbClr val="FFFFFF"/>
            </a:solidFill>
            <a:ln w="19050" algn="ctr">
              <a:solidFill>
                <a:schemeClr val="hlink"/>
              </a:solidFill>
              <a:round/>
              <a:headEnd/>
              <a:tailEnd/>
            </a:ln>
          </p:spPr>
          <p:txBody>
            <a:bodyPr wrap="none" lIns="0" tIns="137160" rIns="182880" bIns="137160" anchor="ctr"/>
            <a:lstStyle/>
            <a:p>
              <a:endParaRPr lang="de-DE" sz="1000"/>
            </a:p>
          </p:txBody>
        </p:sp>
        <p:graphicFrame>
          <p:nvGraphicFramePr>
            <p:cNvPr id="20523" name="Object 22"/>
            <p:cNvGraphicFramePr>
              <a:graphicFrameLocks noChangeAspect="1"/>
            </p:cNvGraphicFramePr>
            <p:nvPr/>
          </p:nvGraphicFramePr>
          <p:xfrm>
            <a:off x="1856882" y="5181877"/>
            <a:ext cx="288971" cy="33542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131" name="Visio" r:id="rId7" imgW="1475069" imgH="2042079" progId="Visio.Drawing.11">
                    <p:embed/>
                  </p:oleObj>
                </mc:Choice>
                <mc:Fallback>
                  <p:oleObj name="Visio" r:id="rId7" imgW="1475069" imgH="2042079" progId="Visio.Drawing.11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8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1856882" y="5181877"/>
                          <a:ext cx="288971" cy="335420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 algn="ctr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20524" name="Object 23"/>
            <p:cNvGraphicFramePr>
              <a:graphicFrameLocks noChangeAspect="1"/>
            </p:cNvGraphicFramePr>
            <p:nvPr/>
          </p:nvGraphicFramePr>
          <p:xfrm>
            <a:off x="2639061" y="5433555"/>
            <a:ext cx="288971" cy="33542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132" name="Visio" r:id="rId9" imgW="1475069" imgH="2042079" progId="Visio.Drawing.11">
                    <p:embed/>
                  </p:oleObj>
                </mc:Choice>
                <mc:Fallback>
                  <p:oleObj name="Visio" r:id="rId9" imgW="1475069" imgH="2042079" progId="Visio.Drawing.11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10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2639061" y="5433555"/>
                          <a:ext cx="288971" cy="335420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 algn="ctr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20525" name="Object 24"/>
            <p:cNvGraphicFramePr>
              <a:graphicFrameLocks noChangeAspect="1"/>
            </p:cNvGraphicFramePr>
            <p:nvPr/>
          </p:nvGraphicFramePr>
          <p:xfrm>
            <a:off x="3409289" y="4562466"/>
            <a:ext cx="288971" cy="33542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133" name="Visio" r:id="rId11" imgW="1475069" imgH="2042079" progId="Visio.Drawing.11">
                    <p:embed/>
                  </p:oleObj>
                </mc:Choice>
                <mc:Fallback>
                  <p:oleObj name="Visio" r:id="rId11" imgW="1475069" imgH="2042079" progId="Visio.Drawing.11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10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3409289" y="4562466"/>
                          <a:ext cx="288971" cy="335420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 algn="ctr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20526" name="Object 25"/>
            <p:cNvGraphicFramePr>
              <a:graphicFrameLocks noChangeAspect="1"/>
            </p:cNvGraphicFramePr>
            <p:nvPr/>
          </p:nvGraphicFramePr>
          <p:xfrm>
            <a:off x="2004627" y="4582946"/>
            <a:ext cx="288971" cy="33542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134" name="Visio" r:id="rId12" imgW="1475069" imgH="2042079" progId="Visio.Drawing.11">
                    <p:embed/>
                  </p:oleObj>
                </mc:Choice>
                <mc:Fallback>
                  <p:oleObj name="Visio" r:id="rId12" imgW="1475069" imgH="2042079" progId="Visio.Drawing.11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10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2004627" y="4582946"/>
                          <a:ext cx="288971" cy="335420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 algn="ctr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20527" name="Object 26"/>
            <p:cNvGraphicFramePr>
              <a:graphicFrameLocks noChangeAspect="1"/>
            </p:cNvGraphicFramePr>
            <p:nvPr/>
          </p:nvGraphicFramePr>
          <p:xfrm>
            <a:off x="3483162" y="5099046"/>
            <a:ext cx="288971" cy="33542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135" name="Visio" r:id="rId13" imgW="1475069" imgH="2042079" progId="Visio.Drawing.11">
                    <p:embed/>
                  </p:oleObj>
                </mc:Choice>
                <mc:Fallback>
                  <p:oleObj name="Visio" r:id="rId13" imgW="1475069" imgH="2042079" progId="Visio.Drawing.11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10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3483162" y="5099046"/>
                          <a:ext cx="288971" cy="335420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 algn="ctr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20528" name="Object 27"/>
            <p:cNvGraphicFramePr>
              <a:graphicFrameLocks noChangeAspect="1"/>
            </p:cNvGraphicFramePr>
            <p:nvPr/>
          </p:nvGraphicFramePr>
          <p:xfrm>
            <a:off x="2670022" y="4807317"/>
            <a:ext cx="288971" cy="33542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136" name="Visio" r:id="rId14" imgW="1475069" imgH="2042079" progId="Visio.Drawing.11">
                    <p:embed/>
                  </p:oleObj>
                </mc:Choice>
                <mc:Fallback>
                  <p:oleObj name="Visio" r:id="rId14" imgW="1475069" imgH="2042079" progId="Visio.Drawing.11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10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2670022" y="4807317"/>
                          <a:ext cx="288971" cy="335420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 algn="ctr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20529" name="Text Box 31"/>
            <p:cNvSpPr txBox="1">
              <a:spLocks noChangeArrowheads="1"/>
            </p:cNvSpPr>
            <p:nvPr/>
          </p:nvSpPr>
          <p:spPr bwMode="auto">
            <a:xfrm>
              <a:off x="1599249" y="4570330"/>
              <a:ext cx="428412" cy="4420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905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137160" rIns="182880" bIns="13716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/>
              <a:r>
                <a:rPr lang="en-US" sz="400">
                  <a:latin typeface="Verdana" pitchFamily="34" charset="0"/>
                </a:rPr>
                <a:t>TSO 1</a:t>
              </a:r>
            </a:p>
          </p:txBody>
        </p:sp>
        <p:sp>
          <p:nvSpPr>
            <p:cNvPr id="20530" name="Text Box 32"/>
            <p:cNvSpPr txBox="1">
              <a:spLocks noChangeArrowheads="1"/>
            </p:cNvSpPr>
            <p:nvPr/>
          </p:nvSpPr>
          <p:spPr bwMode="auto">
            <a:xfrm>
              <a:off x="3556863" y="4392781"/>
              <a:ext cx="428412" cy="4420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905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137160" rIns="182880" bIns="13716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/>
              <a:r>
                <a:rPr lang="en-US" sz="400">
                  <a:latin typeface="Verdana" pitchFamily="34" charset="0"/>
                </a:rPr>
                <a:t>TSO 3</a:t>
              </a:r>
            </a:p>
          </p:txBody>
        </p:sp>
        <p:sp>
          <p:nvSpPr>
            <p:cNvPr id="20531" name="Text Box 33"/>
            <p:cNvSpPr txBox="1">
              <a:spLocks noChangeArrowheads="1"/>
            </p:cNvSpPr>
            <p:nvPr/>
          </p:nvSpPr>
          <p:spPr bwMode="auto">
            <a:xfrm>
              <a:off x="2904325" y="4676860"/>
              <a:ext cx="428412" cy="4420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905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137160" rIns="182880" bIns="13716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/>
              <a:r>
                <a:rPr lang="en-US" sz="400">
                  <a:latin typeface="Verdana" pitchFamily="34" charset="0"/>
                </a:rPr>
                <a:t>TSO 2</a:t>
              </a:r>
            </a:p>
          </p:txBody>
        </p:sp>
        <p:sp>
          <p:nvSpPr>
            <p:cNvPr id="20532" name="Text Box 34"/>
            <p:cNvSpPr txBox="1">
              <a:spLocks noChangeArrowheads="1"/>
            </p:cNvSpPr>
            <p:nvPr/>
          </p:nvSpPr>
          <p:spPr bwMode="auto">
            <a:xfrm>
              <a:off x="1471670" y="5245015"/>
              <a:ext cx="428412" cy="4420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905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137160" rIns="182880" bIns="13716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/>
              <a:r>
                <a:rPr lang="en-US" sz="400">
                  <a:latin typeface="Verdana" pitchFamily="34" charset="0"/>
                </a:rPr>
                <a:t>TSO 4</a:t>
              </a:r>
            </a:p>
          </p:txBody>
        </p:sp>
        <p:sp>
          <p:nvSpPr>
            <p:cNvPr id="20533" name="Text Box 35"/>
            <p:cNvSpPr txBox="1">
              <a:spLocks noChangeArrowheads="1"/>
            </p:cNvSpPr>
            <p:nvPr/>
          </p:nvSpPr>
          <p:spPr bwMode="auto">
            <a:xfrm>
              <a:off x="2884174" y="5553249"/>
              <a:ext cx="468711" cy="4421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905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137160" rIns="182880" bIns="13716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/>
              <a:r>
                <a:rPr lang="en-US" sz="400">
                  <a:latin typeface="Verdana" pitchFamily="34" charset="0"/>
                </a:rPr>
                <a:t>TSO 21</a:t>
              </a:r>
            </a:p>
          </p:txBody>
        </p:sp>
        <p:sp>
          <p:nvSpPr>
            <p:cNvPr id="20534" name="Text Box 36"/>
            <p:cNvSpPr txBox="1">
              <a:spLocks noChangeArrowheads="1"/>
            </p:cNvSpPr>
            <p:nvPr/>
          </p:nvSpPr>
          <p:spPr bwMode="auto">
            <a:xfrm>
              <a:off x="3736362" y="5349966"/>
              <a:ext cx="428412" cy="4420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905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137160" rIns="182880" bIns="13716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/>
              <a:r>
                <a:rPr lang="en-US" sz="400">
                  <a:latin typeface="Verdana" pitchFamily="34" charset="0"/>
                </a:rPr>
                <a:t>TSO 6</a:t>
              </a:r>
            </a:p>
          </p:txBody>
        </p:sp>
      </p:grpSp>
      <p:graphicFrame>
        <p:nvGraphicFramePr>
          <p:cNvPr id="20489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" name="think-cell Slide" r:id="rId15" imgW="0" imgH="0" progId="TCLayout.ActiveDocument.1">
                  <p:embed/>
                </p:oleObj>
              </mc:Choice>
              <mc:Fallback>
                <p:oleObj name="think-cell Slide" r:id="rId1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490" name="Textfeld 44"/>
          <p:cNvSpPr txBox="1">
            <a:spLocks noChangeArrowheads="1"/>
          </p:cNvSpPr>
          <p:nvPr/>
        </p:nvSpPr>
        <p:spPr bwMode="auto">
          <a:xfrm>
            <a:off x="1643063" y="3408363"/>
            <a:ext cx="363537" cy="9207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sz="600" b="1"/>
              <a:t>AMPRION</a:t>
            </a:r>
          </a:p>
        </p:txBody>
      </p:sp>
      <p:sp>
        <p:nvSpPr>
          <p:cNvPr id="20491" name="Textfeld 45"/>
          <p:cNvSpPr txBox="1">
            <a:spLocks noChangeArrowheads="1"/>
          </p:cNvSpPr>
          <p:nvPr/>
        </p:nvSpPr>
        <p:spPr bwMode="auto">
          <a:xfrm>
            <a:off x="1214438" y="3143250"/>
            <a:ext cx="357187" cy="9207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sz="600" b="1"/>
              <a:t>TENNET</a:t>
            </a:r>
          </a:p>
        </p:txBody>
      </p:sp>
      <p:sp>
        <p:nvSpPr>
          <p:cNvPr id="20492" name="Textfeld 46"/>
          <p:cNvSpPr txBox="1">
            <a:spLocks noChangeArrowheads="1"/>
          </p:cNvSpPr>
          <p:nvPr/>
        </p:nvSpPr>
        <p:spPr bwMode="auto">
          <a:xfrm>
            <a:off x="2519363" y="3808413"/>
            <a:ext cx="304800" cy="9207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sz="600" b="1"/>
              <a:t>TENNET</a:t>
            </a:r>
          </a:p>
        </p:txBody>
      </p:sp>
      <p:sp>
        <p:nvSpPr>
          <p:cNvPr id="20493" name="Textfeld 47"/>
          <p:cNvSpPr txBox="1">
            <a:spLocks noChangeArrowheads="1"/>
          </p:cNvSpPr>
          <p:nvPr/>
        </p:nvSpPr>
        <p:spPr bwMode="auto">
          <a:xfrm>
            <a:off x="3448050" y="3765550"/>
            <a:ext cx="285750" cy="9207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sz="600" b="1"/>
              <a:t>CEPS</a:t>
            </a:r>
          </a:p>
        </p:txBody>
      </p:sp>
      <p:sp>
        <p:nvSpPr>
          <p:cNvPr id="20494" name="Textfeld 48"/>
          <p:cNvSpPr txBox="1">
            <a:spLocks noChangeArrowheads="1"/>
          </p:cNvSpPr>
          <p:nvPr/>
        </p:nvSpPr>
        <p:spPr bwMode="auto">
          <a:xfrm>
            <a:off x="2195513" y="4319588"/>
            <a:ext cx="285750" cy="9207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sz="600" b="1"/>
              <a:t>ENBW</a:t>
            </a:r>
          </a:p>
        </p:txBody>
      </p:sp>
      <p:sp>
        <p:nvSpPr>
          <p:cNvPr id="20495" name="Textfeld 49"/>
          <p:cNvSpPr txBox="1">
            <a:spLocks noChangeArrowheads="1"/>
          </p:cNvSpPr>
          <p:nvPr/>
        </p:nvSpPr>
        <p:spPr bwMode="auto">
          <a:xfrm>
            <a:off x="2357438" y="4572000"/>
            <a:ext cx="303212" cy="762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sz="500" b="1"/>
              <a:t>AMPRION</a:t>
            </a:r>
          </a:p>
        </p:txBody>
      </p:sp>
      <p:sp>
        <p:nvSpPr>
          <p:cNvPr id="20496" name="Textfeld 50"/>
          <p:cNvSpPr txBox="1">
            <a:spLocks noChangeArrowheads="1"/>
          </p:cNvSpPr>
          <p:nvPr/>
        </p:nvSpPr>
        <p:spPr bwMode="auto">
          <a:xfrm>
            <a:off x="1655763" y="5111750"/>
            <a:ext cx="504825" cy="9207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sz="600" b="1"/>
              <a:t>SWISSGRID</a:t>
            </a:r>
          </a:p>
        </p:txBody>
      </p:sp>
      <p:sp>
        <p:nvSpPr>
          <p:cNvPr id="20497" name="Textfeld 51"/>
          <p:cNvSpPr txBox="1">
            <a:spLocks noChangeArrowheads="1"/>
          </p:cNvSpPr>
          <p:nvPr/>
        </p:nvSpPr>
        <p:spPr bwMode="auto">
          <a:xfrm>
            <a:off x="3455988" y="5202238"/>
            <a:ext cx="215900" cy="9207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sz="600" b="1"/>
              <a:t>ELES</a:t>
            </a:r>
          </a:p>
        </p:txBody>
      </p:sp>
      <p:sp>
        <p:nvSpPr>
          <p:cNvPr id="20498" name="Textfeld 52"/>
          <p:cNvSpPr txBox="1">
            <a:spLocks noChangeArrowheads="1"/>
          </p:cNvSpPr>
          <p:nvPr/>
        </p:nvSpPr>
        <p:spPr bwMode="auto">
          <a:xfrm>
            <a:off x="3419475" y="4643438"/>
            <a:ext cx="180975" cy="9207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sz="600" b="1"/>
              <a:t>APG</a:t>
            </a:r>
          </a:p>
        </p:txBody>
      </p:sp>
      <p:sp>
        <p:nvSpPr>
          <p:cNvPr id="20499" name="Textfeld 53"/>
          <p:cNvSpPr txBox="1">
            <a:spLocks noChangeArrowheads="1"/>
          </p:cNvSpPr>
          <p:nvPr/>
        </p:nvSpPr>
        <p:spPr bwMode="auto">
          <a:xfrm>
            <a:off x="4319588" y="4859338"/>
            <a:ext cx="288925" cy="93662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sz="600" b="1"/>
              <a:t>MAVIR</a:t>
            </a:r>
          </a:p>
        </p:txBody>
      </p:sp>
      <p:sp>
        <p:nvSpPr>
          <p:cNvPr id="20500" name="Textfeld 54"/>
          <p:cNvSpPr txBox="1">
            <a:spLocks noChangeArrowheads="1"/>
          </p:cNvSpPr>
          <p:nvPr/>
        </p:nvSpPr>
        <p:spPr bwMode="auto">
          <a:xfrm>
            <a:off x="4248150" y="4427538"/>
            <a:ext cx="252413" cy="10795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sz="600" b="1"/>
              <a:t>SEPS</a:t>
            </a:r>
          </a:p>
        </p:txBody>
      </p:sp>
      <p:sp>
        <p:nvSpPr>
          <p:cNvPr id="20501" name="Textfeld 55"/>
          <p:cNvSpPr txBox="1">
            <a:spLocks noChangeArrowheads="1"/>
          </p:cNvSpPr>
          <p:nvPr/>
        </p:nvSpPr>
        <p:spPr bwMode="auto">
          <a:xfrm>
            <a:off x="4140200" y="2952750"/>
            <a:ext cx="215900" cy="9207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sz="600" b="1"/>
              <a:t>PSE</a:t>
            </a:r>
          </a:p>
        </p:txBody>
      </p:sp>
      <p:sp>
        <p:nvSpPr>
          <p:cNvPr id="20502" name="Textfeld 56"/>
          <p:cNvSpPr txBox="1">
            <a:spLocks noChangeArrowheads="1"/>
          </p:cNvSpPr>
          <p:nvPr/>
        </p:nvSpPr>
        <p:spPr bwMode="auto">
          <a:xfrm>
            <a:off x="3000375" y="2987675"/>
            <a:ext cx="280988" cy="9207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sz="600" b="1"/>
              <a:t>50Hertz</a:t>
            </a:r>
          </a:p>
        </p:txBody>
      </p:sp>
      <p:sp>
        <p:nvSpPr>
          <p:cNvPr id="20503" name="Textfeld 58"/>
          <p:cNvSpPr txBox="1">
            <a:spLocks noChangeArrowheads="1"/>
          </p:cNvSpPr>
          <p:nvPr/>
        </p:nvSpPr>
        <p:spPr bwMode="auto">
          <a:xfrm>
            <a:off x="2357438" y="2571750"/>
            <a:ext cx="185737" cy="6191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sz="400" b="1"/>
              <a:t>50Hertz</a:t>
            </a:r>
          </a:p>
        </p:txBody>
      </p:sp>
    </p:spTree>
    <p:extLst>
      <p:ext uri="{BB962C8B-B14F-4D97-AF65-F5344CB8AC3E}">
        <p14:creationId xmlns:p14="http://schemas.microsoft.com/office/powerpoint/2010/main" val="14971191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6"/>
          <p:cNvSpPr>
            <a:spLocks noGrp="1" noChangeArrowheads="1"/>
          </p:cNvSpPr>
          <p:nvPr>
            <p:ph type="sldNum" sz="quarter" idx="4294967295"/>
          </p:nvPr>
        </p:nvSpPr>
        <p:spPr>
          <a:xfrm>
            <a:off x="6626225" y="6535738"/>
            <a:ext cx="1828800" cy="2286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de-DE" dirty="0" smtClean="0">
              <a:latin typeface="Verdana" pitchFamily="34" charset="0"/>
            </a:endParaRPr>
          </a:p>
        </p:txBody>
      </p:sp>
      <p:sp>
        <p:nvSpPr>
          <p:cNvPr id="20483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179297" y="138534"/>
            <a:ext cx="7345362" cy="1143000"/>
          </a:xfrm>
        </p:spPr>
        <p:txBody>
          <a:bodyPr/>
          <a:lstStyle/>
          <a:p>
            <a:pPr eaLnBrk="1" hangingPunct="1"/>
            <a:r>
              <a:rPr lang="cs-CZ" sz="2800" dirty="0" smtClean="0">
                <a:latin typeface="Verdana" pitchFamily="34" charset="0"/>
              </a:rPr>
              <a:t>UMBRELLA</a:t>
            </a:r>
            <a:endParaRPr lang="en-US" sz="2800" dirty="0" smtClean="0">
              <a:latin typeface="Verdana" pitchFamily="34" charset="0"/>
            </a:endParaRPr>
          </a:p>
        </p:txBody>
      </p:sp>
      <p:graphicFrame>
        <p:nvGraphicFramePr>
          <p:cNvPr id="20489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3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ovéPole 1"/>
          <p:cNvSpPr txBox="1"/>
          <p:nvPr/>
        </p:nvSpPr>
        <p:spPr>
          <a:xfrm>
            <a:off x="251520" y="1124744"/>
            <a:ext cx="7272808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THEME [ENERGY.2011.7.2-1]</a:t>
            </a:r>
          </a:p>
          <a:p>
            <a:r>
              <a:rPr lang="en-US" b="1" dirty="0"/>
              <a:t>[Innovative tools for the future coordinated and stable</a:t>
            </a:r>
          </a:p>
          <a:p>
            <a:r>
              <a:rPr lang="en-US" b="1" dirty="0"/>
              <a:t>operation of the pan-European electricity transmission system</a:t>
            </a:r>
            <a:r>
              <a:rPr lang="en-US" b="1" dirty="0" smtClean="0"/>
              <a:t>]</a:t>
            </a:r>
            <a:endParaRPr lang="cs-CZ" b="1" dirty="0" smtClean="0"/>
          </a:p>
          <a:p>
            <a:endParaRPr lang="cs-CZ" b="1" dirty="0" smtClean="0"/>
          </a:p>
          <a:p>
            <a:r>
              <a:rPr lang="cs-CZ" b="1" dirty="0" smtClean="0"/>
              <a:t>Plný název projektu:</a:t>
            </a:r>
            <a:endParaRPr lang="cs-CZ" b="1" dirty="0"/>
          </a:p>
          <a:p>
            <a:r>
              <a:rPr lang="en-US" dirty="0"/>
              <a:t>Toolbox for Common Forecasting, Risk assessment, and Operational</a:t>
            </a:r>
          </a:p>
          <a:p>
            <a:r>
              <a:rPr lang="en-US" dirty="0" err="1"/>
              <a:t>Optimisation</a:t>
            </a:r>
            <a:r>
              <a:rPr lang="en-US" dirty="0"/>
              <a:t> in Grid Security </a:t>
            </a:r>
            <a:r>
              <a:rPr lang="en-US" dirty="0" err="1"/>
              <a:t>Cooperations</a:t>
            </a:r>
            <a:r>
              <a:rPr lang="en-US" dirty="0"/>
              <a:t> of Transmission System Operators (TSOs</a:t>
            </a:r>
            <a:r>
              <a:rPr lang="en-US" dirty="0" smtClean="0"/>
              <a:t>)</a:t>
            </a:r>
            <a:endParaRPr lang="cs-CZ" dirty="0" smtClean="0"/>
          </a:p>
          <a:p>
            <a:endParaRPr lang="cs-CZ" dirty="0"/>
          </a:p>
          <a:p>
            <a:pPr marL="285750" indent="-285750">
              <a:buFont typeface="Arial" pitchFamily="34" charset="0"/>
              <a:buChar char="•"/>
            </a:pPr>
            <a:r>
              <a:rPr lang="cs-CZ" dirty="0" smtClean="0"/>
              <a:t>9 TSO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cs-CZ" dirty="0" smtClean="0"/>
              <a:t>5 Univerzit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cs-CZ" dirty="0" smtClean="0"/>
              <a:t>1 výzkumné centrum</a:t>
            </a:r>
            <a:endParaRPr lang="cs-CZ" dirty="0" smtClean="0"/>
          </a:p>
          <a:p>
            <a:endParaRPr lang="cs-CZ" b="1" dirty="0"/>
          </a:p>
          <a:p>
            <a:endParaRPr lang="cs-CZ" b="1" dirty="0" smtClean="0"/>
          </a:p>
          <a:p>
            <a:endParaRPr lang="cs-CZ" b="1" dirty="0"/>
          </a:p>
          <a:p>
            <a:endParaRPr lang="cs-CZ" b="1" dirty="0" smtClean="0"/>
          </a:p>
          <a:p>
            <a:endParaRPr lang="cs-CZ" b="1" dirty="0"/>
          </a:p>
          <a:p>
            <a:endParaRPr lang="cs-CZ" b="1" dirty="0" smtClean="0"/>
          </a:p>
          <a:p>
            <a:endParaRPr lang="cs-CZ" b="1" dirty="0"/>
          </a:p>
          <a:p>
            <a:endParaRPr lang="cs-CZ" dirty="0"/>
          </a:p>
        </p:txBody>
      </p:sp>
      <p:pic>
        <p:nvPicPr>
          <p:cNvPr id="8195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95203" y="3407409"/>
            <a:ext cx="4429125" cy="2990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81006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2"/>
          <p:cNvSpPr>
            <a:spLocks noChangeArrowheads="1"/>
          </p:cNvSpPr>
          <p:nvPr/>
        </p:nvSpPr>
        <p:spPr bwMode="auto">
          <a:xfrm>
            <a:off x="1285875" y="3500438"/>
            <a:ext cx="7272338" cy="1470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endParaRPr lang="cs-CZ" b="1" dirty="0">
              <a:solidFill>
                <a:schemeClr val="tx2"/>
              </a:solidFill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1124744"/>
            <a:ext cx="8377086" cy="45365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Obdélník 1"/>
          <p:cNvSpPr/>
          <p:nvPr/>
        </p:nvSpPr>
        <p:spPr>
          <a:xfrm>
            <a:off x="107504" y="513506"/>
            <a:ext cx="749596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2400" b="1" dirty="0">
                <a:solidFill>
                  <a:schemeClr val="tx2"/>
                </a:solidFill>
                <a:latin typeface="Verdana" pitchFamily="34" charset="0"/>
                <a:ea typeface="+mj-ea"/>
                <a:cs typeface="+mj-cs"/>
              </a:rPr>
              <a:t>Ukázka on-line provozních informací ČEPS</a:t>
            </a:r>
          </a:p>
        </p:txBody>
      </p:sp>
    </p:spTree>
    <p:extLst>
      <p:ext uri="{BB962C8B-B14F-4D97-AF65-F5344CB8AC3E}">
        <p14:creationId xmlns:p14="http://schemas.microsoft.com/office/powerpoint/2010/main" val="10294317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2"/>
          <p:cNvSpPr>
            <a:spLocks noChangeArrowheads="1"/>
          </p:cNvSpPr>
          <p:nvPr/>
        </p:nvSpPr>
        <p:spPr bwMode="auto">
          <a:xfrm>
            <a:off x="1285875" y="3500438"/>
            <a:ext cx="7272338" cy="1470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r>
              <a:rPr lang="cs-CZ" sz="3200" b="1" dirty="0" smtClean="0">
                <a:solidFill>
                  <a:schemeClr val="tx2"/>
                </a:solidFill>
              </a:rPr>
              <a:t>Děkuji za pozornost</a:t>
            </a:r>
          </a:p>
          <a:p>
            <a:endParaRPr lang="cs-CZ" sz="3200" b="1" dirty="0" smtClean="0">
              <a:solidFill>
                <a:schemeClr val="tx2"/>
              </a:solidFill>
            </a:endParaRPr>
          </a:p>
          <a:p>
            <a:r>
              <a:rPr lang="cs-CZ" b="1" dirty="0" smtClean="0">
                <a:solidFill>
                  <a:schemeClr val="tx2"/>
                </a:solidFill>
              </a:rPr>
              <a:t>Marián Belyuš</a:t>
            </a:r>
          </a:p>
          <a:p>
            <a:r>
              <a:rPr lang="cs-CZ" b="1" dirty="0" smtClean="0">
                <a:solidFill>
                  <a:schemeClr val="tx2"/>
                </a:solidFill>
              </a:rPr>
              <a:t>R</a:t>
            </a:r>
            <a:r>
              <a:rPr lang="en-US" b="1" dirty="0" smtClean="0">
                <a:solidFill>
                  <a:schemeClr val="tx2"/>
                </a:solidFill>
              </a:rPr>
              <a:t>&amp;</a:t>
            </a:r>
            <a:r>
              <a:rPr lang="cs-CZ" b="1" dirty="0" smtClean="0">
                <a:solidFill>
                  <a:schemeClr val="tx2"/>
                </a:solidFill>
              </a:rPr>
              <a:t>D</a:t>
            </a:r>
          </a:p>
          <a:p>
            <a:r>
              <a:rPr lang="cs-CZ" b="1" dirty="0" smtClean="0">
                <a:solidFill>
                  <a:schemeClr val="tx2"/>
                </a:solidFill>
              </a:rPr>
              <a:t>ČEPS, a.s.</a:t>
            </a:r>
          </a:p>
          <a:p>
            <a:r>
              <a:rPr lang="cs-CZ" b="1" dirty="0" smtClean="0">
                <a:solidFill>
                  <a:schemeClr val="tx2"/>
                </a:solidFill>
                <a:hlinkClick r:id="rId3"/>
              </a:rPr>
              <a:t>belyus</a:t>
            </a:r>
            <a:r>
              <a:rPr lang="en-US" b="1" dirty="0" smtClean="0">
                <a:solidFill>
                  <a:schemeClr val="tx2"/>
                </a:solidFill>
                <a:hlinkClick r:id="rId3"/>
              </a:rPr>
              <a:t>@</a:t>
            </a:r>
            <a:r>
              <a:rPr lang="cs-CZ" b="1" dirty="0" smtClean="0">
                <a:solidFill>
                  <a:schemeClr val="tx2"/>
                </a:solidFill>
                <a:hlinkClick r:id="rId3"/>
              </a:rPr>
              <a:t>ceps.cz</a:t>
            </a:r>
            <a:endParaRPr lang="cs-CZ" b="1" dirty="0" smtClean="0">
              <a:solidFill>
                <a:schemeClr val="tx2"/>
              </a:solidFill>
            </a:endParaRPr>
          </a:p>
          <a:p>
            <a:endParaRPr lang="cs-CZ" b="1" dirty="0">
              <a:solidFill>
                <a:schemeClr val="tx2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Nadpis 1"/>
          <p:cNvSpPr>
            <a:spLocks noGrp="1"/>
          </p:cNvSpPr>
          <p:nvPr>
            <p:ph type="title"/>
          </p:nvPr>
        </p:nvSpPr>
        <p:spPr>
          <a:xfrm>
            <a:off x="539552" y="3356992"/>
            <a:ext cx="7345363" cy="3312368"/>
          </a:xfrm>
        </p:spPr>
        <p:txBody>
          <a:bodyPr/>
          <a:lstStyle/>
          <a:p>
            <a:r>
              <a:rPr lang="cs-CZ" sz="2800" dirty="0" smtClean="0">
                <a:solidFill>
                  <a:schemeClr val="bg1"/>
                </a:solidFill>
              </a:rPr>
              <a:t/>
            </a:r>
            <a:br>
              <a:rPr lang="cs-CZ" sz="2800" dirty="0" smtClean="0">
                <a:solidFill>
                  <a:schemeClr val="bg1"/>
                </a:solidFill>
              </a:rPr>
            </a:br>
            <a:r>
              <a:rPr lang="cs-CZ" sz="2800" dirty="0">
                <a:solidFill>
                  <a:schemeClr val="bg1"/>
                </a:solidFill>
              </a:rPr>
              <a:t/>
            </a:r>
            <a:br>
              <a:rPr lang="cs-CZ" sz="2800" dirty="0">
                <a:solidFill>
                  <a:schemeClr val="bg1"/>
                </a:solidFill>
              </a:rPr>
            </a:br>
            <a:r>
              <a:rPr lang="cs-CZ" sz="2800" dirty="0" smtClean="0">
                <a:solidFill>
                  <a:schemeClr val="bg1"/>
                </a:solidFill>
              </a:rPr>
              <a:t/>
            </a:r>
            <a:br>
              <a:rPr lang="cs-CZ" sz="2800" dirty="0" smtClean="0">
                <a:solidFill>
                  <a:schemeClr val="bg1"/>
                </a:solidFill>
              </a:rPr>
            </a:br>
            <a:r>
              <a:rPr lang="cs-CZ" sz="2800" dirty="0" smtClean="0">
                <a:solidFill>
                  <a:schemeClr val="bg1"/>
                </a:solidFill>
              </a:rPr>
              <a:t>Obsah</a:t>
            </a:r>
            <a:br>
              <a:rPr lang="cs-CZ" sz="2800" dirty="0" smtClean="0">
                <a:solidFill>
                  <a:schemeClr val="bg1"/>
                </a:solidFill>
              </a:rPr>
            </a:br>
            <a:r>
              <a:rPr lang="cs-CZ" sz="1800" dirty="0" smtClean="0">
                <a:solidFill>
                  <a:schemeClr val="bg1"/>
                </a:solidFill>
              </a:rPr>
              <a:t/>
            </a:r>
            <a:br>
              <a:rPr lang="cs-CZ" sz="1800" dirty="0" smtClean="0">
                <a:solidFill>
                  <a:schemeClr val="bg1"/>
                </a:solidFill>
              </a:rPr>
            </a:br>
            <a:r>
              <a:rPr lang="cs-CZ" sz="2000" dirty="0" smtClean="0">
                <a:solidFill>
                  <a:schemeClr val="bg1"/>
                </a:solidFill>
              </a:rPr>
              <a:t/>
            </a:r>
            <a:br>
              <a:rPr lang="cs-CZ" sz="2000" dirty="0" smtClean="0">
                <a:solidFill>
                  <a:schemeClr val="bg1"/>
                </a:solidFill>
              </a:rPr>
            </a:br>
            <a:r>
              <a:rPr lang="cs-CZ" sz="2000" dirty="0" smtClean="0">
                <a:solidFill>
                  <a:schemeClr val="bg1"/>
                </a:solidFill>
              </a:rPr>
              <a:t/>
            </a:r>
            <a:br>
              <a:rPr lang="cs-CZ" sz="2000" dirty="0" smtClean="0">
                <a:solidFill>
                  <a:schemeClr val="bg1"/>
                </a:solidFill>
              </a:rPr>
            </a:br>
            <a:r>
              <a:rPr lang="cs-CZ" sz="2000" dirty="0" smtClean="0">
                <a:solidFill>
                  <a:schemeClr val="bg1"/>
                </a:solidFill>
              </a:rPr>
              <a:t>Zásadní faktory ovlivňující ČEPS</a:t>
            </a:r>
            <a:br>
              <a:rPr lang="cs-CZ" sz="2000" dirty="0" smtClean="0">
                <a:solidFill>
                  <a:schemeClr val="bg1"/>
                </a:solidFill>
              </a:rPr>
            </a:br>
            <a:r>
              <a:rPr lang="cs-CZ" sz="2000" dirty="0" smtClean="0">
                <a:solidFill>
                  <a:schemeClr val="bg1"/>
                </a:solidFill>
              </a:rPr>
              <a:t/>
            </a:r>
            <a:br>
              <a:rPr lang="cs-CZ" sz="2000" dirty="0" smtClean="0">
                <a:solidFill>
                  <a:schemeClr val="bg1"/>
                </a:solidFill>
              </a:rPr>
            </a:br>
            <a:r>
              <a:rPr lang="cs-CZ" sz="2000" dirty="0" smtClean="0">
                <a:solidFill>
                  <a:schemeClr val="bg1"/>
                </a:solidFill>
              </a:rPr>
              <a:t> SET </a:t>
            </a:r>
            <a:r>
              <a:rPr lang="cs-CZ" sz="2000" dirty="0" err="1" smtClean="0">
                <a:solidFill>
                  <a:schemeClr val="bg1"/>
                </a:solidFill>
              </a:rPr>
              <a:t>Plan</a:t>
            </a:r>
            <a:r>
              <a:rPr lang="cs-CZ" sz="2000" dirty="0" smtClean="0">
                <a:solidFill>
                  <a:schemeClr val="bg1"/>
                </a:solidFill>
              </a:rPr>
              <a:t> Evropské Komise a iniciativa EEGI </a:t>
            </a:r>
            <a:br>
              <a:rPr lang="cs-CZ" sz="2000" dirty="0" smtClean="0">
                <a:solidFill>
                  <a:schemeClr val="bg1"/>
                </a:solidFill>
              </a:rPr>
            </a:br>
            <a:r>
              <a:rPr lang="cs-CZ" sz="2000" dirty="0" smtClean="0">
                <a:solidFill>
                  <a:schemeClr val="bg1"/>
                </a:solidFill>
              </a:rPr>
              <a:t/>
            </a:r>
            <a:br>
              <a:rPr lang="cs-CZ" sz="2000" dirty="0" smtClean="0">
                <a:solidFill>
                  <a:schemeClr val="bg1"/>
                </a:solidFill>
              </a:rPr>
            </a:br>
            <a:r>
              <a:rPr lang="cs-CZ" sz="2000" dirty="0" smtClean="0">
                <a:solidFill>
                  <a:schemeClr val="bg1"/>
                </a:solidFill>
              </a:rPr>
              <a:t>Vybrané aktivity</a:t>
            </a:r>
            <a:r>
              <a:rPr lang="en-US" sz="2000" dirty="0" smtClean="0">
                <a:solidFill>
                  <a:schemeClr val="bg1"/>
                </a:solidFill>
              </a:rPr>
              <a:t> R&amp;D v ČEPS</a:t>
            </a:r>
            <a:r>
              <a:rPr lang="cs-CZ" sz="2000" dirty="0" smtClean="0">
                <a:solidFill>
                  <a:schemeClr val="bg1"/>
                </a:solidFill>
              </a:rPr>
              <a:t/>
            </a:r>
            <a:br>
              <a:rPr lang="cs-CZ" sz="2000" dirty="0" smtClean="0">
                <a:solidFill>
                  <a:schemeClr val="bg1"/>
                </a:solidFill>
              </a:rPr>
            </a:br>
            <a:r>
              <a:rPr lang="cs-CZ" sz="2000" dirty="0">
                <a:solidFill>
                  <a:schemeClr val="bg1"/>
                </a:solidFill>
              </a:rPr>
              <a:t/>
            </a:r>
            <a:br>
              <a:rPr lang="cs-CZ" sz="2000" dirty="0">
                <a:solidFill>
                  <a:schemeClr val="bg1"/>
                </a:solidFill>
              </a:rPr>
            </a:br>
            <a:r>
              <a:rPr lang="cs-CZ" sz="2000" dirty="0">
                <a:solidFill>
                  <a:schemeClr val="bg1"/>
                </a:solidFill>
              </a:rPr>
              <a:t>Ukázka on-line provozních informací ČEPS</a:t>
            </a:r>
            <a:br>
              <a:rPr lang="cs-CZ" sz="2000" dirty="0">
                <a:solidFill>
                  <a:schemeClr val="bg1"/>
                </a:solidFill>
              </a:rPr>
            </a:br>
            <a:r>
              <a:rPr lang="cs-CZ" sz="2000" dirty="0">
                <a:solidFill>
                  <a:schemeClr val="bg1"/>
                </a:solidFill>
              </a:rPr>
              <a:t/>
            </a:r>
            <a:br>
              <a:rPr lang="cs-CZ" sz="2000" dirty="0">
                <a:solidFill>
                  <a:schemeClr val="bg1"/>
                </a:solidFill>
              </a:rPr>
            </a:br>
            <a:r>
              <a:rPr lang="cs-CZ" sz="2000" dirty="0" smtClean="0">
                <a:solidFill>
                  <a:schemeClr val="bg1"/>
                </a:solidFill>
              </a:rPr>
              <a:t/>
            </a:r>
            <a:br>
              <a:rPr lang="cs-CZ" sz="2000" dirty="0" smtClean="0">
                <a:solidFill>
                  <a:schemeClr val="bg1"/>
                </a:solidFill>
              </a:rPr>
            </a:br>
            <a:r>
              <a:rPr lang="cs-CZ" sz="2000" dirty="0" smtClean="0">
                <a:solidFill>
                  <a:schemeClr val="bg1"/>
                </a:solidFill>
              </a:rPr>
              <a:t/>
            </a:r>
            <a:br>
              <a:rPr lang="cs-CZ" sz="2000" dirty="0" smtClean="0">
                <a:solidFill>
                  <a:schemeClr val="bg1"/>
                </a:solidFill>
              </a:rPr>
            </a:br>
            <a:r>
              <a:rPr lang="cs-CZ" sz="2000" dirty="0" smtClean="0">
                <a:solidFill>
                  <a:schemeClr val="bg1"/>
                </a:solidFill>
              </a:rPr>
              <a:t/>
            </a:r>
            <a:br>
              <a:rPr lang="cs-CZ" sz="2000" dirty="0" smtClean="0">
                <a:solidFill>
                  <a:schemeClr val="bg1"/>
                </a:solidFill>
              </a:rPr>
            </a:br>
            <a:r>
              <a:rPr lang="cs-CZ" sz="2000" dirty="0" smtClean="0">
                <a:solidFill>
                  <a:schemeClr val="bg1"/>
                </a:solidFill>
              </a:rPr>
              <a:t/>
            </a:r>
            <a:br>
              <a:rPr lang="cs-CZ" sz="2000" dirty="0" smtClean="0">
                <a:solidFill>
                  <a:schemeClr val="bg1"/>
                </a:solidFill>
              </a:rPr>
            </a:br>
            <a:r>
              <a:rPr lang="cs-CZ" sz="1800" dirty="0" smtClean="0">
                <a:solidFill>
                  <a:schemeClr val="bg1"/>
                </a:solidFill>
              </a:rPr>
              <a:t/>
            </a:r>
            <a:br>
              <a:rPr lang="cs-CZ" sz="1800" dirty="0" smtClean="0">
                <a:solidFill>
                  <a:schemeClr val="bg1"/>
                </a:solidFill>
              </a:rPr>
            </a:br>
            <a:r>
              <a:rPr lang="cs-CZ" sz="1800" dirty="0" smtClean="0">
                <a:solidFill>
                  <a:schemeClr val="bg1"/>
                </a:solidFill>
              </a:rPr>
              <a:t/>
            </a:r>
            <a:br>
              <a:rPr lang="cs-CZ" sz="1800" dirty="0" smtClean="0">
                <a:solidFill>
                  <a:schemeClr val="bg1"/>
                </a:solidFill>
              </a:rPr>
            </a:br>
            <a:r>
              <a:rPr lang="cs-CZ" sz="1800" dirty="0" smtClean="0">
                <a:solidFill>
                  <a:schemeClr val="bg1"/>
                </a:solidFill>
              </a:rPr>
              <a:t/>
            </a:r>
            <a:br>
              <a:rPr lang="cs-CZ" sz="1800" dirty="0" smtClean="0">
                <a:solidFill>
                  <a:schemeClr val="bg1"/>
                </a:solidFill>
              </a:rPr>
            </a:br>
            <a:r>
              <a:rPr lang="cs-CZ" sz="1800" dirty="0" smtClean="0">
                <a:solidFill>
                  <a:schemeClr val="bg1"/>
                </a:solidFill>
              </a:rPr>
              <a:t/>
            </a:r>
            <a:br>
              <a:rPr lang="cs-CZ" sz="1800" dirty="0" smtClean="0">
                <a:solidFill>
                  <a:schemeClr val="bg1"/>
                </a:solidFill>
              </a:rPr>
            </a:br>
            <a:r>
              <a:rPr lang="cs-CZ" sz="1800" dirty="0" smtClean="0">
                <a:solidFill>
                  <a:schemeClr val="bg1"/>
                </a:solidFill>
              </a:rPr>
              <a:t/>
            </a:r>
            <a:br>
              <a:rPr lang="cs-CZ" sz="1800" dirty="0" smtClean="0">
                <a:solidFill>
                  <a:schemeClr val="bg1"/>
                </a:solidFill>
              </a:rPr>
            </a:br>
            <a:r>
              <a:rPr lang="cs-CZ" sz="1800" dirty="0" smtClean="0">
                <a:solidFill>
                  <a:schemeClr val="bg1"/>
                </a:solidFill>
              </a:rPr>
              <a:t/>
            </a:r>
            <a:br>
              <a:rPr lang="cs-CZ" sz="1800" dirty="0" smtClean="0">
                <a:solidFill>
                  <a:schemeClr val="bg1"/>
                </a:solidFill>
              </a:rPr>
            </a:br>
            <a:r>
              <a:rPr lang="cs-CZ" sz="2800" dirty="0" smtClean="0">
                <a:solidFill>
                  <a:schemeClr val="bg1"/>
                </a:solidFill>
              </a:rPr>
              <a:t/>
            </a:r>
            <a:br>
              <a:rPr lang="cs-CZ" sz="2800" dirty="0" smtClean="0">
                <a:solidFill>
                  <a:schemeClr val="bg1"/>
                </a:solidFill>
              </a:rPr>
            </a:br>
            <a:r>
              <a:rPr lang="cs-CZ" sz="2800" dirty="0" smtClean="0">
                <a:solidFill>
                  <a:schemeClr val="bg1"/>
                </a:solidFill>
              </a:rPr>
              <a:t/>
            </a:r>
            <a:br>
              <a:rPr lang="cs-CZ" sz="2800" dirty="0" smtClean="0">
                <a:solidFill>
                  <a:schemeClr val="bg1"/>
                </a:solidFill>
              </a:rPr>
            </a:br>
            <a:r>
              <a:rPr lang="cs-CZ" sz="2800" dirty="0" smtClean="0">
                <a:solidFill>
                  <a:schemeClr val="bg1"/>
                </a:solidFill>
              </a:rPr>
              <a:t/>
            </a:r>
            <a:br>
              <a:rPr lang="cs-CZ" sz="2800" dirty="0" smtClean="0">
                <a:solidFill>
                  <a:schemeClr val="bg1"/>
                </a:solidFill>
              </a:rPr>
            </a:br>
            <a:endParaRPr lang="cs-CZ" sz="2800" dirty="0" smtClean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600" dirty="0" smtClean="0"/>
              <a:t>Externí Faktor (Super </a:t>
            </a:r>
            <a:r>
              <a:rPr lang="cs-CZ" sz="2600" dirty="0" err="1" smtClean="0"/>
              <a:t>Grid</a:t>
            </a:r>
            <a:r>
              <a:rPr lang="cs-CZ" sz="2600" dirty="0" smtClean="0"/>
              <a:t>)</a:t>
            </a:r>
            <a:endParaRPr lang="cs-CZ" sz="2600" dirty="0"/>
          </a:p>
        </p:txBody>
      </p:sp>
      <p:pic>
        <p:nvPicPr>
          <p:cNvPr id="32770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28596" y="1428736"/>
            <a:ext cx="6715172" cy="4756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ovéPole 4"/>
          <p:cNvSpPr txBox="1"/>
          <p:nvPr/>
        </p:nvSpPr>
        <p:spPr>
          <a:xfrm>
            <a:off x="857224" y="6286520"/>
            <a:ext cx="21852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 smtClean="0"/>
              <a:t>Zdroj: projekt EWIS</a:t>
            </a:r>
            <a:endParaRPr lang="cs-CZ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643438" y="784534"/>
            <a:ext cx="4500562" cy="2379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ovéPole 4"/>
          <p:cNvSpPr txBox="1"/>
          <p:nvPr/>
        </p:nvSpPr>
        <p:spPr>
          <a:xfrm>
            <a:off x="0" y="6581001"/>
            <a:ext cx="403244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 smtClean="0"/>
              <a:t>Zdroj: BMU</a:t>
            </a:r>
            <a:endParaRPr lang="cs-CZ" sz="1200" dirty="0"/>
          </a:p>
        </p:txBody>
      </p:sp>
      <p:graphicFrame>
        <p:nvGraphicFramePr>
          <p:cNvPr id="6" name="Graf 5"/>
          <p:cNvGraphicFramePr/>
          <p:nvPr>
            <p:extLst>
              <p:ext uri="{D42A27DB-BD31-4B8C-83A1-F6EECF244321}">
                <p14:modId xmlns:p14="http://schemas.microsoft.com/office/powerpoint/2010/main" val="2677715242"/>
              </p:ext>
            </p:extLst>
          </p:nvPr>
        </p:nvGraphicFramePr>
        <p:xfrm>
          <a:off x="179512" y="836713"/>
          <a:ext cx="5904656" cy="28083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Nadpis 1"/>
          <p:cNvSpPr>
            <a:spLocks noGrp="1"/>
          </p:cNvSpPr>
          <p:nvPr>
            <p:ph type="title"/>
          </p:nvPr>
        </p:nvSpPr>
        <p:spPr>
          <a:xfrm>
            <a:off x="6300192" y="260350"/>
            <a:ext cx="1224558" cy="2520578"/>
          </a:xfrm>
        </p:spPr>
        <p:txBody>
          <a:bodyPr/>
          <a:lstStyle/>
          <a:p>
            <a:pPr algn="ctr"/>
            <a:r>
              <a:rPr lang="en-GB" sz="2800" dirty="0" smtClean="0"/>
              <a:t>PV boom</a:t>
            </a:r>
            <a:endParaRPr lang="en-US" sz="2800" dirty="0"/>
          </a:p>
        </p:txBody>
      </p:sp>
      <p:sp>
        <p:nvSpPr>
          <p:cNvPr id="8" name="Obdélník 7"/>
          <p:cNvSpPr/>
          <p:nvPr/>
        </p:nvSpPr>
        <p:spPr>
          <a:xfrm>
            <a:off x="251520" y="332656"/>
            <a:ext cx="4174541" cy="4924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2600" b="1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Interní faktor  a vývoj PV </a:t>
            </a:r>
          </a:p>
        </p:txBody>
      </p:sp>
      <p:graphicFrame>
        <p:nvGraphicFramePr>
          <p:cNvPr id="9" name="Zástupný symbol pro graf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65914455"/>
              </p:ext>
            </p:extLst>
          </p:nvPr>
        </p:nvGraphicFramePr>
        <p:xfrm>
          <a:off x="1977789" y="3772689"/>
          <a:ext cx="4896544" cy="28083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FVE- průběh a maximum výroby</a:t>
            </a:r>
            <a:endParaRPr lang="cs-CZ" dirty="0"/>
          </a:p>
        </p:txBody>
      </p:sp>
      <p:graphicFrame>
        <p:nvGraphicFramePr>
          <p:cNvPr id="4" name="Zástupný symbol pro graf 3"/>
          <p:cNvGraphicFramePr>
            <a:graphicFrameLocks noGrp="1"/>
          </p:cNvGraphicFramePr>
          <p:nvPr>
            <p:ph type="chart" idx="1"/>
            <p:extLst>
              <p:ext uri="{D42A27DB-BD31-4B8C-83A1-F6EECF244321}">
                <p14:modId xmlns:p14="http://schemas.microsoft.com/office/powerpoint/2010/main" val="2648417182"/>
              </p:ext>
            </p:extLst>
          </p:nvPr>
        </p:nvGraphicFramePr>
        <p:xfrm>
          <a:off x="107504" y="1340768"/>
          <a:ext cx="7524750" cy="53285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4315818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2"/>
          <p:cNvSpPr>
            <a:spLocks noGrp="1" noChangeArrowheads="1"/>
          </p:cNvSpPr>
          <p:nvPr>
            <p:ph type="title"/>
          </p:nvPr>
        </p:nvSpPr>
        <p:spPr>
          <a:xfrm>
            <a:off x="179512" y="260648"/>
            <a:ext cx="7632848" cy="836712"/>
          </a:xfrm>
        </p:spPr>
        <p:txBody>
          <a:bodyPr/>
          <a:lstStyle/>
          <a:p>
            <a:r>
              <a:rPr lang="cs-CZ" sz="2400" dirty="0" smtClean="0">
                <a:solidFill>
                  <a:schemeClr val="tx1"/>
                </a:solidFill>
              </a:rPr>
              <a:t>Regionální </a:t>
            </a:r>
            <a:r>
              <a:rPr lang="cs-CZ" sz="2400" dirty="0" smtClean="0"/>
              <a:t>faktor -</a:t>
            </a:r>
            <a:r>
              <a:rPr lang="cs-CZ" sz="2400" dirty="0" err="1" smtClean="0"/>
              <a:t>Nuclear</a:t>
            </a:r>
            <a:r>
              <a:rPr lang="cs-CZ" sz="2400" dirty="0" smtClean="0"/>
              <a:t> </a:t>
            </a:r>
            <a:r>
              <a:rPr lang="cs-CZ" sz="2400" dirty="0" err="1"/>
              <a:t>Phase-Out</a:t>
            </a:r>
            <a:r>
              <a:rPr lang="cs-CZ" sz="2400" dirty="0"/>
              <a:t> in</a:t>
            </a:r>
            <a:r>
              <a:rPr lang="en-US" sz="2400" dirty="0"/>
              <a:t> </a:t>
            </a:r>
            <a:r>
              <a:rPr lang="cs-CZ" sz="2400" dirty="0" err="1"/>
              <a:t>Germany</a:t>
            </a:r>
            <a:endParaRPr lang="en-US" sz="2400" dirty="0"/>
          </a:p>
        </p:txBody>
      </p:sp>
      <p:sp>
        <p:nvSpPr>
          <p:cNvPr id="5" name="TextovéPole 4"/>
          <p:cNvSpPr txBox="1"/>
          <p:nvPr/>
        </p:nvSpPr>
        <p:spPr>
          <a:xfrm>
            <a:off x="107504" y="6581001"/>
            <a:ext cx="403244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 smtClean="0"/>
              <a:t>Zdroj: BMU</a:t>
            </a:r>
            <a:endParaRPr lang="cs-CZ" sz="1200" dirty="0"/>
          </a:p>
        </p:txBody>
      </p:sp>
      <p:pic>
        <p:nvPicPr>
          <p:cNvPr id="35843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95545" y="1412776"/>
            <a:ext cx="4076985" cy="4608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Obdélník 6"/>
          <p:cNvSpPr/>
          <p:nvPr/>
        </p:nvSpPr>
        <p:spPr>
          <a:xfrm>
            <a:off x="4644008" y="980728"/>
            <a:ext cx="3096344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dirty="0" smtClean="0"/>
              <a:t> </a:t>
            </a:r>
          </a:p>
          <a:p>
            <a:r>
              <a:rPr lang="cs-CZ" dirty="0" smtClean="0"/>
              <a:t> </a:t>
            </a:r>
          </a:p>
          <a:p>
            <a:r>
              <a:rPr lang="cs-CZ" b="1" dirty="0" err="1" smtClean="0"/>
              <a:t>Biblis</a:t>
            </a:r>
            <a:r>
              <a:rPr lang="cs-CZ" b="1" dirty="0" smtClean="0"/>
              <a:t> A 		1167 MW</a:t>
            </a:r>
          </a:p>
          <a:p>
            <a:r>
              <a:rPr lang="cs-CZ" b="1" dirty="0" err="1" smtClean="0"/>
              <a:t>Neckarwestheim</a:t>
            </a:r>
            <a:r>
              <a:rPr lang="cs-CZ" b="1" dirty="0" smtClean="0"/>
              <a:t> 1 645 MW</a:t>
            </a:r>
          </a:p>
          <a:p>
            <a:r>
              <a:rPr lang="cs-CZ" b="1" dirty="0" err="1" smtClean="0"/>
              <a:t>Philippsburg</a:t>
            </a:r>
            <a:r>
              <a:rPr lang="cs-CZ" b="1" dirty="0" smtClean="0"/>
              <a:t> 	1 890 MW</a:t>
            </a:r>
          </a:p>
          <a:p>
            <a:r>
              <a:rPr lang="cs-CZ" b="1" dirty="0" err="1" smtClean="0"/>
              <a:t>Unterweser</a:t>
            </a:r>
            <a:r>
              <a:rPr lang="cs-CZ" b="1" dirty="0" smtClean="0"/>
              <a:t> 	1345 MW</a:t>
            </a:r>
          </a:p>
          <a:p>
            <a:r>
              <a:rPr lang="cs-CZ" b="1" dirty="0" err="1" smtClean="0"/>
              <a:t>Isar</a:t>
            </a:r>
            <a:r>
              <a:rPr lang="cs-CZ" b="1" dirty="0" smtClean="0"/>
              <a:t> 1 		878 MW</a:t>
            </a:r>
          </a:p>
          <a:p>
            <a:r>
              <a:rPr lang="nn-NO" b="1" dirty="0" smtClean="0"/>
              <a:t>Biblis B </a:t>
            </a:r>
            <a:r>
              <a:rPr lang="cs-CZ" b="1" dirty="0" smtClean="0"/>
              <a:t>	</a:t>
            </a:r>
            <a:r>
              <a:rPr lang="nn-NO" b="1" dirty="0" smtClean="0"/>
              <a:t>1240 MW</a:t>
            </a:r>
          </a:p>
          <a:p>
            <a:r>
              <a:rPr lang="cs-CZ" b="1" dirty="0" err="1" smtClean="0"/>
              <a:t>Brunsbüttel</a:t>
            </a:r>
            <a:r>
              <a:rPr lang="cs-CZ" b="1" dirty="0" smtClean="0"/>
              <a:t> 	771 MW</a:t>
            </a:r>
          </a:p>
          <a:p>
            <a:r>
              <a:rPr lang="cs-CZ" b="1" dirty="0" err="1" smtClean="0"/>
              <a:t>Krümmel</a:t>
            </a:r>
            <a:r>
              <a:rPr lang="cs-CZ" b="1" dirty="0" smtClean="0"/>
              <a:t> 	1345 MW</a:t>
            </a:r>
          </a:p>
          <a:p>
            <a:r>
              <a:rPr lang="cs-CZ" b="1" dirty="0" err="1" smtClean="0"/>
              <a:t>Total</a:t>
            </a:r>
            <a:r>
              <a:rPr lang="cs-CZ" b="1" dirty="0" smtClean="0"/>
              <a:t> 		8281 MW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Nadpis 1"/>
          <p:cNvSpPr>
            <a:spLocks noGrp="1"/>
          </p:cNvSpPr>
          <p:nvPr>
            <p:ph type="title"/>
          </p:nvPr>
        </p:nvSpPr>
        <p:spPr>
          <a:xfrm>
            <a:off x="179512" y="188640"/>
            <a:ext cx="7345362" cy="1143000"/>
          </a:xfrm>
        </p:spPr>
        <p:txBody>
          <a:bodyPr/>
          <a:lstStyle/>
          <a:p>
            <a:pPr marL="0" indent="0" eaLnBrk="1" hangingPunct="1">
              <a:spcAft>
                <a:spcPct val="15000"/>
              </a:spcAft>
            </a:pPr>
            <a:r>
              <a:rPr lang="cs-CZ" sz="2800" dirty="0" err="1" smtClean="0"/>
              <a:t>European</a:t>
            </a:r>
            <a:r>
              <a:rPr lang="cs-CZ" sz="2800" dirty="0" smtClean="0"/>
              <a:t> </a:t>
            </a:r>
            <a:r>
              <a:rPr lang="cs-CZ" sz="2800" dirty="0" err="1" smtClean="0"/>
              <a:t>Electricity</a:t>
            </a:r>
            <a:r>
              <a:rPr lang="cs-CZ" sz="2800" dirty="0" smtClean="0"/>
              <a:t> </a:t>
            </a:r>
            <a:r>
              <a:rPr lang="cs-CZ" sz="2800" dirty="0" err="1" smtClean="0"/>
              <a:t>Grid</a:t>
            </a:r>
            <a:r>
              <a:rPr lang="cs-CZ" sz="2800" dirty="0" smtClean="0"/>
              <a:t> </a:t>
            </a:r>
            <a:r>
              <a:rPr lang="cs-CZ" sz="2800" dirty="0" err="1" smtClean="0"/>
              <a:t>Initiative</a:t>
            </a:r>
            <a:r>
              <a:rPr lang="cs-CZ" sz="2800" dirty="0" smtClean="0"/>
              <a:t> – EEGI</a:t>
            </a:r>
          </a:p>
        </p:txBody>
      </p:sp>
      <p:pic>
        <p:nvPicPr>
          <p:cNvPr id="4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2060848"/>
            <a:ext cx="3213596" cy="4536504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490999" y="3068960"/>
            <a:ext cx="5653001" cy="33689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ovéPole 7"/>
          <p:cNvSpPr txBox="1"/>
          <p:nvPr/>
        </p:nvSpPr>
        <p:spPr>
          <a:xfrm>
            <a:off x="-127460" y="1055085"/>
            <a:ext cx="7236918" cy="104644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1">
              <a:buFont typeface="Arial" pitchFamily="34" charset="0"/>
              <a:buChar char="•"/>
            </a:pPr>
            <a:r>
              <a:rPr lang="cs-CZ" dirty="0" smtClean="0"/>
              <a:t> SET Plán- koncepční materiál EK pro podporu vědy a výzkumu</a:t>
            </a:r>
          </a:p>
          <a:p>
            <a:pPr lvl="1"/>
            <a:r>
              <a:rPr lang="cs-CZ" dirty="0"/>
              <a:t>	</a:t>
            </a:r>
            <a:r>
              <a:rPr lang="cs-CZ" dirty="0" smtClean="0"/>
              <a:t> v energetice</a:t>
            </a:r>
          </a:p>
          <a:p>
            <a:pPr>
              <a:buFont typeface="Arial" pitchFamily="34" charset="0"/>
              <a:buChar char="•"/>
            </a:pPr>
            <a:endParaRPr lang="cs-CZ" sz="800" dirty="0" smtClean="0"/>
          </a:p>
          <a:p>
            <a:pPr lvl="1">
              <a:buFont typeface="Arial" pitchFamily="34" charset="0"/>
              <a:buChar char="•"/>
            </a:pPr>
            <a:r>
              <a:rPr lang="cs-CZ" dirty="0" smtClean="0"/>
              <a:t> Jednou z oblastí podpory je EEGI </a:t>
            </a:r>
            <a:endParaRPr lang="cs-CZ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800" dirty="0"/>
              <a:t>Návrhy projektů v EEGI v roce </a:t>
            </a:r>
            <a:r>
              <a:rPr lang="cs-CZ" sz="2800" dirty="0" smtClean="0"/>
              <a:t>2011</a:t>
            </a:r>
          </a:p>
        </p:txBody>
      </p:sp>
      <p:pic>
        <p:nvPicPr>
          <p:cNvPr id="6" name="Picture 4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4" y="1175879"/>
            <a:ext cx="8898315" cy="51217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extovéPole 6"/>
          <p:cNvSpPr txBox="1"/>
          <p:nvPr/>
        </p:nvSpPr>
        <p:spPr>
          <a:xfrm>
            <a:off x="1223015" y="3244334"/>
            <a:ext cx="26962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000" b="1" dirty="0" smtClean="0">
                <a:solidFill>
                  <a:srgbClr val="FF0000"/>
                </a:solidFill>
              </a:rPr>
              <a:t>X</a:t>
            </a:r>
            <a:endParaRPr lang="cs-CZ" sz="1000" b="1" dirty="0">
              <a:solidFill>
                <a:srgbClr val="FF0000"/>
              </a:solidFill>
            </a:endParaRPr>
          </a:p>
        </p:txBody>
      </p:sp>
      <p:sp>
        <p:nvSpPr>
          <p:cNvPr id="8" name="Obdélník 7"/>
          <p:cNvSpPr/>
          <p:nvPr/>
        </p:nvSpPr>
        <p:spPr>
          <a:xfrm>
            <a:off x="1223015" y="3613666"/>
            <a:ext cx="26962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000" b="1" dirty="0">
                <a:solidFill>
                  <a:srgbClr val="FF0000"/>
                </a:solidFill>
              </a:rPr>
              <a:t>X</a:t>
            </a:r>
          </a:p>
        </p:txBody>
      </p:sp>
      <p:sp>
        <p:nvSpPr>
          <p:cNvPr id="9" name="Obdélník 8"/>
          <p:cNvSpPr/>
          <p:nvPr/>
        </p:nvSpPr>
        <p:spPr>
          <a:xfrm>
            <a:off x="1257632" y="4252106"/>
            <a:ext cx="26962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000" b="1" dirty="0">
                <a:solidFill>
                  <a:srgbClr val="FF0000"/>
                </a:solidFill>
              </a:rPr>
              <a:t>X</a:t>
            </a:r>
          </a:p>
        </p:txBody>
      </p:sp>
      <p:sp>
        <p:nvSpPr>
          <p:cNvPr id="11" name="Obdélník 10"/>
          <p:cNvSpPr/>
          <p:nvPr/>
        </p:nvSpPr>
        <p:spPr>
          <a:xfrm>
            <a:off x="1266448" y="4915025"/>
            <a:ext cx="26962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000" b="1" dirty="0">
                <a:solidFill>
                  <a:srgbClr val="FF0000"/>
                </a:solidFill>
              </a:rPr>
              <a:t>X</a:t>
            </a:r>
          </a:p>
        </p:txBody>
      </p:sp>
      <p:sp>
        <p:nvSpPr>
          <p:cNvPr id="12" name="Obdélník 11"/>
          <p:cNvSpPr/>
          <p:nvPr/>
        </p:nvSpPr>
        <p:spPr>
          <a:xfrm>
            <a:off x="1257632" y="4698212"/>
            <a:ext cx="26962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000" b="1" dirty="0">
                <a:solidFill>
                  <a:srgbClr val="FF0000"/>
                </a:solidFill>
              </a:rPr>
              <a:t>X</a:t>
            </a:r>
          </a:p>
        </p:txBody>
      </p:sp>
      <p:sp>
        <p:nvSpPr>
          <p:cNvPr id="13" name="TextovéPole 12"/>
          <p:cNvSpPr txBox="1"/>
          <p:nvPr/>
        </p:nvSpPr>
        <p:spPr>
          <a:xfrm>
            <a:off x="755576" y="6287011"/>
            <a:ext cx="32239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 smtClean="0">
                <a:solidFill>
                  <a:srgbClr val="FF0000"/>
                </a:solidFill>
              </a:rPr>
              <a:t>X- ČEPS priority pro rok 2012</a:t>
            </a:r>
            <a:endParaRPr lang="cs-CZ" dirty="0">
              <a:solidFill>
                <a:srgbClr val="FF0000"/>
              </a:solidFill>
            </a:endParaRPr>
          </a:p>
        </p:txBody>
      </p:sp>
      <p:sp>
        <p:nvSpPr>
          <p:cNvPr id="14" name="Obdélník 13"/>
          <p:cNvSpPr/>
          <p:nvPr/>
        </p:nvSpPr>
        <p:spPr>
          <a:xfrm>
            <a:off x="1257632" y="5205466"/>
            <a:ext cx="26962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000" b="1" dirty="0">
                <a:solidFill>
                  <a:srgbClr val="FF0000"/>
                </a:solidFill>
              </a:rPr>
              <a:t>X</a:t>
            </a:r>
          </a:p>
        </p:txBody>
      </p:sp>
      <p:sp>
        <p:nvSpPr>
          <p:cNvPr id="15" name="Obdélník 14"/>
          <p:cNvSpPr/>
          <p:nvPr/>
        </p:nvSpPr>
        <p:spPr>
          <a:xfrm>
            <a:off x="1284035" y="5436473"/>
            <a:ext cx="26962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000" b="1" dirty="0">
                <a:solidFill>
                  <a:srgbClr val="FF0000"/>
                </a:solidFill>
              </a:rPr>
              <a:t>X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79512" y="0"/>
            <a:ext cx="7345362" cy="1143000"/>
          </a:xfrm>
        </p:spPr>
        <p:txBody>
          <a:bodyPr/>
          <a:lstStyle/>
          <a:p>
            <a:r>
              <a:rPr lang="cs-CZ" dirty="0" smtClean="0"/>
              <a:t>Vybrané aktivity</a:t>
            </a:r>
            <a:r>
              <a:rPr lang="en-US" dirty="0" smtClean="0"/>
              <a:t> R&amp;D v ČEPS</a:t>
            </a:r>
            <a:endParaRPr lang="cs-CZ" dirty="0"/>
          </a:p>
        </p:txBody>
      </p:sp>
      <p:sp>
        <p:nvSpPr>
          <p:cNvPr id="8" name="Zástupný symbol pro obsah 7"/>
          <p:cNvSpPr>
            <a:spLocks noGrp="1"/>
          </p:cNvSpPr>
          <p:nvPr>
            <p:ph idx="1"/>
          </p:nvPr>
        </p:nvSpPr>
        <p:spPr>
          <a:xfrm>
            <a:off x="251520" y="1052736"/>
            <a:ext cx="7345362" cy="2592288"/>
          </a:xfrm>
        </p:spPr>
        <p:txBody>
          <a:bodyPr/>
          <a:lstStyle/>
          <a:p>
            <a:r>
              <a:rPr lang="cs-CZ" sz="1400" b="1" dirty="0" smtClean="0"/>
              <a:t>ACM - </a:t>
            </a:r>
            <a:r>
              <a:rPr lang="cs-CZ" sz="1400" dirty="0" smtClean="0"/>
              <a:t>		Automatický centrální monitoring stavu zařízení </a:t>
            </a:r>
            <a:r>
              <a:rPr lang="cs-CZ" sz="1400" dirty="0" err="1" smtClean="0"/>
              <a:t>vvn</a:t>
            </a:r>
            <a:r>
              <a:rPr lang="cs-CZ" sz="1400" dirty="0" smtClean="0"/>
              <a:t> a </a:t>
            </a:r>
            <a:r>
              <a:rPr lang="cs-CZ" sz="1400" dirty="0" err="1" smtClean="0"/>
              <a:t>zvn</a:t>
            </a:r>
            <a:r>
              <a:rPr lang="cs-CZ" sz="1400" dirty="0" smtClean="0"/>
              <a:t>  PS</a:t>
            </a:r>
          </a:p>
          <a:p>
            <a:pPr marL="0" indent="0">
              <a:buNone/>
            </a:pPr>
            <a:endParaRPr lang="cs-CZ" sz="800" dirty="0"/>
          </a:p>
          <a:p>
            <a:r>
              <a:rPr lang="cs-CZ" sz="1400" b="1" dirty="0" err="1" smtClean="0"/>
              <a:t>Dynamic</a:t>
            </a:r>
            <a:r>
              <a:rPr lang="cs-CZ" sz="1400" b="1" dirty="0" smtClean="0"/>
              <a:t> Rating</a:t>
            </a:r>
            <a:r>
              <a:rPr lang="cs-CZ" sz="1400" dirty="0" smtClean="0"/>
              <a:t> 	Proměnná </a:t>
            </a:r>
            <a:r>
              <a:rPr lang="cs-CZ" sz="1400" dirty="0" err="1" smtClean="0"/>
              <a:t>ampacita</a:t>
            </a:r>
            <a:r>
              <a:rPr lang="cs-CZ" sz="1400" dirty="0" smtClean="0"/>
              <a:t> vedení v závislosti na klimatických 			podmínkách </a:t>
            </a:r>
          </a:p>
          <a:p>
            <a:pPr marL="0" indent="0">
              <a:buNone/>
            </a:pPr>
            <a:endParaRPr lang="cs-CZ" sz="800" dirty="0" smtClean="0"/>
          </a:p>
          <a:p>
            <a:r>
              <a:rPr lang="cs-CZ" sz="1400" b="1" dirty="0" smtClean="0"/>
              <a:t>EPG -</a:t>
            </a:r>
            <a:r>
              <a:rPr lang="cs-CZ" sz="1400" dirty="0" smtClean="0"/>
              <a:t>		</a:t>
            </a:r>
            <a:r>
              <a:rPr lang="en-US" sz="1400" dirty="0" smtClean="0"/>
              <a:t>European Power Grid</a:t>
            </a:r>
            <a:endParaRPr lang="cs-CZ" sz="1400" dirty="0" smtClean="0"/>
          </a:p>
          <a:p>
            <a:pPr marL="0" indent="0">
              <a:buNone/>
            </a:pPr>
            <a:endParaRPr lang="en-US" sz="800" dirty="0"/>
          </a:p>
          <a:p>
            <a:r>
              <a:rPr lang="en-US" sz="1400" b="1" dirty="0" smtClean="0"/>
              <a:t>FACTS</a:t>
            </a:r>
            <a:r>
              <a:rPr lang="en-US" sz="1400" dirty="0" smtClean="0"/>
              <a:t> - 	Flexible AC Transmission Systems</a:t>
            </a:r>
            <a:endParaRPr lang="cs-CZ" sz="1400" dirty="0" smtClean="0"/>
          </a:p>
          <a:p>
            <a:pPr marL="0" indent="0">
              <a:buNone/>
            </a:pPr>
            <a:endParaRPr lang="en-US" sz="800" dirty="0"/>
          </a:p>
          <a:p>
            <a:r>
              <a:rPr lang="en-US" sz="1400" b="1" dirty="0" smtClean="0"/>
              <a:t>GCC -	</a:t>
            </a:r>
            <a:r>
              <a:rPr lang="en-US" sz="1400" dirty="0" smtClean="0"/>
              <a:t>	Grid Control Cooperation </a:t>
            </a:r>
            <a:endParaRPr lang="cs-CZ" sz="1400" dirty="0" smtClean="0"/>
          </a:p>
          <a:p>
            <a:pPr marL="0" indent="0">
              <a:buNone/>
            </a:pPr>
            <a:endParaRPr lang="en-US" sz="800" dirty="0" smtClean="0"/>
          </a:p>
          <a:p>
            <a:r>
              <a:rPr lang="en-US" sz="1400" b="1" dirty="0" err="1" smtClean="0"/>
              <a:t>eHIGHWAY</a:t>
            </a:r>
            <a:r>
              <a:rPr lang="en-US" sz="1400" b="1" dirty="0" smtClean="0"/>
              <a:t> 2050</a:t>
            </a:r>
            <a:r>
              <a:rPr lang="en-US" sz="1400" dirty="0" smtClean="0"/>
              <a:t> </a:t>
            </a:r>
            <a:r>
              <a:rPr lang="cs-CZ" sz="1400" dirty="0" smtClean="0"/>
              <a:t> </a:t>
            </a:r>
            <a:r>
              <a:rPr lang="en-US" sz="1400" dirty="0" smtClean="0"/>
              <a:t>Modular Development Plan on pan – European Electricity 		</a:t>
            </a:r>
            <a:r>
              <a:rPr lang="cs-CZ" sz="1400" dirty="0" smtClean="0"/>
              <a:t>	</a:t>
            </a:r>
            <a:r>
              <a:rPr lang="en-US" sz="1400" dirty="0" smtClean="0"/>
              <a:t>Highways System </a:t>
            </a:r>
            <a:endParaRPr lang="cs-CZ" sz="1400" dirty="0" smtClean="0"/>
          </a:p>
          <a:p>
            <a:pPr marL="0" indent="0">
              <a:buNone/>
            </a:pPr>
            <a:endParaRPr lang="en-US" sz="800" dirty="0" smtClean="0"/>
          </a:p>
          <a:p>
            <a:r>
              <a:rPr lang="en-US" sz="1400" b="1" dirty="0" smtClean="0"/>
              <a:t>SCOPF</a:t>
            </a:r>
            <a:r>
              <a:rPr lang="en-US" sz="1400" dirty="0" smtClean="0"/>
              <a:t> -	Security Constrained Optimal Power Flow</a:t>
            </a:r>
            <a:endParaRPr lang="cs-CZ" sz="1400" dirty="0" smtClean="0"/>
          </a:p>
          <a:p>
            <a:pPr marL="0" indent="0">
              <a:buNone/>
            </a:pPr>
            <a:endParaRPr lang="en-US" sz="800" dirty="0" smtClean="0"/>
          </a:p>
          <a:p>
            <a:r>
              <a:rPr lang="en-US" sz="1400" b="1" u="sng" dirty="0" smtClean="0"/>
              <a:t>TSC - </a:t>
            </a:r>
            <a:r>
              <a:rPr lang="en-US" sz="1400" b="1" dirty="0" smtClean="0"/>
              <a:t>		Transmission System Cooperation </a:t>
            </a:r>
            <a:endParaRPr lang="cs-CZ" sz="1400" b="1" dirty="0" smtClean="0"/>
          </a:p>
          <a:p>
            <a:pPr marL="0" indent="0">
              <a:buNone/>
            </a:pPr>
            <a:endParaRPr lang="en-US" sz="800" b="1" dirty="0" smtClean="0"/>
          </a:p>
          <a:p>
            <a:r>
              <a:rPr lang="cs-CZ" sz="1400" b="1" u="sng" dirty="0" smtClean="0"/>
              <a:t>UMBRELA</a:t>
            </a:r>
            <a:r>
              <a:rPr lang="cs-CZ" sz="1400" dirty="0" smtClean="0"/>
              <a:t> - 	</a:t>
            </a:r>
            <a:r>
              <a:rPr lang="en-US" sz="1400" b="1" dirty="0" smtClean="0"/>
              <a:t>Toolbox for Common Forecasting, Risk Assessment, and 		Operational </a:t>
            </a:r>
            <a:r>
              <a:rPr lang="en-US" sz="1400" b="1" dirty="0" err="1" smtClean="0"/>
              <a:t>Optimisation</a:t>
            </a:r>
            <a:r>
              <a:rPr lang="en-US" sz="1400" b="1" dirty="0" smtClean="0"/>
              <a:t> in Grid Security Cooperation of 		Transmission System Operators (TSOs) </a:t>
            </a:r>
            <a:endParaRPr lang="cs-CZ" sz="1400" b="1" dirty="0" smtClean="0"/>
          </a:p>
          <a:p>
            <a:r>
              <a:rPr lang="cs-CZ" sz="1400" dirty="0"/>
              <a:t>UA</a:t>
            </a:r>
            <a:r>
              <a:rPr lang="en-US" sz="1400" dirty="0"/>
              <a:t>&amp;</a:t>
            </a:r>
            <a:r>
              <a:rPr lang="cs-CZ" sz="1400" dirty="0"/>
              <a:t>MD -	Studie propojitelnosti Ukrajiny a Moldávie s kontinentální </a:t>
            </a:r>
            <a:r>
              <a:rPr lang="cs-CZ" sz="1400" dirty="0" smtClean="0"/>
              <a:t>		</a:t>
            </a:r>
            <a:r>
              <a:rPr lang="cs-CZ" sz="1400" dirty="0" smtClean="0"/>
              <a:t> 	Evropou</a:t>
            </a:r>
            <a:endParaRPr lang="en-US" sz="800" dirty="0" smtClean="0"/>
          </a:p>
          <a:p>
            <a:r>
              <a:rPr lang="en-US" sz="1400" b="1" dirty="0" smtClean="0"/>
              <a:t>WAMS</a:t>
            </a:r>
            <a:r>
              <a:rPr lang="en-US" sz="1400" dirty="0" smtClean="0"/>
              <a:t> - 	Wide Area </a:t>
            </a:r>
            <a:r>
              <a:rPr lang="cs-CZ" sz="1400" dirty="0" smtClean="0"/>
              <a:t>Monitoring</a:t>
            </a:r>
            <a:r>
              <a:rPr lang="cs-CZ" sz="1400" dirty="0" smtClean="0">
                <a:solidFill>
                  <a:srgbClr val="FF0000"/>
                </a:solidFill>
              </a:rPr>
              <a:t> </a:t>
            </a:r>
            <a:r>
              <a:rPr lang="en-US" sz="1400" dirty="0" smtClean="0"/>
              <a:t>System </a:t>
            </a:r>
          </a:p>
          <a:p>
            <a:endParaRPr lang="cs-CZ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rqwotNUg_kii.Jq.Wxk6F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rqwotNUg_kii.Jq.Wxk6Fw"/>
</p:tagLst>
</file>

<file path=ppt/theme/theme1.xml><?xml version="1.0" encoding="utf-8"?>
<a:theme xmlns:a="http://schemas.openxmlformats.org/drawingml/2006/main" name="prezentace_zakladni">
  <a:themeElements>
    <a:clrScheme name="prezentace_zakladni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prezentace_zaklad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prezentace_zakladni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ace_zakladni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ace_zakladni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ace_zakladni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ace_zakladni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ace_zakladni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ace_zakladni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ace_zakladni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ace_zakladni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ace_zakladni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ace_zakladni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ace_zakladni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Motiv sady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Kancelář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rezentace_zakladni</Template>
  <TotalTime>2485</TotalTime>
  <Words>767</Words>
  <Application>Microsoft Office PowerPoint</Application>
  <PresentationFormat>Předvádění na obrazovce (4:3)</PresentationFormat>
  <Paragraphs>209</Paragraphs>
  <Slides>16</Slides>
  <Notes>6</Notes>
  <HiddenSlides>0</HiddenSlides>
  <MMClips>0</MMClips>
  <ScaleCrop>false</ScaleCrop>
  <HeadingPairs>
    <vt:vector size="6" baseType="variant">
      <vt:variant>
        <vt:lpstr>Motiv</vt:lpstr>
      </vt:variant>
      <vt:variant>
        <vt:i4>1</vt:i4>
      </vt:variant>
      <vt:variant>
        <vt:lpstr>Vložené servery OLE</vt:lpstr>
      </vt:variant>
      <vt:variant>
        <vt:i4>2</vt:i4>
      </vt:variant>
      <vt:variant>
        <vt:lpstr>Nadpisy snímků</vt:lpstr>
      </vt:variant>
      <vt:variant>
        <vt:i4>16</vt:i4>
      </vt:variant>
    </vt:vector>
  </HeadingPairs>
  <TitlesOfParts>
    <vt:vector size="19" baseType="lpstr">
      <vt:lpstr>prezentace_zakladni</vt:lpstr>
      <vt:lpstr>Visio</vt:lpstr>
      <vt:lpstr>think-cell Slide</vt:lpstr>
      <vt:lpstr>Inteligentní přenosová soustava   </vt:lpstr>
      <vt:lpstr>   Obsah    Zásadní faktory ovlivňující ČEPS   SET Plan Evropské Komise a iniciativa EEGI   Vybrané aktivity R&amp;D v ČEPS  Ukázka on-line provozních informací ČEPS               </vt:lpstr>
      <vt:lpstr>Externí Faktor (Super Grid)</vt:lpstr>
      <vt:lpstr>PV boom</vt:lpstr>
      <vt:lpstr>FVE- průběh a maximum výroby</vt:lpstr>
      <vt:lpstr>Regionální faktor -Nuclear Phase-Out in Germany</vt:lpstr>
      <vt:lpstr>European Electricity Grid Initiative – EEGI</vt:lpstr>
      <vt:lpstr>Návrhy projektů v EEGI v roce 2011</vt:lpstr>
      <vt:lpstr>Vybrané aktivity R&amp;D v ČEPS</vt:lpstr>
      <vt:lpstr> TSC - společná kontrola bezpečnosti provozu PS v regionu, koordinace nápravných opatření </vt:lpstr>
      <vt:lpstr>Prezentace aplikace PowerPoint</vt:lpstr>
      <vt:lpstr>Prezentace aplikace PowerPoint</vt:lpstr>
      <vt:lpstr>Real-Time Awareness &amp; Alarm system (RAAS) v Centrální Evropě</vt:lpstr>
      <vt:lpstr>UMBRELLA</vt:lpstr>
      <vt:lpstr>Prezentace aplikace PowerPoint</vt:lpstr>
      <vt:lpstr>Prezentace aplikace PowerPoint</vt:lpstr>
    </vt:vector>
  </TitlesOfParts>
  <Company>ČEPS, a.s.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zor prezentace</dc:title>
  <dc:creator>Marián Belyuš</dc:creator>
  <cp:lastModifiedBy>belyus</cp:lastModifiedBy>
  <cp:revision>167</cp:revision>
  <dcterms:created xsi:type="dcterms:W3CDTF">2008-03-12T08:32:30Z</dcterms:created>
  <dcterms:modified xsi:type="dcterms:W3CDTF">2012-02-10T09:31:25Z</dcterms:modified>
</cp:coreProperties>
</file>